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3"/>
  </p:notesMasterIdLst>
  <p:sldIdLst>
    <p:sldId id="259" r:id="rId2"/>
    <p:sldId id="261" r:id="rId3"/>
    <p:sldId id="262" r:id="rId4"/>
    <p:sldId id="284" r:id="rId5"/>
    <p:sldId id="285" r:id="rId6"/>
    <p:sldId id="272" r:id="rId7"/>
    <p:sldId id="267" r:id="rId8"/>
    <p:sldId id="268" r:id="rId9"/>
    <p:sldId id="274" r:id="rId10"/>
    <p:sldId id="283" r:id="rId11"/>
    <p:sldId id="275" r:id="rId12"/>
    <p:sldId id="276" r:id="rId13"/>
    <p:sldId id="277" r:id="rId14"/>
    <p:sldId id="278" r:id="rId15"/>
    <p:sldId id="282" r:id="rId16"/>
    <p:sldId id="286" r:id="rId17"/>
    <p:sldId id="287" r:id="rId18"/>
    <p:sldId id="273" r:id="rId19"/>
    <p:sldId id="279" r:id="rId20"/>
    <p:sldId id="280" r:id="rId21"/>
    <p:sldId id="281" r:id="rId22"/>
  </p:sldIdLst>
  <p:sldSz cx="9144000" cy="6858000" type="screen4x3"/>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showGuides="1">
      <p:cViewPr varScale="1">
        <p:scale>
          <a:sx n="111" d="100"/>
          <a:sy n="111" d="100"/>
        </p:scale>
        <p:origin x="894" y="114"/>
      </p:cViewPr>
      <p:guideLst>
        <p:guide orient="horz" pos="2160"/>
        <p:guide pos="2880"/>
      </p:guideLst>
    </p:cSldViewPr>
  </p:slideViewPr>
  <p:notesTextViewPr>
    <p:cViewPr>
      <p:scale>
        <a:sx n="1" d="1"/>
        <a:sy n="1" d="1"/>
      </p:scale>
      <p:origin x="0" y="0"/>
    </p:cViewPr>
  </p:notesTextViewPr>
  <p:notesViewPr>
    <p:cSldViewPr snapToGrid="0">
      <p:cViewPr varScale="1">
        <p:scale>
          <a:sx n="79" d="100"/>
          <a:sy n="79" d="100"/>
        </p:scale>
        <p:origin x="399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2446" tIns="46223" rIns="92446" bIns="46223" rtlCol="0"/>
          <a:lstStyle>
            <a:lvl1pPr algn="l">
              <a:defRPr sz="1200"/>
            </a:lvl1pPr>
          </a:lstStyle>
          <a:p>
            <a:endParaRPr lang="de-DE"/>
          </a:p>
        </p:txBody>
      </p:sp>
      <p:sp>
        <p:nvSpPr>
          <p:cNvPr id="3" name="Datumsplatzhalter 2"/>
          <p:cNvSpPr>
            <a:spLocks noGrp="1"/>
          </p:cNvSpPr>
          <p:nvPr>
            <p:ph type="dt" idx="1"/>
          </p:nvPr>
        </p:nvSpPr>
        <p:spPr>
          <a:xfrm>
            <a:off x="3850443" y="0"/>
            <a:ext cx="2945659" cy="498056"/>
          </a:xfrm>
          <a:prstGeom prst="rect">
            <a:avLst/>
          </a:prstGeom>
        </p:spPr>
        <p:txBody>
          <a:bodyPr vert="horz" lIns="92446" tIns="46223" rIns="92446" bIns="46223" rtlCol="0"/>
          <a:lstStyle>
            <a:lvl1pPr algn="r">
              <a:defRPr sz="1200"/>
            </a:lvl1pPr>
          </a:lstStyle>
          <a:p>
            <a:fld id="{171F5CA9-F803-479D-8E05-A84255DA6561}" type="datetimeFigureOut">
              <a:rPr lang="de-DE" smtClean="0"/>
              <a:t>21.03.2019</a:t>
            </a:fld>
            <a:endParaRPr lang="de-DE"/>
          </a:p>
        </p:txBody>
      </p:sp>
      <p:sp>
        <p:nvSpPr>
          <p:cNvPr id="4" name="Folienbildplatzhalter 3"/>
          <p:cNvSpPr>
            <a:spLocks noGrp="1" noRot="1" noChangeAspect="1"/>
          </p:cNvSpPr>
          <p:nvPr>
            <p:ph type="sldImg" idx="2"/>
          </p:nvPr>
        </p:nvSpPr>
        <p:spPr>
          <a:xfrm>
            <a:off x="1165225" y="1239838"/>
            <a:ext cx="4467225" cy="3351212"/>
          </a:xfrm>
          <a:prstGeom prst="rect">
            <a:avLst/>
          </a:prstGeom>
          <a:noFill/>
          <a:ln w="12700">
            <a:solidFill>
              <a:prstClr val="black"/>
            </a:solidFill>
          </a:ln>
        </p:spPr>
        <p:txBody>
          <a:bodyPr vert="horz" lIns="92446" tIns="46223" rIns="92446" bIns="46223" rtlCol="0" anchor="ctr"/>
          <a:lstStyle/>
          <a:p>
            <a:endParaRPr lang="de-DE"/>
          </a:p>
        </p:txBody>
      </p:sp>
      <p:sp>
        <p:nvSpPr>
          <p:cNvPr id="5" name="Notizenplatzhalter 4"/>
          <p:cNvSpPr>
            <a:spLocks noGrp="1"/>
          </p:cNvSpPr>
          <p:nvPr>
            <p:ph type="body" sz="quarter" idx="3"/>
          </p:nvPr>
        </p:nvSpPr>
        <p:spPr>
          <a:xfrm>
            <a:off x="679768" y="4777195"/>
            <a:ext cx="5438140" cy="3908614"/>
          </a:xfrm>
          <a:prstGeom prst="rect">
            <a:avLst/>
          </a:prstGeom>
        </p:spPr>
        <p:txBody>
          <a:bodyPr vert="horz" lIns="92446" tIns="46223" rIns="92446" bIns="4622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8055"/>
          </a:xfrm>
          <a:prstGeom prst="rect">
            <a:avLst/>
          </a:prstGeom>
        </p:spPr>
        <p:txBody>
          <a:bodyPr vert="horz" lIns="92446" tIns="46223" rIns="92446" bIns="46223"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2446" tIns="46223" rIns="92446" bIns="46223" rtlCol="0" anchor="b"/>
          <a:lstStyle>
            <a:lvl1pPr algn="r">
              <a:defRPr sz="1200"/>
            </a:lvl1pPr>
          </a:lstStyle>
          <a:p>
            <a:fld id="{DC57613D-A784-4FDC-836A-F53087344A32}" type="slidenum">
              <a:rPr lang="de-DE" smtClean="0"/>
              <a:t>‹Nr.›</a:t>
            </a:fld>
            <a:endParaRPr lang="de-DE"/>
          </a:p>
        </p:txBody>
      </p:sp>
    </p:spTree>
    <p:extLst>
      <p:ext uri="{BB962C8B-B14F-4D97-AF65-F5344CB8AC3E}">
        <p14:creationId xmlns:p14="http://schemas.microsoft.com/office/powerpoint/2010/main" val="2202816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C57613D-A784-4FDC-836A-F53087344A32}" type="slidenum">
              <a:rPr lang="de-DE" smtClean="0"/>
              <a:t>1</a:t>
            </a:fld>
            <a:endParaRPr lang="de-DE"/>
          </a:p>
        </p:txBody>
      </p:sp>
    </p:spTree>
    <p:extLst>
      <p:ext uri="{BB962C8B-B14F-4D97-AF65-F5344CB8AC3E}">
        <p14:creationId xmlns:p14="http://schemas.microsoft.com/office/powerpoint/2010/main" val="12332955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Folienbildplatzhalter 1"/>
          <p:cNvSpPr>
            <a:spLocks noGrp="1" noRot="1" noChangeAspect="1" noTextEdit="1"/>
          </p:cNvSpPr>
          <p:nvPr>
            <p:ph type="sldImg"/>
          </p:nvPr>
        </p:nvSpPr>
        <p:spPr bwMode="auto">
          <a:xfrm>
            <a:off x="944563" y="347663"/>
            <a:ext cx="4805362" cy="36036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izenplatzhalter 2"/>
          <p:cNvSpPr>
            <a:spLocks noGrp="1"/>
          </p:cNvSpPr>
          <p:nvPr>
            <p:ph type="body" idx="1"/>
          </p:nvPr>
        </p:nvSpPr>
        <p:spPr bwMode="auto">
          <a:xfrm>
            <a:off x="231583" y="4057574"/>
            <a:ext cx="6376788" cy="622047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de-DE" altLang="de-DE" sz="1500" b="1" dirty="0">
                <a:latin typeface="Arial" panose="020B0604020202020204" pitchFamily="34" charset="0"/>
                <a:cs typeface="Arial" panose="020B0604020202020204" pitchFamily="34" charset="0"/>
              </a:rPr>
              <a:t>Beschäftigungssicherung</a:t>
            </a:r>
          </a:p>
          <a:p>
            <a:pPr marL="221210" indent="-221210">
              <a:buAutoNum type="arabicPeriod"/>
            </a:pPr>
            <a:r>
              <a:rPr lang="de-DE" altLang="de-DE" sz="1500" dirty="0">
                <a:latin typeface="Arial" panose="020B0604020202020204" pitchFamily="34" charset="0"/>
                <a:cs typeface="Arial" panose="020B0604020202020204" pitchFamily="34" charset="0"/>
              </a:rPr>
              <a:t>Ziel: Mitarbeiter in Arbeit halten</a:t>
            </a:r>
          </a:p>
          <a:p>
            <a:pPr marL="221210" indent="-221210">
              <a:buAutoNum type="arabicPeriod"/>
            </a:pPr>
            <a:r>
              <a:rPr lang="de-DE" altLang="de-DE" sz="1500" dirty="0">
                <a:latin typeface="Arial" panose="020B0604020202020204" pitchFamily="34" charset="0"/>
                <a:cs typeface="Arial" panose="020B0604020202020204" pitchFamily="34" charset="0"/>
              </a:rPr>
              <a:t>Kein Mitarbeiter fällt ins Bergfreie</a:t>
            </a:r>
          </a:p>
        </p:txBody>
      </p:sp>
      <p:sp>
        <p:nvSpPr>
          <p:cNvPr id="4" name="Foliennummernplatzhalter 3"/>
          <p:cNvSpPr>
            <a:spLocks noGrp="1"/>
          </p:cNvSpPr>
          <p:nvPr>
            <p:ph type="sldNum" sz="quarter" idx="5"/>
          </p:nvPr>
        </p:nvSpPr>
        <p:spPr/>
        <p:txBody>
          <a:bodyPr/>
          <a:lstStyle/>
          <a:p>
            <a:pPr>
              <a:defRPr/>
            </a:pPr>
            <a:fld id="{E26E2804-22D1-4571-B06A-7E59E9F54F87}" type="slidenum">
              <a:rPr lang="de-DE" smtClean="0"/>
              <a:pPr>
                <a:defRPr/>
              </a:pPr>
              <a:t>10</a:t>
            </a:fld>
            <a:endParaRPr lang="de-DE" dirty="0"/>
          </a:p>
        </p:txBody>
      </p:sp>
      <p:pic>
        <p:nvPicPr>
          <p:cNvPr id="14745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973" y="5338752"/>
            <a:ext cx="5773019" cy="3129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03742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53C8FCB-9299-4E04-8325-4BEAE35A851F}" type="slidenum">
              <a:rPr lang="de-DE" smtClean="0"/>
              <a:t>11</a:t>
            </a:fld>
            <a:endParaRPr lang="de-DE"/>
          </a:p>
        </p:txBody>
      </p:sp>
    </p:spTree>
    <p:extLst>
      <p:ext uri="{BB962C8B-B14F-4D97-AF65-F5344CB8AC3E}">
        <p14:creationId xmlns:p14="http://schemas.microsoft.com/office/powerpoint/2010/main" val="8954602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53C8FCB-9299-4E04-8325-4BEAE35A851F}" type="slidenum">
              <a:rPr lang="de-DE" smtClean="0"/>
              <a:t>12</a:t>
            </a:fld>
            <a:endParaRPr lang="de-DE"/>
          </a:p>
        </p:txBody>
      </p:sp>
    </p:spTree>
    <p:extLst>
      <p:ext uri="{BB962C8B-B14F-4D97-AF65-F5344CB8AC3E}">
        <p14:creationId xmlns:p14="http://schemas.microsoft.com/office/powerpoint/2010/main" val="728002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53C8FCB-9299-4E04-8325-4BEAE35A851F}" type="slidenum">
              <a:rPr lang="de-DE" smtClean="0"/>
              <a:t>13</a:t>
            </a:fld>
            <a:endParaRPr lang="de-DE"/>
          </a:p>
        </p:txBody>
      </p:sp>
    </p:spTree>
    <p:extLst>
      <p:ext uri="{BB962C8B-B14F-4D97-AF65-F5344CB8AC3E}">
        <p14:creationId xmlns:p14="http://schemas.microsoft.com/office/powerpoint/2010/main" val="1765155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53C8FCB-9299-4E04-8325-4BEAE35A851F}" type="slidenum">
              <a:rPr lang="de-DE" smtClean="0"/>
              <a:t>14</a:t>
            </a:fld>
            <a:endParaRPr lang="de-DE"/>
          </a:p>
        </p:txBody>
      </p:sp>
    </p:spTree>
    <p:extLst>
      <p:ext uri="{BB962C8B-B14F-4D97-AF65-F5344CB8AC3E}">
        <p14:creationId xmlns:p14="http://schemas.microsoft.com/office/powerpoint/2010/main" val="2625114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53C8FCB-9299-4E04-8325-4BEAE35A851F}" type="slidenum">
              <a:rPr lang="de-DE" smtClean="0"/>
              <a:t>15</a:t>
            </a:fld>
            <a:endParaRPr lang="de-DE"/>
          </a:p>
        </p:txBody>
      </p:sp>
    </p:spTree>
    <p:extLst>
      <p:ext uri="{BB962C8B-B14F-4D97-AF65-F5344CB8AC3E}">
        <p14:creationId xmlns:p14="http://schemas.microsoft.com/office/powerpoint/2010/main" val="39519073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4075" y="363538"/>
            <a:ext cx="4978400" cy="3733800"/>
          </a:xfrm>
        </p:spPr>
      </p:sp>
      <p:sp>
        <p:nvSpPr>
          <p:cNvPr id="4" name="Foliennummernplatzhalter 3"/>
          <p:cNvSpPr>
            <a:spLocks noGrp="1"/>
          </p:cNvSpPr>
          <p:nvPr>
            <p:ph type="sldNum" sz="quarter" idx="10"/>
          </p:nvPr>
        </p:nvSpPr>
        <p:spPr/>
        <p:txBody>
          <a:bodyPr/>
          <a:lstStyle/>
          <a:p>
            <a:pPr>
              <a:defRPr/>
            </a:pPr>
            <a:fld id="{4F797101-AB39-4E52-9460-74C6A5BF034C}" type="slidenum">
              <a:rPr lang="de-DE" smtClean="0">
                <a:solidFill>
                  <a:prstClr val="black"/>
                </a:solidFill>
              </a:rPr>
              <a:pPr>
                <a:defRPr/>
              </a:pPr>
              <a:t>16</a:t>
            </a:fld>
            <a:endParaRPr lang="de-DE" dirty="0">
              <a:solidFill>
                <a:prstClr val="black"/>
              </a:solidFill>
            </a:endParaRPr>
          </a:p>
        </p:txBody>
      </p:sp>
      <p:sp>
        <p:nvSpPr>
          <p:cNvPr id="6" name="Notizenplatzhalter 5"/>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42361327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38200" y="368300"/>
            <a:ext cx="5010150" cy="3757613"/>
          </a:xfrm>
        </p:spPr>
      </p:sp>
      <p:sp>
        <p:nvSpPr>
          <p:cNvPr id="4" name="Foliennummernplatzhalter 3"/>
          <p:cNvSpPr>
            <a:spLocks noGrp="1"/>
          </p:cNvSpPr>
          <p:nvPr>
            <p:ph type="sldNum" sz="quarter" idx="10"/>
          </p:nvPr>
        </p:nvSpPr>
        <p:spPr/>
        <p:txBody>
          <a:bodyPr/>
          <a:lstStyle/>
          <a:p>
            <a:pPr>
              <a:defRPr/>
            </a:pPr>
            <a:fld id="{4F797101-AB39-4E52-9460-74C6A5BF034C}" type="slidenum">
              <a:rPr lang="de-DE" smtClean="0">
                <a:solidFill>
                  <a:prstClr val="black"/>
                </a:solidFill>
              </a:rPr>
              <a:pPr>
                <a:defRPr/>
              </a:pPr>
              <a:t>17</a:t>
            </a:fld>
            <a:endParaRPr lang="de-DE" dirty="0">
              <a:solidFill>
                <a:prstClr val="black"/>
              </a:solidFill>
            </a:endParaRPr>
          </a:p>
        </p:txBody>
      </p:sp>
      <p:sp>
        <p:nvSpPr>
          <p:cNvPr id="5" name="Notizenplatzhalter 4"/>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7979317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5"/>
          </p:nvPr>
        </p:nvSpPr>
        <p:spPr/>
        <p:txBody>
          <a:bodyPr/>
          <a:lstStyle/>
          <a:p>
            <a:pPr defTabSz="931835">
              <a:defRPr/>
            </a:pPr>
            <a:fld id="{E53C8FCB-9299-4E04-8325-4BEAE35A851F}" type="slidenum">
              <a:rPr lang="de-DE">
                <a:solidFill>
                  <a:prstClr val="black"/>
                </a:solidFill>
                <a:latin typeface="Calibri" panose="020F0502020204030204"/>
              </a:rPr>
              <a:pPr defTabSz="931835">
                <a:defRPr/>
              </a:pPr>
              <a:t>18</a:t>
            </a:fld>
            <a:endParaRPr lang="de-DE">
              <a:solidFill>
                <a:prstClr val="black"/>
              </a:solidFill>
              <a:latin typeface="Calibri" panose="020F0502020204030204"/>
            </a:endParaRPr>
          </a:p>
        </p:txBody>
      </p:sp>
      <p:sp>
        <p:nvSpPr>
          <p:cNvPr id="5" name="Notizenplatzhalter 4"/>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21870379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10"/>
          </p:nvPr>
        </p:nvSpPr>
        <p:spPr/>
        <p:txBody>
          <a:bodyPr/>
          <a:lstStyle/>
          <a:p>
            <a:pPr defTabSz="942197"/>
            <a:fld id="{E53C8FCB-9299-4E04-8325-4BEAE35A851F}" type="slidenum">
              <a:rPr lang="de-DE">
                <a:solidFill>
                  <a:prstClr val="black"/>
                </a:solidFill>
                <a:latin typeface="Calibri" panose="020F0502020204030204"/>
              </a:rPr>
              <a:pPr defTabSz="942197"/>
              <a:t>19</a:t>
            </a:fld>
            <a:endParaRPr lang="de-DE">
              <a:solidFill>
                <a:prstClr val="black"/>
              </a:solidFill>
              <a:latin typeface="Calibri" panose="020F0502020204030204"/>
            </a:endParaRPr>
          </a:p>
        </p:txBody>
      </p:sp>
      <p:sp>
        <p:nvSpPr>
          <p:cNvPr id="5" name="Notizenplatzhalter 4"/>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362849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42197"/>
            <a:fld id="{E53C8FCB-9299-4E04-8325-4BEAE35A851F}" type="slidenum">
              <a:rPr lang="de-DE">
                <a:solidFill>
                  <a:prstClr val="black"/>
                </a:solidFill>
                <a:latin typeface="Calibri" panose="020F0502020204030204"/>
              </a:rPr>
              <a:pPr defTabSz="942197"/>
              <a:t>2</a:t>
            </a:fld>
            <a:endParaRPr lang="de-DE">
              <a:solidFill>
                <a:prstClr val="black"/>
              </a:solidFill>
              <a:latin typeface="Calibri" panose="020F0502020204030204"/>
            </a:endParaRPr>
          </a:p>
        </p:txBody>
      </p:sp>
    </p:spTree>
    <p:extLst>
      <p:ext uri="{BB962C8B-B14F-4D97-AF65-F5344CB8AC3E}">
        <p14:creationId xmlns:p14="http://schemas.microsoft.com/office/powerpoint/2010/main" val="11604916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10"/>
          </p:nvPr>
        </p:nvSpPr>
        <p:spPr/>
        <p:txBody>
          <a:bodyPr/>
          <a:lstStyle/>
          <a:p>
            <a:pPr defTabSz="942197"/>
            <a:fld id="{E53C8FCB-9299-4E04-8325-4BEAE35A851F}" type="slidenum">
              <a:rPr lang="de-DE">
                <a:solidFill>
                  <a:prstClr val="black"/>
                </a:solidFill>
                <a:latin typeface="Calibri" panose="020F0502020204030204"/>
              </a:rPr>
              <a:pPr defTabSz="942197"/>
              <a:t>20</a:t>
            </a:fld>
            <a:endParaRPr lang="de-DE">
              <a:solidFill>
                <a:prstClr val="black"/>
              </a:solidFill>
              <a:latin typeface="Calibri" panose="020F0502020204030204"/>
            </a:endParaRPr>
          </a:p>
        </p:txBody>
      </p:sp>
      <p:sp>
        <p:nvSpPr>
          <p:cNvPr id="5" name="Notizenplatzhalter 4"/>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39522478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10"/>
          </p:nvPr>
        </p:nvSpPr>
        <p:spPr/>
        <p:txBody>
          <a:bodyPr/>
          <a:lstStyle/>
          <a:p>
            <a:pPr defTabSz="942197"/>
            <a:fld id="{E53C8FCB-9299-4E04-8325-4BEAE35A851F}" type="slidenum">
              <a:rPr lang="de-DE">
                <a:solidFill>
                  <a:prstClr val="black"/>
                </a:solidFill>
                <a:latin typeface="Calibri" panose="020F0502020204030204"/>
              </a:rPr>
              <a:pPr defTabSz="942197"/>
              <a:t>21</a:t>
            </a:fld>
            <a:endParaRPr lang="de-DE">
              <a:solidFill>
                <a:prstClr val="black"/>
              </a:solidFill>
              <a:latin typeface="Calibri" panose="020F0502020204030204"/>
            </a:endParaRPr>
          </a:p>
        </p:txBody>
      </p:sp>
      <p:sp>
        <p:nvSpPr>
          <p:cNvPr id="5" name="Notizenplatzhalter 4"/>
          <p:cNvSpPr>
            <a:spLocks noGrp="1"/>
          </p:cNvSpPr>
          <p:nvPr>
            <p:ph type="body" sz="quarter" idx="11"/>
          </p:nvPr>
        </p:nvSpPr>
        <p:spPr/>
        <p:txBody>
          <a:bodyPr/>
          <a:lstStyle/>
          <a:p>
            <a:endParaRPr lang="de-DE" dirty="0"/>
          </a:p>
        </p:txBody>
      </p:sp>
    </p:spTree>
    <p:extLst>
      <p:ext uri="{BB962C8B-B14F-4D97-AF65-F5344CB8AC3E}">
        <p14:creationId xmlns:p14="http://schemas.microsoft.com/office/powerpoint/2010/main" val="18021218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10"/>
          </p:nvPr>
        </p:nvSpPr>
        <p:spPr/>
        <p:txBody>
          <a:bodyPr/>
          <a:lstStyle/>
          <a:p>
            <a:pPr defTabSz="942197"/>
            <a:fld id="{E53C8FCB-9299-4E04-8325-4BEAE35A851F}" type="slidenum">
              <a:rPr lang="de-DE">
                <a:solidFill>
                  <a:prstClr val="black"/>
                </a:solidFill>
                <a:latin typeface="Calibri" panose="020F0502020204030204"/>
              </a:rPr>
              <a:pPr defTabSz="942197"/>
              <a:t>3</a:t>
            </a:fld>
            <a:endParaRPr lang="de-DE">
              <a:solidFill>
                <a:prstClr val="black"/>
              </a:solidFill>
              <a:latin typeface="Calibri" panose="020F0502020204030204"/>
            </a:endParaRPr>
          </a:p>
        </p:txBody>
      </p:sp>
      <p:sp>
        <p:nvSpPr>
          <p:cNvPr id="5" name="Notizenplatzhalter 4"/>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986527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C57613D-A784-4FDC-836A-F53087344A32}" type="slidenum">
              <a:rPr lang="de-DE" smtClean="0"/>
              <a:t>4</a:t>
            </a:fld>
            <a:endParaRPr lang="de-DE"/>
          </a:p>
        </p:txBody>
      </p:sp>
    </p:spTree>
    <p:extLst>
      <p:ext uri="{BB962C8B-B14F-4D97-AF65-F5344CB8AC3E}">
        <p14:creationId xmlns:p14="http://schemas.microsoft.com/office/powerpoint/2010/main" val="3549453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DC57613D-A784-4FDC-836A-F53087344A32}" type="slidenum">
              <a:rPr lang="de-DE" smtClean="0"/>
              <a:t>5</a:t>
            </a:fld>
            <a:endParaRPr lang="de-DE"/>
          </a:p>
        </p:txBody>
      </p:sp>
    </p:spTree>
    <p:extLst>
      <p:ext uri="{BB962C8B-B14F-4D97-AF65-F5344CB8AC3E}">
        <p14:creationId xmlns:p14="http://schemas.microsoft.com/office/powerpoint/2010/main" val="1324727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10"/>
          </p:nvPr>
        </p:nvSpPr>
        <p:spPr/>
        <p:txBody>
          <a:bodyPr/>
          <a:lstStyle/>
          <a:p>
            <a:pPr defTabSz="942197"/>
            <a:fld id="{E53C8FCB-9299-4E04-8325-4BEAE35A851F}" type="slidenum">
              <a:rPr lang="de-DE">
                <a:solidFill>
                  <a:prstClr val="black"/>
                </a:solidFill>
                <a:latin typeface="Calibri" panose="020F0502020204030204"/>
              </a:rPr>
              <a:pPr defTabSz="942197"/>
              <a:t>6</a:t>
            </a:fld>
            <a:endParaRPr lang="de-DE">
              <a:solidFill>
                <a:prstClr val="black"/>
              </a:solidFill>
              <a:latin typeface="Calibri" panose="020F0502020204030204"/>
            </a:endParaRPr>
          </a:p>
        </p:txBody>
      </p:sp>
      <p:sp>
        <p:nvSpPr>
          <p:cNvPr id="5" name="Notizenplatzhalter 4"/>
          <p:cNvSpPr>
            <a:spLocks noGrp="1"/>
          </p:cNvSpPr>
          <p:nvPr>
            <p:ph type="body" sz="quarter" idx="11"/>
          </p:nvPr>
        </p:nvSpPr>
        <p:spPr/>
        <p:txBody>
          <a:bodyPr/>
          <a:lstStyle/>
          <a:p>
            <a:endParaRPr lang="de-DE"/>
          </a:p>
        </p:txBody>
      </p:sp>
    </p:spTree>
    <p:extLst>
      <p:ext uri="{BB962C8B-B14F-4D97-AF65-F5344CB8AC3E}">
        <p14:creationId xmlns:p14="http://schemas.microsoft.com/office/powerpoint/2010/main" val="3328537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31835">
              <a:defRPr/>
            </a:pPr>
            <a:r>
              <a:rPr lang="de-DE" dirty="0"/>
              <a:t>Das Gesamtpaket an Empfehlungen zur zukünftigen Ausrichtung der Energiepolitik bietet – bei allen damit verbundenen Lasten – die Chance, auf diesem Politikfeld eine in Zukunft stabilere und verlässliche Entwicklung zu erreichen, die sich an den energiewirtschaftlichen, sozialen und regionalen Realitäten orientiert. </a:t>
            </a:r>
          </a:p>
        </p:txBody>
      </p:sp>
      <p:sp>
        <p:nvSpPr>
          <p:cNvPr id="4" name="Foliennummernplatzhalter 3"/>
          <p:cNvSpPr>
            <a:spLocks noGrp="1"/>
          </p:cNvSpPr>
          <p:nvPr>
            <p:ph type="sldNum" sz="quarter" idx="5"/>
          </p:nvPr>
        </p:nvSpPr>
        <p:spPr/>
        <p:txBody>
          <a:bodyPr/>
          <a:lstStyle/>
          <a:p>
            <a:pPr defTabSz="931835">
              <a:defRPr/>
            </a:pPr>
            <a:fld id="{E53C8FCB-9299-4E04-8325-4BEAE35A851F}" type="slidenum">
              <a:rPr lang="de-DE">
                <a:solidFill>
                  <a:prstClr val="black"/>
                </a:solidFill>
                <a:latin typeface="Calibri" panose="020F0502020204030204"/>
              </a:rPr>
              <a:pPr defTabSz="931835">
                <a:defRPr/>
              </a:pPr>
              <a:t>7</a:t>
            </a:fld>
            <a:endParaRPr lang="de-DE">
              <a:solidFill>
                <a:prstClr val="black"/>
              </a:solidFill>
              <a:latin typeface="Calibri" panose="020F0502020204030204"/>
            </a:endParaRPr>
          </a:p>
        </p:txBody>
      </p:sp>
    </p:spTree>
    <p:extLst>
      <p:ext uri="{BB962C8B-B14F-4D97-AF65-F5344CB8AC3E}">
        <p14:creationId xmlns:p14="http://schemas.microsoft.com/office/powerpoint/2010/main" val="1280016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4" name="Foliennummernplatzhalter 3"/>
          <p:cNvSpPr>
            <a:spLocks noGrp="1"/>
          </p:cNvSpPr>
          <p:nvPr>
            <p:ph type="sldNum" sz="quarter" idx="5"/>
          </p:nvPr>
        </p:nvSpPr>
        <p:spPr/>
        <p:txBody>
          <a:bodyPr/>
          <a:lstStyle/>
          <a:p>
            <a:pPr defTabSz="931835">
              <a:defRPr/>
            </a:pPr>
            <a:fld id="{E53C8FCB-9299-4E04-8325-4BEAE35A851F}" type="slidenum">
              <a:rPr lang="de-DE">
                <a:solidFill>
                  <a:prstClr val="black"/>
                </a:solidFill>
                <a:latin typeface="Calibri" panose="020F0502020204030204"/>
              </a:rPr>
              <a:pPr defTabSz="931835">
                <a:defRPr/>
              </a:pPr>
              <a:t>8</a:t>
            </a:fld>
            <a:endParaRPr lang="de-DE">
              <a:solidFill>
                <a:prstClr val="black"/>
              </a:solidFill>
              <a:latin typeface="Calibri" panose="020F0502020204030204"/>
            </a:endParaRPr>
          </a:p>
        </p:txBody>
      </p:sp>
      <p:sp>
        <p:nvSpPr>
          <p:cNvPr id="5" name="Notizenplatzhalter 4"/>
          <p:cNvSpPr>
            <a:spLocks noGrp="1"/>
          </p:cNvSpPr>
          <p:nvPr>
            <p:ph type="body" sz="quarter" idx="10"/>
          </p:nvPr>
        </p:nvSpPr>
        <p:spPr/>
        <p:txBody>
          <a:bodyPr/>
          <a:lstStyle/>
          <a:p>
            <a:endParaRPr lang="de-DE"/>
          </a:p>
        </p:txBody>
      </p:sp>
    </p:spTree>
    <p:extLst>
      <p:ext uri="{BB962C8B-B14F-4D97-AF65-F5344CB8AC3E}">
        <p14:creationId xmlns:p14="http://schemas.microsoft.com/office/powerpoint/2010/main" val="3729920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E53C8FCB-9299-4E04-8325-4BEAE35A851F}" type="slidenum">
              <a:rPr lang="de-DE" smtClean="0"/>
              <a:t>9</a:t>
            </a:fld>
            <a:endParaRPr lang="de-DE"/>
          </a:p>
        </p:txBody>
      </p:sp>
    </p:spTree>
    <p:extLst>
      <p:ext uri="{BB962C8B-B14F-4D97-AF65-F5344CB8AC3E}">
        <p14:creationId xmlns:p14="http://schemas.microsoft.com/office/powerpoint/2010/main" val="21305830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32" y="0"/>
            <a:ext cx="9119736" cy="6857999"/>
          </a:xfrm>
          <a:prstGeom prst="rect">
            <a:avLst/>
          </a:prstGeom>
        </p:spPr>
      </p:pic>
      <p:sp>
        <p:nvSpPr>
          <p:cNvPr id="2" name="Title 1"/>
          <p:cNvSpPr>
            <a:spLocks noGrp="1"/>
          </p:cNvSpPr>
          <p:nvPr>
            <p:ph type="ctrTitle" hasCustomPrompt="1"/>
          </p:nvPr>
        </p:nvSpPr>
        <p:spPr>
          <a:xfrm>
            <a:off x="1902285" y="2832100"/>
            <a:ext cx="6985000" cy="1193799"/>
          </a:xfrm>
        </p:spPr>
        <p:txBody>
          <a:bodyPr anchor="b">
            <a:normAutofit/>
          </a:bodyPr>
          <a:lstStyle>
            <a:lvl1pPr algn="l">
              <a:defRPr sz="3600" b="1">
                <a:solidFill>
                  <a:schemeClr val="bg1"/>
                </a:solidFill>
              </a:defRPr>
            </a:lvl1pPr>
          </a:lstStyle>
          <a:p>
            <a:r>
              <a:rPr lang="de-DE" dirty="0"/>
              <a:t>Titelmasterformat </a:t>
            </a:r>
            <a:br>
              <a:rPr lang="de-DE" dirty="0"/>
            </a:br>
            <a:r>
              <a:rPr lang="de-DE" dirty="0"/>
              <a:t>durch Klicken bearbeiten</a:t>
            </a:r>
            <a:endParaRPr lang="en-US" dirty="0"/>
          </a:p>
        </p:txBody>
      </p:sp>
    </p:spTree>
    <p:extLst>
      <p:ext uri="{BB962C8B-B14F-4D97-AF65-F5344CB8AC3E}">
        <p14:creationId xmlns:p14="http://schemas.microsoft.com/office/powerpoint/2010/main" val="36797004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E5F0A11-E9AE-4A71-B363-96EB8B0DDC80}"/>
              </a:ext>
            </a:extLst>
          </p:cNvPr>
          <p:cNvGraphicFramePr>
            <a:graphicFrameLocks noChangeAspect="1"/>
          </p:cNvGraphicFramePr>
          <p:nvPr userDrawn="1">
            <p:custDataLst>
              <p:tags r:id="rId2"/>
            </p:custDataLs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2059" name="think-cell Folie" r:id="rId4" imgW="359" imgH="360" progId="TCLayout.ActiveDocument.1">
                  <p:embed/>
                </p:oleObj>
              </mc:Choice>
              <mc:Fallback>
                <p:oleObj name="think-cell Folie" r:id="rId4" imgW="359" imgH="360" progId="TCLayout.ActiveDocument.1">
                  <p:embed/>
                  <p:pic>
                    <p:nvPicPr>
                      <p:cNvPr id="6" name="Object 5" hidden="1">
                        <a:extLst>
                          <a:ext uri="{FF2B5EF4-FFF2-40B4-BE49-F238E27FC236}">
                            <a16:creationId xmlns:a16="http://schemas.microsoft.com/office/drawing/2014/main" id="{4E5F0A11-E9AE-4A71-B363-96EB8B0DDC80}"/>
                          </a:ext>
                        </a:extLst>
                      </p:cNvPr>
                      <p:cNvPicPr/>
                      <p:nvPr/>
                    </p:nvPicPr>
                    <p:blipFill>
                      <a:blip r:embed="rId5"/>
                      <a:stretch>
                        <a:fillRect/>
                      </a:stretch>
                    </p:blipFill>
                    <p:spPr>
                      <a:xfrm>
                        <a:off x="1589" y="2119"/>
                        <a:ext cx="1587" cy="211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E1A479-CB74-4059-BA7E-938F89141D13}"/>
              </a:ext>
            </a:extLst>
          </p:cNvPr>
          <p:cNvSpPr>
            <a:spLocks noGrp="1"/>
          </p:cNvSpPr>
          <p:nvPr>
            <p:ph type="title"/>
          </p:nvPr>
        </p:nvSpPr>
        <p:spPr/>
        <p:txBody>
          <a:bodyPr/>
          <a:lstStyle/>
          <a:p>
            <a:r>
              <a:rPr lang="de-DE" smtClean="0"/>
              <a:t>Titelmasterformat durch Klicken bearbeiten</a:t>
            </a:r>
            <a:endParaRPr lang="de-DE"/>
          </a:p>
        </p:txBody>
      </p:sp>
      <p:sp>
        <p:nvSpPr>
          <p:cNvPr id="3" name="Date Placeholder 2">
            <a:extLst>
              <a:ext uri="{FF2B5EF4-FFF2-40B4-BE49-F238E27FC236}">
                <a16:creationId xmlns:a16="http://schemas.microsoft.com/office/drawing/2014/main" id="{370CD768-4897-4AB1-BDB4-39940D3413AE}"/>
              </a:ext>
            </a:extLst>
          </p:cNvPr>
          <p:cNvSpPr>
            <a:spLocks noGrp="1"/>
          </p:cNvSpPr>
          <p:nvPr>
            <p:ph type="dt" sz="half" idx="10"/>
          </p:nvPr>
        </p:nvSpPr>
        <p:spPr>
          <a:xfrm>
            <a:off x="7757852" y="6522041"/>
            <a:ext cx="562655" cy="92333"/>
          </a:xfrm>
          <a:prstGeom prst="rect">
            <a:avLst/>
          </a:prstGeom>
        </p:spPr>
        <p:txBody>
          <a:bodyPr/>
          <a:lstStyle/>
          <a:p>
            <a:fld id="{F1561A1C-C322-4051-9FB1-0FE078C69755}" type="datetime4">
              <a:rPr lang="de-DE" smtClean="0"/>
              <a:t>21. März 2019</a:t>
            </a:fld>
            <a:endParaRPr lang="de-DE" dirty="0"/>
          </a:p>
        </p:txBody>
      </p:sp>
      <p:sp>
        <p:nvSpPr>
          <p:cNvPr id="4" name="Footer Placeholder 3">
            <a:extLst>
              <a:ext uri="{FF2B5EF4-FFF2-40B4-BE49-F238E27FC236}">
                <a16:creationId xmlns:a16="http://schemas.microsoft.com/office/drawing/2014/main" id="{2609003A-040C-4625-804B-1B727AD2B368}"/>
              </a:ext>
            </a:extLst>
          </p:cNvPr>
          <p:cNvSpPr>
            <a:spLocks noGrp="1"/>
          </p:cNvSpPr>
          <p:nvPr>
            <p:ph type="ftr" sz="quarter" idx="11"/>
          </p:nvPr>
        </p:nvSpPr>
        <p:spPr>
          <a:xfrm>
            <a:off x="269875" y="6516911"/>
            <a:ext cx="2901951" cy="92333"/>
          </a:xfrm>
          <a:prstGeom prst="rect">
            <a:avLst/>
          </a:prstGeom>
        </p:spPr>
        <p:txBody>
          <a:bodyPr/>
          <a:lstStyle/>
          <a:p>
            <a:r>
              <a:rPr lang="de-DE"/>
              <a:t>Thema der Präsentation</a:t>
            </a:r>
            <a:endParaRPr lang="de-DE" dirty="0"/>
          </a:p>
        </p:txBody>
      </p:sp>
      <p:sp>
        <p:nvSpPr>
          <p:cNvPr id="5" name="Slide Number Placeholder 4">
            <a:extLst>
              <a:ext uri="{FF2B5EF4-FFF2-40B4-BE49-F238E27FC236}">
                <a16:creationId xmlns:a16="http://schemas.microsoft.com/office/drawing/2014/main" id="{5D40D87B-C596-4EF2-BB74-50F4CE3DF550}"/>
              </a:ext>
            </a:extLst>
          </p:cNvPr>
          <p:cNvSpPr>
            <a:spLocks noGrp="1"/>
          </p:cNvSpPr>
          <p:nvPr>
            <p:ph type="sldNum" sz="quarter" idx="12"/>
          </p:nvPr>
        </p:nvSpPr>
        <p:spPr>
          <a:xfrm>
            <a:off x="8539644" y="6522041"/>
            <a:ext cx="312585" cy="92333"/>
          </a:xfrm>
          <a:prstGeom prst="rect">
            <a:avLst/>
          </a:prstGeom>
        </p:spPr>
        <p:txBody>
          <a:bodyPr/>
          <a:lstStyle/>
          <a:p>
            <a:r>
              <a:rPr lang="de-DE"/>
              <a:t> Seite </a:t>
            </a:r>
            <a:fld id="{5B550D02-36FB-DB4F-A0A1-C5C3376DF52B}" type="slidenum">
              <a:rPr lang="de-DE" smtClean="0"/>
              <a:pPr/>
              <a:t>‹Nr.›</a:t>
            </a:fld>
            <a:endParaRPr lang="de-DE" dirty="0"/>
          </a:p>
        </p:txBody>
      </p:sp>
      <p:sp>
        <p:nvSpPr>
          <p:cNvPr id="9" name="Text Placeholder 8">
            <a:extLst>
              <a:ext uri="{FF2B5EF4-FFF2-40B4-BE49-F238E27FC236}">
                <a16:creationId xmlns:a16="http://schemas.microsoft.com/office/drawing/2014/main" id="{FF5E09E9-8050-4634-9389-E6469E57AD5D}"/>
              </a:ext>
            </a:extLst>
          </p:cNvPr>
          <p:cNvSpPr>
            <a:spLocks noGrp="1"/>
          </p:cNvSpPr>
          <p:nvPr>
            <p:ph type="body" sz="quarter" idx="14"/>
          </p:nvPr>
        </p:nvSpPr>
        <p:spPr>
          <a:xfrm>
            <a:off x="269875" y="1689102"/>
            <a:ext cx="8578851" cy="435821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Content Placeholder 6">
            <a:extLst>
              <a:ext uri="{FF2B5EF4-FFF2-40B4-BE49-F238E27FC236}">
                <a16:creationId xmlns:a16="http://schemas.microsoft.com/office/drawing/2014/main" id="{32D658B4-AB48-4B88-98D8-5DA2ED5AB561}"/>
              </a:ext>
            </a:extLst>
          </p:cNvPr>
          <p:cNvSpPr>
            <a:spLocks noGrp="1"/>
          </p:cNvSpPr>
          <p:nvPr>
            <p:ph sz="quarter" idx="15"/>
          </p:nvPr>
        </p:nvSpPr>
        <p:spPr>
          <a:xfrm>
            <a:off x="0" y="0"/>
            <a:ext cx="9144000" cy="292800"/>
          </a:xfrm>
        </p:spPr>
        <p:txBody>
          <a:bodyPr lIns="291600" tIns="3600" anchor="ctr"/>
          <a:lstStyle>
            <a:lvl1pPr>
              <a:defRPr sz="800" b="1">
                <a:solidFill>
                  <a:schemeClr val="bg2"/>
                </a:solidFill>
              </a:defRPr>
            </a:lvl1pPr>
            <a:lvl2pPr marL="239177" indent="0">
              <a:buNone/>
              <a:defRPr/>
            </a:lvl2pPr>
          </a:lstStyle>
          <a:p>
            <a:pPr lvl="0"/>
            <a:r>
              <a:rPr lang="de-DE" smtClean="0"/>
              <a:t>Textmasterformat bearbeiten</a:t>
            </a:r>
          </a:p>
        </p:txBody>
      </p:sp>
    </p:spTree>
    <p:extLst>
      <p:ext uri="{BB962C8B-B14F-4D97-AF65-F5344CB8AC3E}">
        <p14:creationId xmlns:p14="http://schemas.microsoft.com/office/powerpoint/2010/main" val="23130074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E5F0A11-E9AE-4A71-B363-96EB8B0DDC80}"/>
              </a:ext>
            </a:extLst>
          </p:cNvPr>
          <p:cNvGraphicFramePr>
            <a:graphicFrameLocks noChangeAspect="1"/>
          </p:cNvGraphicFramePr>
          <p:nvPr userDrawn="1">
            <p:custDataLst>
              <p:tags r:id="rId2"/>
            </p:custDataLs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3083" name="think-cell Folie" r:id="rId4" imgW="359" imgH="360" progId="TCLayout.ActiveDocument.1">
                  <p:embed/>
                </p:oleObj>
              </mc:Choice>
              <mc:Fallback>
                <p:oleObj name="think-cell Folie" r:id="rId4" imgW="359" imgH="360" progId="TCLayout.ActiveDocument.1">
                  <p:embed/>
                  <p:pic>
                    <p:nvPicPr>
                      <p:cNvPr id="6" name="Object 5" hidden="1">
                        <a:extLst>
                          <a:ext uri="{FF2B5EF4-FFF2-40B4-BE49-F238E27FC236}">
                            <a16:creationId xmlns:a16="http://schemas.microsoft.com/office/drawing/2014/main" id="{4E5F0A11-E9AE-4A71-B363-96EB8B0DDC80}"/>
                          </a:ext>
                        </a:extLst>
                      </p:cNvPr>
                      <p:cNvPicPr/>
                      <p:nvPr/>
                    </p:nvPicPr>
                    <p:blipFill>
                      <a:blip r:embed="rId5"/>
                      <a:stretch>
                        <a:fillRect/>
                      </a:stretch>
                    </p:blipFill>
                    <p:spPr>
                      <a:xfrm>
                        <a:off x="1589" y="2119"/>
                        <a:ext cx="1587" cy="211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E1A479-CB74-4059-BA7E-938F89141D13}"/>
              </a:ext>
            </a:extLst>
          </p:cNvPr>
          <p:cNvSpPr>
            <a:spLocks noGrp="1"/>
          </p:cNvSpPr>
          <p:nvPr>
            <p:ph type="title"/>
          </p:nvPr>
        </p:nvSpPr>
        <p:spPr/>
        <p:txBody>
          <a:bodyPr/>
          <a:lstStyle/>
          <a:p>
            <a:r>
              <a:rPr lang="de-DE" smtClean="0"/>
              <a:t>Titelmasterformat durch Klicken bearbeiten</a:t>
            </a:r>
            <a:endParaRPr lang="de-DE"/>
          </a:p>
        </p:txBody>
      </p:sp>
      <p:sp>
        <p:nvSpPr>
          <p:cNvPr id="4" name="Footer Placeholder 3">
            <a:extLst>
              <a:ext uri="{FF2B5EF4-FFF2-40B4-BE49-F238E27FC236}">
                <a16:creationId xmlns:a16="http://schemas.microsoft.com/office/drawing/2014/main" id="{2609003A-040C-4625-804B-1B727AD2B368}"/>
              </a:ext>
            </a:extLst>
          </p:cNvPr>
          <p:cNvSpPr>
            <a:spLocks noGrp="1"/>
          </p:cNvSpPr>
          <p:nvPr>
            <p:ph type="ftr" sz="quarter" idx="11"/>
          </p:nvPr>
        </p:nvSpPr>
        <p:spPr>
          <a:xfrm>
            <a:off x="251520" y="6516635"/>
            <a:ext cx="2895600" cy="97738"/>
          </a:xfrm>
          <a:prstGeom prst="rect">
            <a:avLst/>
          </a:prstGeom>
        </p:spPr>
        <p:txBody>
          <a:bodyPr/>
          <a:lstStyle/>
          <a:p>
            <a:r>
              <a:rPr lang="de-DE">
                <a:solidFill>
                  <a:srgbClr val="005087"/>
                </a:solidFill>
              </a:rPr>
              <a:t>Thema der Präsentation</a:t>
            </a:r>
            <a:endParaRPr lang="de-DE" dirty="0">
              <a:solidFill>
                <a:srgbClr val="005087"/>
              </a:solidFill>
            </a:endParaRPr>
          </a:p>
        </p:txBody>
      </p:sp>
      <p:sp>
        <p:nvSpPr>
          <p:cNvPr id="5" name="Slide Number Placeholder 4">
            <a:extLst>
              <a:ext uri="{FF2B5EF4-FFF2-40B4-BE49-F238E27FC236}">
                <a16:creationId xmlns:a16="http://schemas.microsoft.com/office/drawing/2014/main" id="{5D40D87B-C596-4EF2-BB74-50F4CE3DF550}"/>
              </a:ext>
            </a:extLst>
          </p:cNvPr>
          <p:cNvSpPr>
            <a:spLocks noGrp="1"/>
          </p:cNvSpPr>
          <p:nvPr>
            <p:ph type="sldNum" sz="quarter" idx="12"/>
          </p:nvPr>
        </p:nvSpPr>
        <p:spPr>
          <a:xfrm>
            <a:off x="8501063" y="6521450"/>
            <a:ext cx="350837" cy="93663"/>
          </a:xfrm>
          <a:prstGeom prst="rect">
            <a:avLst/>
          </a:prstGeom>
        </p:spPr>
        <p:txBody>
          <a:bodyPr/>
          <a:lstStyle/>
          <a:p>
            <a:r>
              <a:rPr lang="de-DE">
                <a:solidFill>
                  <a:srgbClr val="005087"/>
                </a:solidFill>
              </a:rPr>
              <a:t> Seite </a:t>
            </a:r>
            <a:fld id="{5B550D02-36FB-DB4F-A0A1-C5C3376DF52B}" type="slidenum">
              <a:rPr lang="de-DE" smtClean="0">
                <a:solidFill>
                  <a:srgbClr val="005087"/>
                </a:solidFill>
              </a:rPr>
              <a:pPr/>
              <a:t>‹Nr.›</a:t>
            </a:fld>
            <a:endParaRPr lang="de-DE" dirty="0">
              <a:solidFill>
                <a:srgbClr val="005087"/>
              </a:solidFill>
            </a:endParaRPr>
          </a:p>
        </p:txBody>
      </p:sp>
      <p:sp>
        <p:nvSpPr>
          <p:cNvPr id="9" name="Text Placeholder 8">
            <a:extLst>
              <a:ext uri="{FF2B5EF4-FFF2-40B4-BE49-F238E27FC236}">
                <a16:creationId xmlns:a16="http://schemas.microsoft.com/office/drawing/2014/main" id="{FF5E09E9-8050-4634-9389-E6469E57AD5D}"/>
              </a:ext>
            </a:extLst>
          </p:cNvPr>
          <p:cNvSpPr>
            <a:spLocks noGrp="1"/>
          </p:cNvSpPr>
          <p:nvPr>
            <p:ph type="body" sz="quarter" idx="14"/>
          </p:nvPr>
        </p:nvSpPr>
        <p:spPr>
          <a:xfrm>
            <a:off x="269875" y="1689102"/>
            <a:ext cx="8578851" cy="435821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Content Placeholder 6">
            <a:extLst>
              <a:ext uri="{FF2B5EF4-FFF2-40B4-BE49-F238E27FC236}">
                <a16:creationId xmlns:a16="http://schemas.microsoft.com/office/drawing/2014/main" id="{32D658B4-AB48-4B88-98D8-5DA2ED5AB561}"/>
              </a:ext>
            </a:extLst>
          </p:cNvPr>
          <p:cNvSpPr>
            <a:spLocks noGrp="1"/>
          </p:cNvSpPr>
          <p:nvPr>
            <p:ph sz="quarter" idx="15"/>
          </p:nvPr>
        </p:nvSpPr>
        <p:spPr>
          <a:xfrm>
            <a:off x="0" y="0"/>
            <a:ext cx="9144000" cy="292800"/>
          </a:xfrm>
        </p:spPr>
        <p:txBody>
          <a:bodyPr lIns="291600" tIns="3600" anchor="ctr"/>
          <a:lstStyle>
            <a:lvl1pPr>
              <a:defRPr sz="800" b="1">
                <a:solidFill>
                  <a:schemeClr val="bg2"/>
                </a:solidFill>
              </a:defRPr>
            </a:lvl1pPr>
            <a:lvl2pPr marL="239177" indent="0">
              <a:buNone/>
              <a:defRPr/>
            </a:lvl2pPr>
          </a:lstStyle>
          <a:p>
            <a:pPr lvl="0"/>
            <a:r>
              <a:rPr lang="de-DE" smtClean="0"/>
              <a:t>Textmasterformat bearbeiten</a:t>
            </a:r>
          </a:p>
        </p:txBody>
      </p:sp>
    </p:spTree>
    <p:extLst>
      <p:ext uri="{BB962C8B-B14F-4D97-AF65-F5344CB8AC3E}">
        <p14:creationId xmlns:p14="http://schemas.microsoft.com/office/powerpoint/2010/main" val="26376650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6_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E5F0A11-E9AE-4A71-B363-96EB8B0DDC80}"/>
              </a:ext>
            </a:extLst>
          </p:cNvPr>
          <p:cNvGraphicFramePr>
            <a:graphicFrameLocks noChangeAspect="1"/>
          </p:cNvGraphicFramePr>
          <p:nvPr>
            <p:custDataLst>
              <p:tags r:id="rId2"/>
            </p:custDataLst>
            <p:ext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4107" name="think-cell Folie" r:id="rId4" imgW="359" imgH="360" progId="TCLayout.ActiveDocument.1">
                  <p:embed/>
                </p:oleObj>
              </mc:Choice>
              <mc:Fallback>
                <p:oleObj name="think-cell Folie" r:id="rId4" imgW="359" imgH="360" progId="TCLayout.ActiveDocument.1">
                  <p:embed/>
                  <p:pic>
                    <p:nvPicPr>
                      <p:cNvPr id="6" name="Object 5" hidden="1">
                        <a:extLst>
                          <a:ext uri="{FF2B5EF4-FFF2-40B4-BE49-F238E27FC236}">
                            <a16:creationId xmlns:a16="http://schemas.microsoft.com/office/drawing/2014/main" id="{4E5F0A11-E9AE-4A71-B363-96EB8B0DDC80}"/>
                          </a:ext>
                        </a:extLst>
                      </p:cNvPr>
                      <p:cNvPicPr/>
                      <p:nvPr/>
                    </p:nvPicPr>
                    <p:blipFill>
                      <a:blip r:embed="rId5"/>
                      <a:stretch>
                        <a:fillRect/>
                      </a:stretch>
                    </p:blipFill>
                    <p:spPr>
                      <a:xfrm>
                        <a:off x="1589" y="2119"/>
                        <a:ext cx="1587" cy="211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E1A479-CB74-4059-BA7E-938F89141D13}"/>
              </a:ext>
            </a:extLst>
          </p:cNvPr>
          <p:cNvSpPr>
            <a:spLocks noGrp="1"/>
          </p:cNvSpPr>
          <p:nvPr>
            <p:ph type="title"/>
          </p:nvPr>
        </p:nvSpPr>
        <p:spPr/>
        <p:txBody>
          <a:bodyPr/>
          <a:lstStyle/>
          <a:p>
            <a:r>
              <a:rPr lang="de-DE" smtClean="0"/>
              <a:t>Titelmasterformat durch Klicken bearbeiten</a:t>
            </a:r>
            <a:endParaRPr lang="de-DE"/>
          </a:p>
        </p:txBody>
      </p:sp>
      <p:sp>
        <p:nvSpPr>
          <p:cNvPr id="9" name="Text Placeholder 8">
            <a:extLst>
              <a:ext uri="{FF2B5EF4-FFF2-40B4-BE49-F238E27FC236}">
                <a16:creationId xmlns:a16="http://schemas.microsoft.com/office/drawing/2014/main" id="{FF5E09E9-8050-4634-9389-E6469E57AD5D}"/>
              </a:ext>
            </a:extLst>
          </p:cNvPr>
          <p:cNvSpPr>
            <a:spLocks noGrp="1"/>
          </p:cNvSpPr>
          <p:nvPr>
            <p:ph type="body" sz="quarter" idx="14"/>
          </p:nvPr>
        </p:nvSpPr>
        <p:spPr>
          <a:xfrm>
            <a:off x="269875" y="1689102"/>
            <a:ext cx="8578851" cy="435821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Content Placeholder 6">
            <a:extLst>
              <a:ext uri="{FF2B5EF4-FFF2-40B4-BE49-F238E27FC236}">
                <a16:creationId xmlns:a16="http://schemas.microsoft.com/office/drawing/2014/main" id="{32D658B4-AB48-4B88-98D8-5DA2ED5AB561}"/>
              </a:ext>
            </a:extLst>
          </p:cNvPr>
          <p:cNvSpPr>
            <a:spLocks noGrp="1"/>
          </p:cNvSpPr>
          <p:nvPr>
            <p:ph sz="quarter" idx="15"/>
          </p:nvPr>
        </p:nvSpPr>
        <p:spPr>
          <a:xfrm>
            <a:off x="0" y="0"/>
            <a:ext cx="9144000" cy="292800"/>
          </a:xfrm>
        </p:spPr>
        <p:txBody>
          <a:bodyPr lIns="291600" tIns="3600" anchor="ctr"/>
          <a:lstStyle>
            <a:lvl1pPr>
              <a:defRPr sz="800" b="1">
                <a:solidFill>
                  <a:schemeClr val="bg2"/>
                </a:solidFill>
              </a:defRPr>
            </a:lvl1pPr>
            <a:lvl2pPr marL="239177" indent="0">
              <a:buNone/>
              <a:defRPr/>
            </a:lvl2pPr>
          </a:lstStyle>
          <a:p>
            <a:pPr lvl="0"/>
            <a:r>
              <a:rPr lang="de-DE" smtClean="0"/>
              <a:t>Textmasterformat bearbeiten</a:t>
            </a:r>
          </a:p>
        </p:txBody>
      </p:sp>
    </p:spTree>
    <p:extLst>
      <p:ext uri="{BB962C8B-B14F-4D97-AF65-F5344CB8AC3E}">
        <p14:creationId xmlns:p14="http://schemas.microsoft.com/office/powerpoint/2010/main" val="1261404067"/>
      </p:ext>
    </p:extLst>
  </p:cSld>
  <p:clrMapOvr>
    <a:masterClrMapping/>
  </p:clrMapOvr>
  <p:timing>
    <p:tnLst>
      <p:par>
        <p:cTn id="1" dur="indefinite" restart="never" nodeType="tmRoot"/>
      </p:par>
    </p:tnLst>
  </p:timing>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9F719B1-DA07-7348-913D-9A49EBBC176D}"/>
              </a:ext>
            </a:extLst>
          </p:cNvPr>
          <p:cNvSpPr txBox="1">
            <a:spLocks/>
          </p:cNvSpPr>
          <p:nvPr userDrawn="1"/>
        </p:nvSpPr>
        <p:spPr>
          <a:xfrm>
            <a:off x="386152" y="6065506"/>
            <a:ext cx="517951"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DBB18899-D834-4E4B-BAF9-E133A910EC78}" type="slidenum">
              <a:rPr lang="de-DE" sz="1108" b="1" smtClean="0">
                <a:solidFill>
                  <a:schemeClr val="tx1"/>
                </a:solidFill>
                <a:latin typeface="Arial" panose="020B0604020202020204" pitchFamily="34" charset="0"/>
                <a:cs typeface="Arial" panose="020B0604020202020204" pitchFamily="34" charset="0"/>
              </a:rPr>
              <a:pPr algn="l"/>
              <a:t>‹Nr.›</a:t>
            </a:fld>
            <a:endParaRPr lang="de-DE" sz="1108" b="1" dirty="0">
              <a:solidFill>
                <a:schemeClr val="tx1"/>
              </a:solidFill>
              <a:latin typeface="Arial" panose="020B0604020202020204" pitchFamily="34" charset="0"/>
              <a:cs typeface="Arial" panose="020B0604020202020204" pitchFamily="34" charset="0"/>
            </a:endParaRPr>
          </a:p>
        </p:txBody>
      </p:sp>
      <p:sp>
        <p:nvSpPr>
          <p:cNvPr id="7" name="Slide Number Placeholder 5">
            <a:extLst>
              <a:ext uri="{FF2B5EF4-FFF2-40B4-BE49-F238E27FC236}">
                <a16:creationId xmlns:a16="http://schemas.microsoft.com/office/drawing/2014/main" id="{930FE354-3FD9-6142-9795-FA208175DFB9}"/>
              </a:ext>
            </a:extLst>
          </p:cNvPr>
          <p:cNvSpPr txBox="1">
            <a:spLocks/>
          </p:cNvSpPr>
          <p:nvPr userDrawn="1"/>
        </p:nvSpPr>
        <p:spPr>
          <a:xfrm>
            <a:off x="1162115" y="6065506"/>
            <a:ext cx="1598254"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r>
              <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rPr>
              <a:t>© IG BCE </a:t>
            </a:r>
            <a:r>
              <a:rPr lang="de-DE" sz="1015" b="0" i="0" u="none" strike="noStrike" kern="1200" baseline="0" dirty="0" smtClean="0">
                <a:solidFill>
                  <a:schemeClr val="tx1"/>
                </a:solidFill>
                <a:latin typeface="TheSansB W5 Plain" panose="020B0502050302020203" pitchFamily="34" charset="77"/>
                <a:ea typeface="+mn-ea"/>
                <a:cs typeface="Arial" panose="020B0604020202020204" pitchFamily="34" charset="0"/>
              </a:rPr>
              <a:t>Bezirk Alsdorf Manfred Maresch</a:t>
            </a:r>
            <a:endPar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endParaRPr>
          </a:p>
        </p:txBody>
      </p:sp>
    </p:spTree>
    <p:extLst>
      <p:ext uri="{BB962C8B-B14F-4D97-AF65-F5344CB8AC3E}">
        <p14:creationId xmlns:p14="http://schemas.microsoft.com/office/powerpoint/2010/main" val="11344868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Titelmasterformat durch Klicken bearbeiten</a:t>
            </a:r>
            <a:endParaRPr lang="en-US" dirty="0"/>
          </a:p>
        </p:txBody>
      </p:sp>
      <p:sp>
        <p:nvSpPr>
          <p:cNvPr id="3" name="Content Placehold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5">
            <a:extLst>
              <a:ext uri="{FF2B5EF4-FFF2-40B4-BE49-F238E27FC236}">
                <a16:creationId xmlns:a16="http://schemas.microsoft.com/office/drawing/2014/main" id="{19F719B1-DA07-7348-913D-9A49EBBC176D}"/>
              </a:ext>
            </a:extLst>
          </p:cNvPr>
          <p:cNvSpPr txBox="1">
            <a:spLocks/>
          </p:cNvSpPr>
          <p:nvPr userDrawn="1"/>
        </p:nvSpPr>
        <p:spPr>
          <a:xfrm>
            <a:off x="386152" y="6065506"/>
            <a:ext cx="517951"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DBB18899-D834-4E4B-BAF9-E133A910EC78}" type="slidenum">
              <a:rPr lang="de-DE" sz="1108" b="1" smtClean="0">
                <a:solidFill>
                  <a:schemeClr val="tx1"/>
                </a:solidFill>
                <a:latin typeface="Arial" panose="020B0604020202020204" pitchFamily="34" charset="0"/>
                <a:cs typeface="Arial" panose="020B0604020202020204" pitchFamily="34" charset="0"/>
              </a:rPr>
              <a:pPr algn="l"/>
              <a:t>‹Nr.›</a:t>
            </a:fld>
            <a:endParaRPr lang="de-DE" sz="1108" b="1" dirty="0">
              <a:solidFill>
                <a:schemeClr val="tx1"/>
              </a:solidFill>
              <a:latin typeface="Arial" panose="020B0604020202020204" pitchFamily="34" charset="0"/>
              <a:cs typeface="Arial" panose="020B0604020202020204" pitchFamily="34" charset="0"/>
            </a:endParaRPr>
          </a:p>
        </p:txBody>
      </p:sp>
      <p:sp>
        <p:nvSpPr>
          <p:cNvPr id="8" name="Slide Number Placeholder 5">
            <a:extLst>
              <a:ext uri="{FF2B5EF4-FFF2-40B4-BE49-F238E27FC236}">
                <a16:creationId xmlns:a16="http://schemas.microsoft.com/office/drawing/2014/main" id="{930FE354-3FD9-6142-9795-FA208175DFB9}"/>
              </a:ext>
            </a:extLst>
          </p:cNvPr>
          <p:cNvSpPr txBox="1">
            <a:spLocks/>
          </p:cNvSpPr>
          <p:nvPr userDrawn="1"/>
        </p:nvSpPr>
        <p:spPr>
          <a:xfrm>
            <a:off x="1162115" y="6065506"/>
            <a:ext cx="1598254"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r>
              <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rPr>
              <a:t>© IG BCE </a:t>
            </a:r>
            <a:r>
              <a:rPr lang="de-DE" sz="1015" b="0" i="0" u="none" strike="noStrike" kern="1200" baseline="0" dirty="0" smtClean="0">
                <a:solidFill>
                  <a:schemeClr val="tx1"/>
                </a:solidFill>
                <a:latin typeface="TheSansB W5 Plain" panose="020B0502050302020203" pitchFamily="34" charset="77"/>
                <a:ea typeface="+mn-ea"/>
                <a:cs typeface="Arial" panose="020B0604020202020204" pitchFamily="34" charset="0"/>
              </a:rPr>
              <a:t>Bezirk Alsdorf Manfred Maresch</a:t>
            </a:r>
            <a:endPar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endParaRPr>
          </a:p>
        </p:txBody>
      </p:sp>
    </p:spTree>
    <p:extLst>
      <p:ext uri="{BB962C8B-B14F-4D97-AF65-F5344CB8AC3E}">
        <p14:creationId xmlns:p14="http://schemas.microsoft.com/office/powerpoint/2010/main" val="20335248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Slide Number Placeholder 5">
            <a:extLst>
              <a:ext uri="{FF2B5EF4-FFF2-40B4-BE49-F238E27FC236}">
                <a16:creationId xmlns:a16="http://schemas.microsoft.com/office/drawing/2014/main" id="{19F719B1-DA07-7348-913D-9A49EBBC176D}"/>
              </a:ext>
            </a:extLst>
          </p:cNvPr>
          <p:cNvSpPr txBox="1">
            <a:spLocks/>
          </p:cNvSpPr>
          <p:nvPr userDrawn="1"/>
        </p:nvSpPr>
        <p:spPr>
          <a:xfrm>
            <a:off x="386152" y="6065506"/>
            <a:ext cx="517951"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DBB18899-D834-4E4B-BAF9-E133A910EC78}" type="slidenum">
              <a:rPr lang="de-DE" sz="1108" b="1" smtClean="0">
                <a:solidFill>
                  <a:schemeClr val="tx1"/>
                </a:solidFill>
                <a:latin typeface="Arial" panose="020B0604020202020204" pitchFamily="34" charset="0"/>
                <a:cs typeface="Arial" panose="020B0604020202020204" pitchFamily="34" charset="0"/>
              </a:rPr>
              <a:pPr algn="l"/>
              <a:t>‹Nr.›</a:t>
            </a:fld>
            <a:endParaRPr lang="de-DE" sz="1108" b="1" dirty="0">
              <a:solidFill>
                <a:schemeClr val="tx1"/>
              </a:solidFill>
              <a:latin typeface="Arial" panose="020B0604020202020204" pitchFamily="34" charset="0"/>
              <a:cs typeface="Arial" panose="020B0604020202020204" pitchFamily="34" charset="0"/>
            </a:endParaRPr>
          </a:p>
        </p:txBody>
      </p:sp>
      <p:sp>
        <p:nvSpPr>
          <p:cNvPr id="7" name="Slide Number Placeholder 5">
            <a:extLst>
              <a:ext uri="{FF2B5EF4-FFF2-40B4-BE49-F238E27FC236}">
                <a16:creationId xmlns:a16="http://schemas.microsoft.com/office/drawing/2014/main" id="{930FE354-3FD9-6142-9795-FA208175DFB9}"/>
              </a:ext>
            </a:extLst>
          </p:cNvPr>
          <p:cNvSpPr txBox="1">
            <a:spLocks/>
          </p:cNvSpPr>
          <p:nvPr userDrawn="1"/>
        </p:nvSpPr>
        <p:spPr>
          <a:xfrm>
            <a:off x="1162115" y="6065506"/>
            <a:ext cx="1598254"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r>
              <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rPr>
              <a:t>© IG BCE </a:t>
            </a:r>
            <a:r>
              <a:rPr lang="de-DE" sz="1015" b="0" i="0" u="none" strike="noStrike" kern="1200" baseline="0" dirty="0" smtClean="0">
                <a:solidFill>
                  <a:schemeClr val="tx1"/>
                </a:solidFill>
                <a:latin typeface="TheSansB W5 Plain" panose="020B0502050302020203" pitchFamily="34" charset="77"/>
                <a:ea typeface="+mn-ea"/>
                <a:cs typeface="Arial" panose="020B0604020202020204" pitchFamily="34" charset="0"/>
              </a:rPr>
              <a:t>Bezirk Alsdorf Manfred Maresch</a:t>
            </a:r>
            <a:endPar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endParaRPr>
          </a:p>
        </p:txBody>
      </p:sp>
    </p:spTree>
    <p:extLst>
      <p:ext uri="{BB962C8B-B14F-4D97-AF65-F5344CB8AC3E}">
        <p14:creationId xmlns:p14="http://schemas.microsoft.com/office/powerpoint/2010/main" val="7866995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19F719B1-DA07-7348-913D-9A49EBBC176D}"/>
              </a:ext>
            </a:extLst>
          </p:cNvPr>
          <p:cNvSpPr txBox="1">
            <a:spLocks/>
          </p:cNvSpPr>
          <p:nvPr userDrawn="1"/>
        </p:nvSpPr>
        <p:spPr>
          <a:xfrm>
            <a:off x="386152" y="6065506"/>
            <a:ext cx="517951"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DBB18899-D834-4E4B-BAF9-E133A910EC78}" type="slidenum">
              <a:rPr lang="de-DE" sz="1108" b="1" smtClean="0">
                <a:solidFill>
                  <a:schemeClr val="tx1"/>
                </a:solidFill>
                <a:latin typeface="Arial" panose="020B0604020202020204" pitchFamily="34" charset="0"/>
                <a:cs typeface="Arial" panose="020B0604020202020204" pitchFamily="34" charset="0"/>
              </a:rPr>
              <a:pPr algn="l"/>
              <a:t>‹Nr.›</a:t>
            </a:fld>
            <a:endParaRPr lang="de-DE" sz="1108" b="1" dirty="0">
              <a:solidFill>
                <a:schemeClr val="tx1"/>
              </a:solidFill>
              <a:latin typeface="Arial" panose="020B0604020202020204" pitchFamily="34" charset="0"/>
              <a:cs typeface="Arial" panose="020B0604020202020204" pitchFamily="34" charset="0"/>
            </a:endParaRPr>
          </a:p>
        </p:txBody>
      </p:sp>
      <p:sp>
        <p:nvSpPr>
          <p:cNvPr id="6" name="Slide Number Placeholder 5">
            <a:extLst>
              <a:ext uri="{FF2B5EF4-FFF2-40B4-BE49-F238E27FC236}">
                <a16:creationId xmlns:a16="http://schemas.microsoft.com/office/drawing/2014/main" id="{930FE354-3FD9-6142-9795-FA208175DFB9}"/>
              </a:ext>
            </a:extLst>
          </p:cNvPr>
          <p:cNvSpPr txBox="1">
            <a:spLocks/>
          </p:cNvSpPr>
          <p:nvPr userDrawn="1"/>
        </p:nvSpPr>
        <p:spPr>
          <a:xfrm>
            <a:off x="1162115" y="6065506"/>
            <a:ext cx="1598254"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r>
              <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rPr>
              <a:t>© IG BCE </a:t>
            </a:r>
            <a:r>
              <a:rPr lang="de-DE" sz="1015" b="0" i="0" u="none" strike="noStrike" kern="1200" baseline="0" dirty="0" smtClean="0">
                <a:solidFill>
                  <a:schemeClr val="tx1"/>
                </a:solidFill>
                <a:latin typeface="TheSansB W5 Plain" panose="020B0502050302020203" pitchFamily="34" charset="77"/>
                <a:ea typeface="+mn-ea"/>
                <a:cs typeface="Arial" panose="020B0604020202020204" pitchFamily="34" charset="0"/>
              </a:rPr>
              <a:t>Bezirk Alsdorf Manfred Maresch</a:t>
            </a:r>
            <a:endPar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endParaRPr>
          </a:p>
        </p:txBody>
      </p:sp>
    </p:spTree>
    <p:extLst>
      <p:ext uri="{BB962C8B-B14F-4D97-AF65-F5344CB8AC3E}">
        <p14:creationId xmlns:p14="http://schemas.microsoft.com/office/powerpoint/2010/main" val="4746513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e-DE"/>
              <a:t>Titelmasterformat durch Klicken bearbeiten</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8" name="Slide Number Placeholder 5">
            <a:extLst>
              <a:ext uri="{FF2B5EF4-FFF2-40B4-BE49-F238E27FC236}">
                <a16:creationId xmlns:a16="http://schemas.microsoft.com/office/drawing/2014/main" id="{19F719B1-DA07-7348-913D-9A49EBBC176D}"/>
              </a:ext>
            </a:extLst>
          </p:cNvPr>
          <p:cNvSpPr txBox="1">
            <a:spLocks/>
          </p:cNvSpPr>
          <p:nvPr userDrawn="1"/>
        </p:nvSpPr>
        <p:spPr>
          <a:xfrm>
            <a:off x="386152" y="6065506"/>
            <a:ext cx="517951"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DBB18899-D834-4E4B-BAF9-E133A910EC78}" type="slidenum">
              <a:rPr lang="de-DE" sz="1108" b="1" smtClean="0">
                <a:solidFill>
                  <a:schemeClr val="tx1"/>
                </a:solidFill>
                <a:latin typeface="Arial" panose="020B0604020202020204" pitchFamily="34" charset="0"/>
                <a:cs typeface="Arial" panose="020B0604020202020204" pitchFamily="34" charset="0"/>
              </a:rPr>
              <a:pPr algn="l"/>
              <a:t>‹Nr.›</a:t>
            </a:fld>
            <a:endParaRPr lang="de-DE" sz="1108" b="1" dirty="0">
              <a:solidFill>
                <a:schemeClr val="tx1"/>
              </a:solidFill>
              <a:latin typeface="Arial" panose="020B0604020202020204" pitchFamily="34" charset="0"/>
              <a:cs typeface="Arial" panose="020B0604020202020204" pitchFamily="34" charset="0"/>
            </a:endParaRPr>
          </a:p>
        </p:txBody>
      </p:sp>
      <p:sp>
        <p:nvSpPr>
          <p:cNvPr id="9" name="Slide Number Placeholder 5">
            <a:extLst>
              <a:ext uri="{FF2B5EF4-FFF2-40B4-BE49-F238E27FC236}">
                <a16:creationId xmlns:a16="http://schemas.microsoft.com/office/drawing/2014/main" id="{930FE354-3FD9-6142-9795-FA208175DFB9}"/>
              </a:ext>
            </a:extLst>
          </p:cNvPr>
          <p:cNvSpPr txBox="1">
            <a:spLocks/>
          </p:cNvSpPr>
          <p:nvPr userDrawn="1"/>
        </p:nvSpPr>
        <p:spPr>
          <a:xfrm>
            <a:off x="1162115" y="6065506"/>
            <a:ext cx="1598254"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r>
              <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rPr>
              <a:t>© IG BCE </a:t>
            </a:r>
            <a:r>
              <a:rPr lang="de-DE" sz="1015" b="0" i="0" u="none" strike="noStrike" kern="1200" baseline="0" dirty="0" smtClean="0">
                <a:solidFill>
                  <a:schemeClr val="tx1"/>
                </a:solidFill>
                <a:latin typeface="TheSansB W5 Plain" panose="020B0502050302020203" pitchFamily="34" charset="77"/>
                <a:ea typeface="+mn-ea"/>
                <a:cs typeface="Arial" panose="020B0604020202020204" pitchFamily="34" charset="0"/>
              </a:rPr>
              <a:t>Bezirk Alsdorf Manfred Maresch</a:t>
            </a:r>
            <a:endPar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endParaRPr>
          </a:p>
        </p:txBody>
      </p:sp>
    </p:spTree>
    <p:extLst>
      <p:ext uri="{BB962C8B-B14F-4D97-AF65-F5344CB8AC3E}">
        <p14:creationId xmlns:p14="http://schemas.microsoft.com/office/powerpoint/2010/main" val="3856067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9" name="Slide Number Placeholder 5">
            <a:extLst>
              <a:ext uri="{FF2B5EF4-FFF2-40B4-BE49-F238E27FC236}">
                <a16:creationId xmlns:a16="http://schemas.microsoft.com/office/drawing/2014/main" id="{19F719B1-DA07-7348-913D-9A49EBBC176D}"/>
              </a:ext>
            </a:extLst>
          </p:cNvPr>
          <p:cNvSpPr txBox="1">
            <a:spLocks/>
          </p:cNvSpPr>
          <p:nvPr userDrawn="1"/>
        </p:nvSpPr>
        <p:spPr>
          <a:xfrm>
            <a:off x="386152" y="6065506"/>
            <a:ext cx="517951"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DBB18899-D834-4E4B-BAF9-E133A910EC78}" type="slidenum">
              <a:rPr lang="de-DE" sz="1108" b="1" smtClean="0">
                <a:solidFill>
                  <a:schemeClr val="tx1"/>
                </a:solidFill>
                <a:latin typeface="Arial" panose="020B0604020202020204" pitchFamily="34" charset="0"/>
                <a:cs typeface="Arial" panose="020B0604020202020204" pitchFamily="34" charset="0"/>
              </a:rPr>
              <a:pPr algn="l"/>
              <a:t>‹Nr.›</a:t>
            </a:fld>
            <a:endParaRPr lang="de-DE" sz="1108" b="1" dirty="0">
              <a:solidFill>
                <a:schemeClr val="tx1"/>
              </a:solidFill>
              <a:latin typeface="Arial" panose="020B0604020202020204" pitchFamily="34" charset="0"/>
              <a:cs typeface="Arial" panose="020B0604020202020204" pitchFamily="34" charset="0"/>
            </a:endParaRPr>
          </a:p>
        </p:txBody>
      </p:sp>
      <p:sp>
        <p:nvSpPr>
          <p:cNvPr id="10" name="Slide Number Placeholder 5">
            <a:extLst>
              <a:ext uri="{FF2B5EF4-FFF2-40B4-BE49-F238E27FC236}">
                <a16:creationId xmlns:a16="http://schemas.microsoft.com/office/drawing/2014/main" id="{930FE354-3FD9-6142-9795-FA208175DFB9}"/>
              </a:ext>
            </a:extLst>
          </p:cNvPr>
          <p:cNvSpPr txBox="1">
            <a:spLocks/>
          </p:cNvSpPr>
          <p:nvPr userDrawn="1"/>
        </p:nvSpPr>
        <p:spPr>
          <a:xfrm>
            <a:off x="1162115" y="6065506"/>
            <a:ext cx="1598254"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r>
              <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rPr>
              <a:t>© IG BCE </a:t>
            </a:r>
            <a:r>
              <a:rPr lang="de-DE" sz="1015" b="0" i="0" u="none" strike="noStrike" kern="1200" baseline="0" dirty="0" smtClean="0">
                <a:solidFill>
                  <a:schemeClr val="tx1"/>
                </a:solidFill>
                <a:latin typeface="TheSansB W5 Plain" panose="020B0502050302020203" pitchFamily="34" charset="77"/>
                <a:ea typeface="+mn-ea"/>
                <a:cs typeface="Arial" panose="020B0604020202020204" pitchFamily="34" charset="0"/>
              </a:rPr>
              <a:t>Bezirk Alsdorf Manfred Maresch</a:t>
            </a:r>
            <a:endPar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endParaRPr>
          </a:p>
        </p:txBody>
      </p:sp>
    </p:spTree>
    <p:extLst>
      <p:ext uri="{BB962C8B-B14F-4D97-AF65-F5344CB8AC3E}">
        <p14:creationId xmlns:p14="http://schemas.microsoft.com/office/powerpoint/2010/main" val="3386506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4_Titel und Inhalt">
    <p:spTree>
      <p:nvGrpSpPr>
        <p:cNvPr id="1" name=""/>
        <p:cNvGrpSpPr/>
        <p:nvPr/>
      </p:nvGrpSpPr>
      <p:grpSpPr>
        <a:xfrm>
          <a:off x="0" y="0"/>
          <a:ext cx="0" cy="0"/>
          <a:chOff x="0" y="0"/>
          <a:chExt cx="0" cy="0"/>
        </a:xfrm>
      </p:grpSpPr>
      <p:sp>
        <p:nvSpPr>
          <p:cNvPr id="5" name="Inhaltsplatzhalter 3">
            <a:extLst>
              <a:ext uri="{FF2B5EF4-FFF2-40B4-BE49-F238E27FC236}">
                <a16:creationId xmlns:a16="http://schemas.microsoft.com/office/drawing/2014/main" id="{B41BBD85-6CDC-1D44-A70E-83666F76C93E}"/>
              </a:ext>
            </a:extLst>
          </p:cNvPr>
          <p:cNvSpPr>
            <a:spLocks noGrp="1"/>
          </p:cNvSpPr>
          <p:nvPr>
            <p:ph sz="quarter" idx="10"/>
          </p:nvPr>
        </p:nvSpPr>
        <p:spPr>
          <a:xfrm>
            <a:off x="362215" y="501635"/>
            <a:ext cx="8433390" cy="419440"/>
          </a:xfrm>
          <a:prstGeom prst="rect">
            <a:avLst/>
          </a:prstGeom>
        </p:spPr>
        <p:txBody>
          <a:bodyPr wrap="square" lIns="118800" tIns="86400" rIns="118800" bIns="25200" anchor="ctr" anchorCtr="0">
            <a:spAutoFit/>
          </a:bodyPr>
          <a:lstStyle>
            <a:lvl1pPr marL="0" indent="0">
              <a:buFontTx/>
              <a:buNone/>
              <a:defRPr sz="2215" b="0" cap="all" baseline="0">
                <a:latin typeface="Overspray" panose="02000503000000020004" pitchFamily="2" charset="0"/>
              </a:defRPr>
            </a:lvl1pPr>
            <a:lvl2pPr marL="422041" indent="0">
              <a:buNone/>
              <a:defRPr/>
            </a:lvl2pPr>
            <a:lvl3pPr marL="844083" indent="0">
              <a:buNone/>
              <a:defRPr/>
            </a:lvl3pPr>
            <a:lvl4pPr marL="1266124" indent="0">
              <a:buNone/>
              <a:defRPr/>
            </a:lvl4pPr>
            <a:lvl5pPr marL="1688165" indent="0">
              <a:buNone/>
              <a:defRPr/>
            </a:lvl5pPr>
          </a:lstStyle>
          <a:p>
            <a:pPr lvl="0"/>
            <a:r>
              <a:rPr lang="de-DE" dirty="0"/>
              <a:t>Formatvorlagen des Textmasters bearbeiten</a:t>
            </a:r>
          </a:p>
        </p:txBody>
      </p:sp>
      <p:sp>
        <p:nvSpPr>
          <p:cNvPr id="4" name="Textplatzhalter 3">
            <a:extLst>
              <a:ext uri="{FF2B5EF4-FFF2-40B4-BE49-F238E27FC236}">
                <a16:creationId xmlns:a16="http://schemas.microsoft.com/office/drawing/2014/main" id="{7D6F9FF0-535D-E640-B8D8-A077AC414381}"/>
              </a:ext>
            </a:extLst>
          </p:cNvPr>
          <p:cNvSpPr>
            <a:spLocks noGrp="1"/>
          </p:cNvSpPr>
          <p:nvPr>
            <p:ph type="body" sz="quarter" idx="11" hasCustomPrompt="1"/>
          </p:nvPr>
        </p:nvSpPr>
        <p:spPr>
          <a:xfrm>
            <a:off x="362216" y="1473869"/>
            <a:ext cx="8433390" cy="4298281"/>
          </a:xfrm>
          <a:prstGeom prst="rect">
            <a:avLst/>
          </a:prstGeom>
        </p:spPr>
        <p:txBody>
          <a:bodyPr/>
          <a:lstStyle>
            <a:lvl1pPr marL="316531" indent="-316531">
              <a:lnSpc>
                <a:spcPts val="2215"/>
              </a:lnSpc>
              <a:spcBef>
                <a:spcPts val="0"/>
              </a:spcBef>
              <a:buClr>
                <a:srgbClr val="E30613"/>
              </a:buClr>
              <a:buSzPct val="90000"/>
              <a:buFont typeface="Wingdings" pitchFamily="2" charset="2"/>
              <a:buChar char="§"/>
              <a:defRPr sz="1939" baseline="0">
                <a:latin typeface="TheSansB W5 Plain" panose="020B0502050302020203" pitchFamily="34" charset="77"/>
              </a:defRPr>
            </a:lvl1pPr>
            <a:lvl2pPr marL="0" indent="-315700">
              <a:lnSpc>
                <a:spcPts val="2215"/>
              </a:lnSpc>
              <a:spcBef>
                <a:spcPts val="0"/>
              </a:spcBef>
              <a:buClr>
                <a:srgbClr val="E30613"/>
              </a:buClr>
              <a:buSzPct val="90000"/>
              <a:buFont typeface="Wingdings" pitchFamily="2" charset="2"/>
              <a:buChar char="§"/>
              <a:defRPr sz="1939" baseline="0"/>
            </a:lvl2pPr>
            <a:lvl3pPr marL="822102" indent="-420576">
              <a:lnSpc>
                <a:spcPts val="2215"/>
              </a:lnSpc>
              <a:buClr>
                <a:srgbClr val="E30613"/>
              </a:buClr>
              <a:buSzPct val="80000"/>
              <a:buFont typeface="Arial" panose="020B0604020202020204" pitchFamily="34" charset="0"/>
              <a:buChar char="•"/>
              <a:tabLst/>
              <a:defRPr sz="1754">
                <a:latin typeface="TheSansB W5 Plain" panose="020B0502050302020203" pitchFamily="34" charset="77"/>
              </a:defRPr>
            </a:lvl3pPr>
          </a:lstStyle>
          <a:p>
            <a:pPr lvl="0"/>
            <a:r>
              <a:rPr lang="de-DE" dirty="0"/>
              <a:t>Formatvorlagen des Textmasters bearbeiten</a:t>
            </a:r>
          </a:p>
          <a:p>
            <a:pPr lvl="2"/>
            <a:r>
              <a:rPr lang="de-DE" dirty="0"/>
              <a:t>Zweite Ebene</a:t>
            </a:r>
          </a:p>
        </p:txBody>
      </p:sp>
      <p:sp>
        <p:nvSpPr>
          <p:cNvPr id="9" name="Slide Number Placeholder 5">
            <a:extLst>
              <a:ext uri="{FF2B5EF4-FFF2-40B4-BE49-F238E27FC236}">
                <a16:creationId xmlns:a16="http://schemas.microsoft.com/office/drawing/2014/main" id="{19F719B1-DA07-7348-913D-9A49EBBC176D}"/>
              </a:ext>
            </a:extLst>
          </p:cNvPr>
          <p:cNvSpPr txBox="1">
            <a:spLocks/>
          </p:cNvSpPr>
          <p:nvPr userDrawn="1"/>
        </p:nvSpPr>
        <p:spPr>
          <a:xfrm>
            <a:off x="386152" y="6065506"/>
            <a:ext cx="517951"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DBB18899-D834-4E4B-BAF9-E133A910EC78}" type="slidenum">
              <a:rPr lang="de-DE" sz="1108" b="1" smtClean="0">
                <a:solidFill>
                  <a:schemeClr val="tx1"/>
                </a:solidFill>
                <a:latin typeface="Arial" panose="020B0604020202020204" pitchFamily="34" charset="0"/>
                <a:cs typeface="Arial" panose="020B0604020202020204" pitchFamily="34" charset="0"/>
              </a:rPr>
              <a:pPr algn="l"/>
              <a:t>‹Nr.›</a:t>
            </a:fld>
            <a:endParaRPr lang="de-DE" sz="1108" b="1" dirty="0">
              <a:solidFill>
                <a:schemeClr val="tx1"/>
              </a:solidFill>
              <a:latin typeface="Arial" panose="020B0604020202020204" pitchFamily="34" charset="0"/>
              <a:cs typeface="Arial" panose="020B0604020202020204" pitchFamily="34" charset="0"/>
            </a:endParaRPr>
          </a:p>
        </p:txBody>
      </p:sp>
      <p:sp>
        <p:nvSpPr>
          <p:cNvPr id="10" name="Slide Number Placeholder 5">
            <a:extLst>
              <a:ext uri="{FF2B5EF4-FFF2-40B4-BE49-F238E27FC236}">
                <a16:creationId xmlns:a16="http://schemas.microsoft.com/office/drawing/2014/main" id="{930FE354-3FD9-6142-9795-FA208175DFB9}"/>
              </a:ext>
            </a:extLst>
          </p:cNvPr>
          <p:cNvSpPr txBox="1">
            <a:spLocks/>
          </p:cNvSpPr>
          <p:nvPr userDrawn="1"/>
        </p:nvSpPr>
        <p:spPr>
          <a:xfrm>
            <a:off x="1162115" y="6065506"/>
            <a:ext cx="1598254"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r>
              <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rPr>
              <a:t>© IG BCE </a:t>
            </a:r>
            <a:r>
              <a:rPr lang="de-DE" sz="1015" b="0" i="0" u="none" strike="noStrike" kern="1200" baseline="0" dirty="0" smtClean="0">
                <a:solidFill>
                  <a:schemeClr val="tx1"/>
                </a:solidFill>
                <a:latin typeface="TheSansB W5 Plain" panose="020B0502050302020203" pitchFamily="34" charset="77"/>
                <a:ea typeface="+mn-ea"/>
                <a:cs typeface="Arial" panose="020B0604020202020204" pitchFamily="34" charset="0"/>
              </a:rPr>
              <a:t>Bezirk Alsdorf Manfred Maresch</a:t>
            </a:r>
            <a:endPar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endParaRPr>
          </a:p>
        </p:txBody>
      </p:sp>
    </p:spTree>
    <p:extLst>
      <p:ext uri="{BB962C8B-B14F-4D97-AF65-F5344CB8AC3E}">
        <p14:creationId xmlns:p14="http://schemas.microsoft.com/office/powerpoint/2010/main" val="696491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7_Text">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p:custDataLst>
              <p:tags r:id="rId2"/>
            </p:custDataLst>
          </p:nvPr>
        </p:nvGraphicFramePr>
        <p:xfrm>
          <a:off x="1589" y="1590"/>
          <a:ext cx="1587" cy="3175"/>
        </p:xfrm>
        <a:graphic>
          <a:graphicData uri="http://schemas.openxmlformats.org/presentationml/2006/ole">
            <mc:AlternateContent xmlns:mc="http://schemas.openxmlformats.org/markup-compatibility/2006">
              <mc:Choice xmlns:v="urn:schemas-microsoft-com:vml" Requires="v">
                <p:oleObj spid="_x0000_s1044" name="think-cell Folie" r:id="rId5" imgW="360" imgH="360" progId="TCLayout.ActiveDocument.1">
                  <p:embed/>
                </p:oleObj>
              </mc:Choice>
              <mc:Fallback>
                <p:oleObj name="think-cell Folie" r:id="rId5" imgW="360" imgH="360" progId="TCLayout.ActiveDocument.1">
                  <p:embed/>
                  <p:pic>
                    <p:nvPicPr>
                      <p:cNvPr id="4"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5" hidden="1"/>
          <p:cNvGraphicFramePr>
            <a:graphicFrameLocks noChangeAspect="1"/>
          </p:cNvGraphicFramePr>
          <p:nvPr userDrawn="1">
            <p:custDataLst>
              <p:tags r:id="rId3"/>
            </p:custDataLst>
          </p:nvPr>
        </p:nvGraphicFramePr>
        <p:xfrm>
          <a:off x="1589" y="1590"/>
          <a:ext cx="1587" cy="3175"/>
        </p:xfrm>
        <a:graphic>
          <a:graphicData uri="http://schemas.openxmlformats.org/presentationml/2006/ole">
            <mc:AlternateContent xmlns:mc="http://schemas.openxmlformats.org/markup-compatibility/2006">
              <mc:Choice xmlns:v="urn:schemas-microsoft-com:vml" Requires="v">
                <p:oleObj spid="_x0000_s1045" name="think-cell Slide" r:id="rId7" imgW="360" imgH="360" progId="TCLayout.ActiveDocument.1">
                  <p:embed/>
                </p:oleObj>
              </mc:Choice>
              <mc:Fallback>
                <p:oleObj name="think-cell Slide" r:id="rId7" imgW="360" imgH="360" progId="TCLayout.ActiveDocument.1">
                  <p:embed/>
                  <p:pic>
                    <p:nvPicPr>
                      <p:cNvPr id="5"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590"/>
                        <a:ext cx="1587"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a:extLst/>
          </p:cNvPr>
          <p:cNvSpPr>
            <a:spLocks noGrp="1"/>
          </p:cNvSpPr>
          <p:nvPr>
            <p:ph type="title"/>
          </p:nvPr>
        </p:nvSpPr>
        <p:spPr/>
        <p:txBody>
          <a:bodyPr/>
          <a:lstStyle/>
          <a:p>
            <a:r>
              <a:rPr lang="de-DE" smtClean="0"/>
              <a:t>Titelmasterformat durch Klicken bearbeiten</a:t>
            </a:r>
            <a:endParaRPr lang="de-DE"/>
          </a:p>
        </p:txBody>
      </p:sp>
      <p:sp>
        <p:nvSpPr>
          <p:cNvPr id="9" name="Text Placeholder 8">
            <a:extLst/>
          </p:cNvPr>
          <p:cNvSpPr>
            <a:spLocks noGrp="1"/>
          </p:cNvSpPr>
          <p:nvPr>
            <p:ph type="body" sz="quarter" idx="14"/>
          </p:nvPr>
        </p:nvSpPr>
        <p:spPr>
          <a:xfrm>
            <a:off x="269876" y="1689104"/>
            <a:ext cx="8578851" cy="435821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57722493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2132" y="0"/>
            <a:ext cx="9119736" cy="6857999"/>
          </a:xfrm>
          <a:prstGeom prst="rect">
            <a:avLst/>
          </a:prstGeom>
        </p:spPr>
      </p:pic>
      <p:sp>
        <p:nvSpPr>
          <p:cNvPr id="2" name="Title Placeholder 1"/>
          <p:cNvSpPr>
            <a:spLocks noGrp="1"/>
          </p:cNvSpPr>
          <p:nvPr>
            <p:ph type="title"/>
          </p:nvPr>
        </p:nvSpPr>
        <p:spPr>
          <a:xfrm>
            <a:off x="628650" y="812800"/>
            <a:ext cx="7886700" cy="877889"/>
          </a:xfrm>
          <a:prstGeom prst="rect">
            <a:avLst/>
          </a:prstGeom>
        </p:spPr>
        <p:txBody>
          <a:bodyPr vert="horz" lIns="91440" tIns="45720" rIns="91440" bIns="45720" rtlCol="0" anchor="ctr">
            <a:norm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Slide Number Placeholder 5">
            <a:extLst>
              <a:ext uri="{FF2B5EF4-FFF2-40B4-BE49-F238E27FC236}">
                <a16:creationId xmlns:a16="http://schemas.microsoft.com/office/drawing/2014/main" id="{19F719B1-DA07-7348-913D-9A49EBBC176D}"/>
              </a:ext>
            </a:extLst>
          </p:cNvPr>
          <p:cNvSpPr txBox="1">
            <a:spLocks/>
          </p:cNvSpPr>
          <p:nvPr userDrawn="1"/>
        </p:nvSpPr>
        <p:spPr>
          <a:xfrm>
            <a:off x="386152" y="6065506"/>
            <a:ext cx="517951"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DBB18899-D834-4E4B-BAF9-E133A910EC78}" type="slidenum">
              <a:rPr lang="de-DE" sz="1108" b="1" smtClean="0">
                <a:solidFill>
                  <a:schemeClr val="tx1"/>
                </a:solidFill>
                <a:latin typeface="Arial" panose="020B0604020202020204" pitchFamily="34" charset="0"/>
                <a:cs typeface="Arial" panose="020B0604020202020204" pitchFamily="34" charset="0"/>
              </a:rPr>
              <a:pPr algn="l"/>
              <a:t>‹Nr.›</a:t>
            </a:fld>
            <a:endParaRPr lang="de-DE" sz="1108" b="1" dirty="0">
              <a:solidFill>
                <a:schemeClr val="tx1"/>
              </a:solidFill>
              <a:latin typeface="Arial" panose="020B0604020202020204" pitchFamily="34" charset="0"/>
              <a:cs typeface="Arial" panose="020B0604020202020204" pitchFamily="34" charset="0"/>
            </a:endParaRPr>
          </a:p>
        </p:txBody>
      </p:sp>
      <p:sp>
        <p:nvSpPr>
          <p:cNvPr id="10" name="Slide Number Placeholder 5">
            <a:extLst>
              <a:ext uri="{FF2B5EF4-FFF2-40B4-BE49-F238E27FC236}">
                <a16:creationId xmlns:a16="http://schemas.microsoft.com/office/drawing/2014/main" id="{930FE354-3FD9-6142-9795-FA208175DFB9}"/>
              </a:ext>
            </a:extLst>
          </p:cNvPr>
          <p:cNvSpPr txBox="1">
            <a:spLocks/>
          </p:cNvSpPr>
          <p:nvPr userDrawn="1"/>
        </p:nvSpPr>
        <p:spPr>
          <a:xfrm>
            <a:off x="1162115" y="6065506"/>
            <a:ext cx="1598254" cy="365125"/>
          </a:xfrm>
          <a:prstGeom prst="rect">
            <a:avLst/>
          </a:prstGeom>
        </p:spPr>
        <p:txBody>
          <a:bodyPr vert="horz" lIns="68580" tIns="34290" rIns="68580" bIns="34290" rtlCol="0" anchor="b" anchorCtr="0"/>
          <a:lstStyle>
            <a:defPPr>
              <a:defRPr lang="en-US"/>
            </a:defPPr>
            <a:lvl1pPr marL="0" algn="r" defTabSz="457200" rtl="0" eaLnBrk="1" latinLnBrk="0" hangingPunct="1">
              <a:defRPr sz="1200" kern="1200">
                <a:solidFill>
                  <a:srgbClr val="FF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rtl="0"/>
            <a:r>
              <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rPr>
              <a:t>© IG BCE </a:t>
            </a:r>
            <a:r>
              <a:rPr lang="de-DE" sz="1015" b="0" i="0" u="none" strike="noStrike" kern="1200" baseline="0" dirty="0" smtClean="0">
                <a:solidFill>
                  <a:schemeClr val="tx1"/>
                </a:solidFill>
                <a:latin typeface="TheSansB W5 Plain" panose="020B0502050302020203" pitchFamily="34" charset="77"/>
                <a:ea typeface="+mn-ea"/>
                <a:cs typeface="Arial" panose="020B0604020202020204" pitchFamily="34" charset="0"/>
              </a:rPr>
              <a:t>Bezirk Alsdorf Manfred Maresch</a:t>
            </a:r>
            <a:endParaRPr lang="de-DE" sz="1015" b="0" i="0" u="none" strike="noStrike" kern="1200" baseline="0" dirty="0">
              <a:solidFill>
                <a:schemeClr val="tx1"/>
              </a:solidFill>
              <a:latin typeface="TheSansB W5 Plain" panose="020B0502050302020203" pitchFamily="34" charset="77"/>
              <a:ea typeface="+mn-ea"/>
              <a:cs typeface="Arial" panose="020B0604020202020204" pitchFamily="34" charset="0"/>
            </a:endParaRPr>
          </a:p>
        </p:txBody>
      </p:sp>
    </p:spTree>
    <p:extLst>
      <p:ext uri="{BB962C8B-B14F-4D97-AF65-F5344CB8AC3E}">
        <p14:creationId xmlns:p14="http://schemas.microsoft.com/office/powerpoint/2010/main" val="2598789457"/>
      </p:ext>
    </p:extLst>
  </p:cSld>
  <p:clrMap bg1="lt1" tx1="dk1" bg2="lt2" tx2="dk2" accent1="accent1" accent2="accent2" accent3="accent3" accent4="accent4" accent5="accent5" accent6="accent6" hlink="hlink" folHlink="folHlink"/>
  <p:sldLayoutIdLst>
    <p:sldLayoutId id="2147483661" r:id="rId1"/>
    <p:sldLayoutId id="2147483670" r:id="rId2"/>
    <p:sldLayoutId id="2147483662" r:id="rId3"/>
    <p:sldLayoutId id="2147483666" r:id="rId4"/>
    <p:sldLayoutId id="2147483667" r:id="rId5"/>
    <p:sldLayoutId id="2147483668" r:id="rId6"/>
    <p:sldLayoutId id="2147483669" r:id="rId7"/>
    <p:sldLayoutId id="2147483671" r:id="rId8"/>
    <p:sldLayoutId id="2147483672" r:id="rId9"/>
    <p:sldLayoutId id="2147483673" r:id="rId10"/>
    <p:sldLayoutId id="2147483674" r:id="rId11"/>
    <p:sldLayoutId id="2147483675" r:id="rId12"/>
  </p:sldLayoutIdLst>
  <p:hf hdr="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8.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notesSlide" Target="../notesSlides/notesSlide10.xml"/><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2.xml"/><Relationship Id="rId7" Type="http://schemas.openxmlformats.org/officeDocument/2006/relationships/notesSlide" Target="../notesSlides/notesSlide16.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slideLayout" Target="../slideLayouts/slideLayout11.xml"/><Relationship Id="rId5" Type="http://schemas.openxmlformats.org/officeDocument/2006/relationships/tags" Target="../tags/tag14.xml"/><Relationship Id="rId10" Type="http://schemas.openxmlformats.org/officeDocument/2006/relationships/image" Target="../media/image11.png"/><Relationship Id="rId4" Type="http://schemas.openxmlformats.org/officeDocument/2006/relationships/tags" Target="../tags/tag13.xml"/><Relationship Id="rId9" Type="http://schemas.openxmlformats.org/officeDocument/2006/relationships/image" Target="../media/image10.emf"/></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tags" Target="../tags/tag16.xml"/><Relationship Id="rId21" Type="http://schemas.openxmlformats.org/officeDocument/2006/relationships/image" Target="../media/image22.png"/><Relationship Id="rId7" Type="http://schemas.openxmlformats.org/officeDocument/2006/relationships/slideLayout" Target="../slideLayouts/slideLayout12.xml"/><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15.xml"/><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vmlDrawing" Target="../drawings/vmlDrawing9.vml"/><Relationship Id="rId6" Type="http://schemas.openxmlformats.org/officeDocument/2006/relationships/tags" Target="../tags/tag19.xml"/><Relationship Id="rId11" Type="http://schemas.openxmlformats.org/officeDocument/2006/relationships/image" Target="../media/image12.png"/><Relationship Id="rId5" Type="http://schemas.openxmlformats.org/officeDocument/2006/relationships/tags" Target="../tags/tag18.xml"/><Relationship Id="rId15" Type="http://schemas.openxmlformats.org/officeDocument/2006/relationships/image" Target="../media/image16.jpeg"/><Relationship Id="rId10" Type="http://schemas.openxmlformats.org/officeDocument/2006/relationships/image" Target="../media/image10.emf"/><Relationship Id="rId19" Type="http://schemas.openxmlformats.org/officeDocument/2006/relationships/image" Target="../media/image20.png"/><Relationship Id="rId4" Type="http://schemas.openxmlformats.org/officeDocument/2006/relationships/tags" Target="../tags/tag17.xml"/><Relationship Id="rId9" Type="http://schemas.openxmlformats.org/officeDocument/2006/relationships/oleObject" Target="../embeddings/oleObject10.bin"/><Relationship Id="rId14" Type="http://schemas.openxmlformats.org/officeDocument/2006/relationships/image" Target="../media/image15.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7.gif"/><Relationship Id="rId3" Type="http://schemas.openxmlformats.org/officeDocument/2006/relationships/slideLayout" Target="../slideLayouts/slideLayout10.xml"/><Relationship Id="rId7" Type="http://schemas.openxmlformats.org/officeDocument/2006/relationships/image" Target="../media/image6.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8.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7.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a:xfrm>
            <a:off x="1871932" y="2495670"/>
            <a:ext cx="7834862" cy="1601877"/>
          </a:xfrm>
        </p:spPr>
        <p:txBody>
          <a:bodyPr anchor="t" anchorCtr="0">
            <a:noAutofit/>
          </a:bodyPr>
          <a:lstStyle/>
          <a:p>
            <a:r>
              <a:rPr lang="de-DE" dirty="0" smtClean="0"/>
              <a:t>2. Strukturkonferenz SPD 22.03.2019</a:t>
            </a:r>
            <a:br>
              <a:rPr lang="de-DE" dirty="0" smtClean="0"/>
            </a:br>
            <a:r>
              <a:rPr lang="de-DE" dirty="0"/>
              <a:t/>
            </a:r>
            <a:br>
              <a:rPr lang="de-DE" dirty="0"/>
            </a:br>
            <a:r>
              <a:rPr lang="de-DE" dirty="0" smtClean="0"/>
              <a:t>Wie geht‘s weiter?</a:t>
            </a:r>
            <a:br>
              <a:rPr lang="de-DE" dirty="0" smtClean="0"/>
            </a:br>
            <a:r>
              <a:rPr lang="de-DE" dirty="0" smtClean="0"/>
              <a:t>Die Erwartung der Betroffenen.</a:t>
            </a:r>
            <a:endParaRPr lang="de-DE" dirty="0"/>
          </a:p>
        </p:txBody>
      </p:sp>
    </p:spTree>
    <p:extLst>
      <p:ext uri="{BB962C8B-B14F-4D97-AF65-F5344CB8AC3E}">
        <p14:creationId xmlns:p14="http://schemas.microsoft.com/office/powerpoint/2010/main" val="17908048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Folie" r:id="rId6" imgW="270" imgH="270" progId="TCLayout.ActiveDocument.1">
                  <p:embed/>
                </p:oleObj>
              </mc:Choice>
              <mc:Fallback>
                <p:oleObj name="think-cell Folie" r:id="rId6" imgW="270" imgH="270" progId="TCLayout.ActiveDocument.1">
                  <p:embed/>
                  <p:pic>
                    <p:nvPicPr>
                      <p:cNvPr id="3" name="Objek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3"/>
            </p:custDataLst>
          </p:nvPr>
        </p:nvSpPr>
        <p:spPr>
          <a:xfrm>
            <a:off x="0" y="0"/>
            <a:ext cx="158750" cy="158750"/>
          </a:xfrm>
          <a:prstGeom prst="rect">
            <a:avLst/>
          </a:prstGeom>
          <a:gradFill>
            <a:gsLst>
              <a:gs pos="100000">
                <a:srgbClr val="32B4E6"/>
              </a:gs>
              <a:gs pos="75000">
                <a:srgbClr val="297FB3"/>
              </a:gs>
              <a:gs pos="0">
                <a:srgbClr val="1E4678"/>
              </a:gs>
            </a:gsLst>
            <a:lin ang="0" scaled="1"/>
          </a:gradFill>
          <a:ln>
            <a:noFill/>
          </a:ln>
        </p:spPr>
        <p:txBody>
          <a:bodyPr vert="horz" wrap="none" lIns="0" tIns="0" rIns="0" bIns="0" numCol="1" spcCol="0" rtlCol="0" anchor="ctr" anchorCtr="0">
            <a:noAutofit/>
          </a:bodyPr>
          <a:lstStyle/>
          <a:p>
            <a:pPr algn="ctr">
              <a:lnSpc>
                <a:spcPct val="90000"/>
              </a:lnSpc>
              <a:tabLst>
                <a:tab pos="4000500" algn="r"/>
              </a:tabLst>
            </a:pPr>
            <a:endParaRPr lang="de-DE" sz="1400" dirty="0">
              <a:latin typeface="Arial"/>
              <a:cs typeface="+mn-cs"/>
              <a:sym typeface="Arial"/>
            </a:endParaRPr>
          </a:p>
        </p:txBody>
      </p:sp>
      <p:sp>
        <p:nvSpPr>
          <p:cNvPr id="11267" name="Rectangle 2"/>
          <p:cNvSpPr>
            <a:spLocks noGrp="1" noChangeArrowheads="1"/>
          </p:cNvSpPr>
          <p:nvPr>
            <p:ph type="title"/>
          </p:nvPr>
        </p:nvSpPr>
        <p:spPr>
          <a:xfrm>
            <a:off x="269875" y="376238"/>
            <a:ext cx="8578850" cy="738664"/>
          </a:xfrm>
        </p:spPr>
        <p:txBody>
          <a:bodyPr tIns="0">
            <a:normAutofit fontScale="90000"/>
          </a:bodyPr>
          <a:lstStyle/>
          <a:p>
            <a:pPr>
              <a:lnSpc>
                <a:spcPct val="100000"/>
              </a:lnSpc>
              <a:spcBef>
                <a:spcPts val="0"/>
              </a:spcBef>
              <a:spcAft>
                <a:spcPts val="600"/>
              </a:spcAft>
            </a:pPr>
            <a:r>
              <a:rPr lang="de-DE" dirty="0" smtClean="0"/>
              <a:t>Zur Anwendung von APG muss der Arbeitsplatz zwingend entfallen </a:t>
            </a:r>
            <a:endParaRPr lang="de-DE" altLang="de-DE" dirty="0"/>
          </a:p>
        </p:txBody>
      </p:sp>
      <p:sp>
        <p:nvSpPr>
          <p:cNvPr id="28" name="Textfeld 27"/>
          <p:cNvSpPr txBox="1"/>
          <p:nvPr/>
        </p:nvSpPr>
        <p:spPr>
          <a:xfrm>
            <a:off x="260436" y="6054725"/>
            <a:ext cx="7785267" cy="553998"/>
          </a:xfrm>
          <a:prstGeom prst="rect">
            <a:avLst/>
          </a:prstGeom>
          <a:noFill/>
        </p:spPr>
        <p:txBody>
          <a:bodyPr wrap="square" rtlCol="0">
            <a:spAutoFit/>
          </a:bodyPr>
          <a:lstStyle/>
          <a:p>
            <a:r>
              <a:rPr lang="de-DE" sz="1000" baseline="30000" dirty="0" smtClean="0"/>
              <a:t>1  </a:t>
            </a:r>
            <a:r>
              <a:rPr lang="de-DE" sz="1000" dirty="0" smtClean="0"/>
              <a:t>Indikation – abgeleitet aus der  bestehenden Regelung zur Beendigung des Steinkohlenbergbaus sowie eigenen Einschätzungen  </a:t>
            </a:r>
            <a:endParaRPr lang="de-DE" sz="1000" baseline="30000" dirty="0" smtClean="0"/>
          </a:p>
          <a:p>
            <a:r>
              <a:rPr lang="de-DE" sz="1000" baseline="30000" dirty="0" smtClean="0"/>
              <a:t>2</a:t>
            </a:r>
            <a:r>
              <a:rPr lang="de-DE" sz="1000" dirty="0" smtClean="0"/>
              <a:t> BAFA = Bundesamt für </a:t>
            </a:r>
            <a:r>
              <a:rPr lang="de-DE" sz="1000" dirty="0"/>
              <a:t>W</a:t>
            </a:r>
            <a:r>
              <a:rPr lang="de-DE" sz="1000" dirty="0" smtClean="0"/>
              <a:t>irtschaft  und Ausfuhrkontrolle</a:t>
            </a:r>
          </a:p>
          <a:p>
            <a:r>
              <a:rPr lang="de-DE" sz="1000" baseline="30000" dirty="0" smtClean="0"/>
              <a:t>3 </a:t>
            </a:r>
            <a:r>
              <a:rPr lang="de-DE" sz="1000" dirty="0" smtClean="0"/>
              <a:t>abhängig vom Geburtsjahrgang (Jg. 1958 – 10,8% bis 14,4% für Jg. 1964)</a:t>
            </a:r>
            <a:endParaRPr lang="de-DE" sz="1000" baseline="30000" dirty="0" smtClean="0"/>
          </a:p>
        </p:txBody>
      </p:sp>
      <p:sp>
        <p:nvSpPr>
          <p:cNvPr id="81" name="Chevron 67"/>
          <p:cNvSpPr/>
          <p:nvPr/>
        </p:nvSpPr>
        <p:spPr>
          <a:xfrm>
            <a:off x="-261236" y="1404247"/>
            <a:ext cx="4059536" cy="1055915"/>
          </a:xfrm>
          <a:prstGeom prst="chevron">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accent1"/>
                </a:solidFill>
              </a:rPr>
              <a:t>Aktive </a:t>
            </a:r>
            <a:br>
              <a:rPr lang="de-DE" sz="1600" b="1" dirty="0" smtClean="0">
                <a:solidFill>
                  <a:schemeClr val="accent1"/>
                </a:solidFill>
              </a:rPr>
            </a:br>
            <a:r>
              <a:rPr lang="de-DE" sz="1600" b="1" dirty="0" smtClean="0">
                <a:solidFill>
                  <a:schemeClr val="accent1"/>
                </a:solidFill>
              </a:rPr>
              <a:t>Beschäftigungsphase</a:t>
            </a:r>
            <a:endParaRPr lang="de-DE" sz="1600" b="1" dirty="0">
              <a:solidFill>
                <a:schemeClr val="accent1"/>
              </a:solidFill>
            </a:endParaRPr>
          </a:p>
        </p:txBody>
      </p:sp>
      <p:grpSp>
        <p:nvGrpSpPr>
          <p:cNvPr id="14" name="Gruppieren 13"/>
          <p:cNvGrpSpPr/>
          <p:nvPr/>
        </p:nvGrpSpPr>
        <p:grpSpPr>
          <a:xfrm>
            <a:off x="411982" y="1514737"/>
            <a:ext cx="8892798" cy="3770689"/>
            <a:chOff x="411982" y="1514737"/>
            <a:chExt cx="8892798" cy="3770689"/>
          </a:xfrm>
        </p:grpSpPr>
        <p:sp>
          <p:nvSpPr>
            <p:cNvPr id="11277" name="Rechteck 11276"/>
            <p:cNvSpPr/>
            <p:nvPr/>
          </p:nvSpPr>
          <p:spPr>
            <a:xfrm>
              <a:off x="3094892" y="1522279"/>
              <a:ext cx="3275763" cy="3763147"/>
            </a:xfrm>
            <a:prstGeom prst="rect">
              <a:avLst/>
            </a:prstGeom>
            <a:solidFill>
              <a:srgbClr val="32B4E6">
                <a:alpha val="16863"/>
              </a:srgbClr>
            </a:solidFill>
            <a:ln>
              <a:noFill/>
            </a:ln>
          </p:spPr>
          <p:txBody>
            <a:bodyPr wrap="none" lIns="90000" tIns="108000" rIns="90000" bIns="46800" rtlCol="0" anchor="ctr"/>
            <a:lstStyle/>
            <a:p>
              <a:pPr algn="ctr">
                <a:tabLst>
                  <a:tab pos="4000500" algn="r"/>
                </a:tabLst>
              </a:pPr>
              <a:endParaRPr lang="de-DE" sz="800" b="1"/>
            </a:p>
          </p:txBody>
        </p:sp>
        <p:sp>
          <p:nvSpPr>
            <p:cNvPr id="21" name="Textfeld 20"/>
            <p:cNvSpPr txBox="1"/>
            <p:nvPr/>
          </p:nvSpPr>
          <p:spPr>
            <a:xfrm>
              <a:off x="1540565" y="3973955"/>
              <a:ext cx="184731" cy="307777"/>
            </a:xfrm>
            <a:prstGeom prst="rect">
              <a:avLst/>
            </a:prstGeom>
            <a:noFill/>
          </p:spPr>
          <p:txBody>
            <a:bodyPr wrap="none" rtlCol="0">
              <a:spAutoFit/>
            </a:bodyPr>
            <a:lstStyle/>
            <a:p>
              <a:endParaRPr lang="de-DE" sz="1400" dirty="0"/>
            </a:p>
          </p:txBody>
        </p:sp>
        <p:sp>
          <p:nvSpPr>
            <p:cNvPr id="29" name="Textfeld 28"/>
            <p:cNvSpPr txBox="1"/>
            <p:nvPr/>
          </p:nvSpPr>
          <p:spPr>
            <a:xfrm>
              <a:off x="762176" y="3557203"/>
              <a:ext cx="2130250" cy="1461939"/>
            </a:xfrm>
            <a:prstGeom prst="rect">
              <a:avLst/>
            </a:prstGeom>
            <a:noFill/>
          </p:spPr>
          <p:txBody>
            <a:bodyPr wrap="square" rtlCol="0">
              <a:spAutoFit/>
            </a:bodyPr>
            <a:lstStyle/>
            <a:p>
              <a:pPr marL="171450" indent="-171450">
                <a:spcBef>
                  <a:spcPts val="0"/>
                </a:spcBef>
                <a:spcAft>
                  <a:spcPts val="600"/>
                </a:spcAft>
                <a:buClr>
                  <a:schemeClr val="tx2"/>
                </a:buClr>
                <a:buFont typeface="Arial" panose="020B0604020202020204" pitchFamily="34" charset="0"/>
                <a:buChar char="&gt;"/>
              </a:pPr>
              <a:r>
                <a:rPr lang="de-DE" sz="1400" b="1" dirty="0" smtClean="0"/>
                <a:t>Beendigung Arbeitsverhältnis </a:t>
              </a:r>
              <a:r>
                <a:rPr lang="de-DE" sz="1400" dirty="0" smtClean="0"/>
                <a:t>frühestens </a:t>
              </a:r>
              <a:br>
                <a:rPr lang="de-DE" sz="1400" dirty="0" smtClean="0"/>
              </a:br>
              <a:r>
                <a:rPr lang="de-DE" sz="1400" dirty="0" smtClean="0"/>
                <a:t>zum 58. Lebensjahr. </a:t>
              </a:r>
            </a:p>
            <a:p>
              <a:pPr marL="171450" indent="-171450">
                <a:spcBef>
                  <a:spcPts val="0"/>
                </a:spcBef>
                <a:spcAft>
                  <a:spcPts val="600"/>
                </a:spcAft>
                <a:buClr>
                  <a:schemeClr val="tx2"/>
                </a:buClr>
                <a:buFont typeface="Arial" panose="020B0604020202020204" pitchFamily="34" charset="0"/>
                <a:buChar char="&gt;"/>
              </a:pPr>
              <a:r>
                <a:rPr lang="de-DE" sz="1400" b="1" dirty="0" smtClean="0"/>
                <a:t>Arbeitsplatz</a:t>
              </a:r>
              <a:r>
                <a:rPr lang="de-DE" sz="1400" dirty="0" smtClean="0"/>
                <a:t> muss zwingend </a:t>
              </a:r>
              <a:r>
                <a:rPr lang="de-DE" sz="1400" b="1" dirty="0" smtClean="0"/>
                <a:t>entfallen    </a:t>
              </a:r>
              <a:endParaRPr lang="de-DE" sz="1400" b="1" dirty="0"/>
            </a:p>
          </p:txBody>
        </p:sp>
        <p:sp>
          <p:nvSpPr>
            <p:cNvPr id="30" name="Textfeld 29"/>
            <p:cNvSpPr txBox="1"/>
            <p:nvPr/>
          </p:nvSpPr>
          <p:spPr>
            <a:xfrm>
              <a:off x="3234058" y="3577932"/>
              <a:ext cx="2968662" cy="1400383"/>
            </a:xfrm>
            <a:prstGeom prst="rect">
              <a:avLst/>
            </a:prstGeom>
            <a:noFill/>
          </p:spPr>
          <p:txBody>
            <a:bodyPr wrap="square" rtlCol="0">
              <a:spAutoFit/>
            </a:bodyPr>
            <a:lstStyle/>
            <a:p>
              <a:pPr marL="171450" indent="-171450">
                <a:spcBef>
                  <a:spcPts val="0"/>
                </a:spcBef>
                <a:spcAft>
                  <a:spcPts val="600"/>
                </a:spcAft>
                <a:buClr>
                  <a:schemeClr val="tx2"/>
                </a:buClr>
                <a:buFont typeface="Arial" panose="020B0604020202020204" pitchFamily="34" charset="0"/>
                <a:buChar char="&gt;"/>
              </a:pPr>
              <a:r>
                <a:rPr lang="de-DE" sz="1400" dirty="0" smtClean="0"/>
                <a:t>Bezug </a:t>
              </a:r>
              <a:r>
                <a:rPr lang="de-DE" sz="1400" b="1" dirty="0" smtClean="0"/>
                <a:t>Anpassungsgeld </a:t>
              </a:r>
            </a:p>
            <a:p>
              <a:pPr marL="171450" indent="-171450">
                <a:spcBef>
                  <a:spcPts val="0"/>
                </a:spcBef>
                <a:spcAft>
                  <a:spcPts val="600"/>
                </a:spcAft>
                <a:buClr>
                  <a:schemeClr val="tx2"/>
                </a:buClr>
                <a:buFont typeface="Arial" panose="020B0604020202020204" pitchFamily="34" charset="0"/>
                <a:buChar char="&gt;"/>
              </a:pPr>
              <a:r>
                <a:rPr lang="de-DE" sz="1400" dirty="0" smtClean="0"/>
                <a:t>Zahlung durch </a:t>
              </a:r>
              <a:r>
                <a:rPr lang="de-DE" sz="1400" dirty="0"/>
                <a:t>BAFA</a:t>
              </a:r>
              <a:r>
                <a:rPr lang="de-DE" sz="1400" baseline="30000" dirty="0"/>
                <a:t>2</a:t>
              </a:r>
              <a:endParaRPr lang="de-DE" sz="1400" dirty="0"/>
            </a:p>
            <a:p>
              <a:pPr marL="171450" indent="-171450">
                <a:spcBef>
                  <a:spcPts val="0"/>
                </a:spcBef>
                <a:spcAft>
                  <a:spcPts val="600"/>
                </a:spcAft>
                <a:buClr>
                  <a:schemeClr val="tx2"/>
                </a:buClr>
                <a:buFont typeface="Arial" panose="020B0604020202020204" pitchFamily="34" charset="0"/>
                <a:buChar char="&gt;"/>
              </a:pPr>
              <a:r>
                <a:rPr lang="de-DE" sz="1400" dirty="0" smtClean="0"/>
                <a:t>ggf. mit </a:t>
              </a:r>
              <a:r>
                <a:rPr lang="de-DE" sz="1400" b="1" dirty="0" smtClean="0"/>
                <a:t>Aufstockungsleistung</a:t>
              </a:r>
              <a:endParaRPr lang="de-DE" sz="1400" dirty="0" smtClean="0"/>
            </a:p>
            <a:p>
              <a:pPr marL="171450" indent="-171450">
                <a:spcBef>
                  <a:spcPts val="0"/>
                </a:spcBef>
                <a:spcAft>
                  <a:spcPts val="600"/>
                </a:spcAft>
                <a:buClr>
                  <a:schemeClr val="tx2"/>
                </a:buClr>
                <a:buFont typeface="Arial" panose="020B0604020202020204" pitchFamily="34" charset="0"/>
                <a:buChar char="&gt;"/>
              </a:pPr>
              <a:r>
                <a:rPr lang="de-DE" sz="1400" b="1" dirty="0" smtClean="0"/>
                <a:t>Beschäftigungsverbot des AN während der APG-Phase</a:t>
              </a:r>
              <a:endParaRPr lang="de-DE" sz="1400" dirty="0"/>
            </a:p>
          </p:txBody>
        </p:sp>
        <p:sp>
          <p:nvSpPr>
            <p:cNvPr id="31" name="Textfeld 30"/>
            <p:cNvSpPr txBox="1"/>
            <p:nvPr/>
          </p:nvSpPr>
          <p:spPr>
            <a:xfrm>
              <a:off x="6495390" y="3573392"/>
              <a:ext cx="1896780" cy="954107"/>
            </a:xfrm>
            <a:prstGeom prst="rect">
              <a:avLst/>
            </a:prstGeom>
            <a:noFill/>
          </p:spPr>
          <p:txBody>
            <a:bodyPr wrap="square" rtlCol="0">
              <a:spAutoFit/>
            </a:bodyPr>
            <a:lstStyle/>
            <a:p>
              <a:pPr marL="171450" indent="-171450">
                <a:spcBef>
                  <a:spcPts val="0"/>
                </a:spcBef>
                <a:spcAft>
                  <a:spcPts val="600"/>
                </a:spcAft>
                <a:buClr>
                  <a:schemeClr val="tx2"/>
                </a:buClr>
                <a:buFont typeface="Arial" panose="020B0604020202020204" pitchFamily="34" charset="0"/>
                <a:buChar char="&gt;"/>
              </a:pPr>
              <a:r>
                <a:rPr lang="de-DE" sz="1400" dirty="0"/>
                <a:t>Bezug einer </a:t>
              </a:r>
              <a:r>
                <a:rPr lang="de-DE" sz="1400" b="1" dirty="0"/>
                <a:t>vorgezogenen Altersrente </a:t>
              </a:r>
              <a:r>
                <a:rPr lang="de-DE" sz="1400" dirty="0"/>
                <a:t>mit Abschlägen</a:t>
              </a:r>
            </a:p>
          </p:txBody>
        </p:sp>
        <p:sp>
          <p:nvSpPr>
            <p:cNvPr id="11273" name="Pfeil nach rechts 11272"/>
            <p:cNvSpPr/>
            <p:nvPr/>
          </p:nvSpPr>
          <p:spPr>
            <a:xfrm>
              <a:off x="411982" y="2632672"/>
              <a:ext cx="8149215" cy="800048"/>
            </a:xfrm>
            <a:prstGeom prst="rightArrow">
              <a:avLst/>
            </a:prstGeom>
            <a:solidFill>
              <a:schemeClr val="tx2"/>
            </a:solidFill>
            <a:ln>
              <a:noFill/>
            </a:ln>
          </p:spPr>
          <p:txBody>
            <a:bodyPr wrap="none" lIns="90000" tIns="108000" rIns="90000" bIns="46800" rtlCol="0" anchor="ctr"/>
            <a:lstStyle/>
            <a:p>
              <a:pPr algn="ctr">
                <a:tabLst>
                  <a:tab pos="4000500" algn="r"/>
                </a:tabLst>
              </a:pPr>
              <a:endParaRPr lang="de-DE" sz="800" b="1"/>
            </a:p>
          </p:txBody>
        </p:sp>
        <p:sp>
          <p:nvSpPr>
            <p:cNvPr id="11276" name="Textfeld 11275"/>
            <p:cNvSpPr txBox="1"/>
            <p:nvPr/>
          </p:nvSpPr>
          <p:spPr>
            <a:xfrm>
              <a:off x="1145515" y="2190533"/>
              <a:ext cx="1647930" cy="338554"/>
            </a:xfrm>
            <a:prstGeom prst="rect">
              <a:avLst/>
            </a:prstGeom>
            <a:noFill/>
          </p:spPr>
          <p:txBody>
            <a:bodyPr wrap="square" rtlCol="0">
              <a:spAutoFit/>
            </a:bodyPr>
            <a:lstStyle/>
            <a:p>
              <a:r>
                <a:rPr lang="de-DE" sz="1600" b="1" dirty="0" smtClean="0">
                  <a:solidFill>
                    <a:srgbClr val="32B4E6"/>
                  </a:solidFill>
                </a:rPr>
                <a:t>58 Jahre</a:t>
              </a:r>
              <a:endParaRPr lang="de-DE" sz="1600" b="1" dirty="0">
                <a:solidFill>
                  <a:srgbClr val="32B4E6"/>
                </a:solidFill>
              </a:endParaRPr>
            </a:p>
          </p:txBody>
        </p:sp>
        <p:sp>
          <p:nvSpPr>
            <p:cNvPr id="80" name="Textfeld 79"/>
            <p:cNvSpPr txBox="1"/>
            <p:nvPr/>
          </p:nvSpPr>
          <p:spPr>
            <a:xfrm>
              <a:off x="6845002" y="2193752"/>
              <a:ext cx="1647930" cy="338554"/>
            </a:xfrm>
            <a:prstGeom prst="rect">
              <a:avLst/>
            </a:prstGeom>
            <a:noFill/>
          </p:spPr>
          <p:txBody>
            <a:bodyPr wrap="square" rtlCol="0">
              <a:spAutoFit/>
            </a:bodyPr>
            <a:lstStyle/>
            <a:p>
              <a:r>
                <a:rPr lang="de-DE" sz="1600" b="1" dirty="0" smtClean="0">
                  <a:solidFill>
                    <a:srgbClr val="32B4E6"/>
                  </a:solidFill>
                </a:rPr>
                <a:t>63 Jahre</a:t>
              </a:r>
              <a:endParaRPr lang="de-DE" sz="1600" b="1" dirty="0">
                <a:solidFill>
                  <a:srgbClr val="32B4E6"/>
                </a:solidFill>
              </a:endParaRPr>
            </a:p>
          </p:txBody>
        </p:sp>
        <p:sp>
          <p:nvSpPr>
            <p:cNvPr id="82" name="Chevron 67"/>
            <p:cNvSpPr/>
            <p:nvPr/>
          </p:nvSpPr>
          <p:spPr>
            <a:xfrm>
              <a:off x="2682906" y="1522279"/>
              <a:ext cx="4059536" cy="1055915"/>
            </a:xfrm>
            <a:prstGeom prst="chevron">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accent1"/>
                  </a:solidFill>
                </a:rPr>
                <a:t>APG-Phase</a:t>
              </a:r>
            </a:p>
          </p:txBody>
        </p:sp>
        <p:sp>
          <p:nvSpPr>
            <p:cNvPr id="83" name="Chevron 67"/>
            <p:cNvSpPr/>
            <p:nvPr/>
          </p:nvSpPr>
          <p:spPr>
            <a:xfrm>
              <a:off x="5245244" y="1514737"/>
              <a:ext cx="4059536" cy="1055915"/>
            </a:xfrm>
            <a:prstGeom prst="chevron">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solidFill>
                    <a:schemeClr val="accent1"/>
                  </a:solidFill>
                </a:rPr>
                <a:t>Renteneintritt</a:t>
              </a:r>
              <a:endParaRPr lang="de-DE" sz="1600" b="1" dirty="0">
                <a:solidFill>
                  <a:schemeClr val="accent1"/>
                </a:solidFill>
              </a:endParaRPr>
            </a:p>
          </p:txBody>
        </p:sp>
        <p:sp>
          <p:nvSpPr>
            <p:cNvPr id="25" name="Textfeld 24"/>
            <p:cNvSpPr txBox="1"/>
            <p:nvPr/>
          </p:nvSpPr>
          <p:spPr>
            <a:xfrm>
              <a:off x="4004256" y="2182165"/>
              <a:ext cx="1647930" cy="338554"/>
            </a:xfrm>
            <a:prstGeom prst="rect">
              <a:avLst/>
            </a:prstGeom>
            <a:noFill/>
          </p:spPr>
          <p:txBody>
            <a:bodyPr wrap="square" rtlCol="0">
              <a:spAutoFit/>
            </a:bodyPr>
            <a:lstStyle/>
            <a:p>
              <a:r>
                <a:rPr lang="de-DE" sz="1600" b="1" dirty="0" smtClean="0">
                  <a:solidFill>
                    <a:srgbClr val="32B4E6"/>
                  </a:solidFill>
                </a:rPr>
                <a:t>max. 5 Jahre</a:t>
              </a:r>
              <a:endParaRPr lang="de-DE" sz="1600" b="1" dirty="0">
                <a:solidFill>
                  <a:srgbClr val="32B4E6"/>
                </a:solidFill>
              </a:endParaRPr>
            </a:p>
          </p:txBody>
        </p:sp>
        <p:cxnSp>
          <p:nvCxnSpPr>
            <p:cNvPr id="32" name="Gerade Verbindung 31"/>
            <p:cNvCxnSpPr/>
            <p:nvPr/>
          </p:nvCxnSpPr>
          <p:spPr>
            <a:xfrm>
              <a:off x="1540565" y="2713056"/>
              <a:ext cx="0" cy="670700"/>
            </a:xfrm>
            <a:prstGeom prst="line">
              <a:avLst/>
            </a:prstGeom>
            <a:ln w="19050">
              <a:solidFill>
                <a:srgbClr val="32B4E6"/>
              </a:solidFill>
            </a:ln>
          </p:spPr>
          <p:style>
            <a:lnRef idx="1">
              <a:schemeClr val="accent1"/>
            </a:lnRef>
            <a:fillRef idx="0">
              <a:schemeClr val="accent1"/>
            </a:fillRef>
            <a:effectRef idx="0">
              <a:schemeClr val="accent1"/>
            </a:effectRef>
            <a:fontRef idx="minor">
              <a:schemeClr val="tx1"/>
            </a:fontRef>
          </p:style>
        </p:cxnSp>
      </p:grpSp>
      <p:cxnSp>
        <p:nvCxnSpPr>
          <p:cNvPr id="39" name="Gerade Verbindung 38"/>
          <p:cNvCxnSpPr/>
          <p:nvPr/>
        </p:nvCxnSpPr>
        <p:spPr>
          <a:xfrm>
            <a:off x="7293060" y="2711780"/>
            <a:ext cx="0" cy="670700"/>
          </a:xfrm>
          <a:prstGeom prst="line">
            <a:avLst/>
          </a:prstGeom>
          <a:ln w="19050">
            <a:solidFill>
              <a:srgbClr val="32B4E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553751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00CA70A1-48BB-F443-B7B0-95427ED3B74E}"/>
              </a:ext>
            </a:extLst>
          </p:cNvPr>
          <p:cNvSpPr>
            <a:spLocks noGrp="1"/>
          </p:cNvSpPr>
          <p:nvPr>
            <p:ph sz="quarter" idx="10"/>
          </p:nvPr>
        </p:nvSpPr>
        <p:spPr>
          <a:xfrm>
            <a:off x="362215" y="710685"/>
            <a:ext cx="8433390" cy="419440"/>
          </a:xfrm>
        </p:spPr>
        <p:txBody>
          <a:bodyPr/>
          <a:lstStyle/>
          <a:p>
            <a:r>
              <a:rPr lang="de-DE" dirty="0" smtClean="0"/>
              <a:t>Perspektiven</a:t>
            </a:r>
            <a:endParaRPr lang="de-DE" dirty="0"/>
          </a:p>
        </p:txBody>
      </p:sp>
      <p:sp>
        <p:nvSpPr>
          <p:cNvPr id="5" name="Textplatzhalter 4">
            <a:extLst>
              <a:ext uri="{FF2B5EF4-FFF2-40B4-BE49-F238E27FC236}">
                <a16:creationId xmlns:a16="http://schemas.microsoft.com/office/drawing/2014/main" id="{4FB9F38E-5AAF-8746-85AC-F4BFB5721015}"/>
              </a:ext>
            </a:extLst>
          </p:cNvPr>
          <p:cNvSpPr>
            <a:spLocks noGrp="1"/>
          </p:cNvSpPr>
          <p:nvPr>
            <p:ph type="body" sz="quarter" idx="11"/>
          </p:nvPr>
        </p:nvSpPr>
        <p:spPr/>
        <p:txBody>
          <a:bodyPr/>
          <a:lstStyle/>
          <a:p>
            <a:pPr marL="0" indent="0">
              <a:lnSpc>
                <a:spcPct val="100000"/>
              </a:lnSpc>
              <a:spcAft>
                <a:spcPts val="554"/>
              </a:spcAft>
              <a:buNone/>
            </a:pPr>
            <a:r>
              <a:rPr lang="de-DE" sz="1662" dirty="0"/>
              <a:t>Den </a:t>
            </a:r>
            <a:r>
              <a:rPr lang="de-DE" sz="1662" b="1" dirty="0"/>
              <a:t>Beschäftigten</a:t>
            </a:r>
            <a:r>
              <a:rPr lang="de-DE" sz="1662" dirty="0"/>
              <a:t> im Tagebau und in den Braun- und Steinkohlekraftwerken </a:t>
            </a:r>
            <a:r>
              <a:rPr lang="de-DE" sz="1662" b="1" dirty="0"/>
              <a:t>sind berufliche Perspektiven zu eröffnen</a:t>
            </a:r>
            <a:r>
              <a:rPr lang="de-DE" sz="1662" dirty="0"/>
              <a:t>.  </a:t>
            </a:r>
          </a:p>
          <a:p>
            <a:pPr marL="0" indent="0">
              <a:lnSpc>
                <a:spcPct val="100000"/>
              </a:lnSpc>
              <a:spcAft>
                <a:spcPts val="554"/>
              </a:spcAft>
              <a:buNone/>
            </a:pPr>
            <a:endParaRPr lang="de-DE" sz="1662" dirty="0"/>
          </a:p>
          <a:p>
            <a:pPr marL="0" indent="0">
              <a:lnSpc>
                <a:spcPct val="100000"/>
              </a:lnSpc>
              <a:spcAft>
                <a:spcPts val="554"/>
              </a:spcAft>
              <a:buNone/>
            </a:pPr>
            <a:r>
              <a:rPr lang="de-DE" sz="1662" b="1" dirty="0"/>
              <a:t>Je nach persönlicher Situation</a:t>
            </a:r>
            <a:r>
              <a:rPr lang="de-DE" sz="1662" dirty="0"/>
              <a:t> des betroffenen Beschäftigten sind </a:t>
            </a:r>
            <a:r>
              <a:rPr lang="de-DE" sz="1662" b="1" dirty="0"/>
              <a:t>verbindliche tarifliche Regelungen </a:t>
            </a:r>
            <a:r>
              <a:rPr lang="de-DE" sz="1662" dirty="0"/>
              <a:t>zwischen den Sozialpartnern zu treffen, </a:t>
            </a:r>
          </a:p>
          <a:p>
            <a:pPr marL="263776" indent="-263776">
              <a:lnSpc>
                <a:spcPct val="100000"/>
              </a:lnSpc>
              <a:spcAft>
                <a:spcPts val="554"/>
              </a:spcAft>
            </a:pPr>
            <a:r>
              <a:rPr lang="de-DE" sz="1662" dirty="0"/>
              <a:t>z. B. zur </a:t>
            </a:r>
            <a:r>
              <a:rPr lang="de-DE" sz="1662" b="1" dirty="0"/>
              <a:t>Sicherung einer qualifizierten Arbeit </a:t>
            </a:r>
          </a:p>
          <a:p>
            <a:pPr marL="263776" indent="-263776">
              <a:lnSpc>
                <a:spcPct val="100000"/>
              </a:lnSpc>
              <a:spcAft>
                <a:spcPts val="554"/>
              </a:spcAft>
            </a:pPr>
            <a:r>
              <a:rPr lang="de-DE" sz="1662" dirty="0"/>
              <a:t>durch Vermittlung und </a:t>
            </a:r>
            <a:r>
              <a:rPr lang="de-DE" sz="1662" b="1" dirty="0"/>
              <a:t>Ausgleich von Lohneinbußen</a:t>
            </a:r>
            <a:r>
              <a:rPr lang="de-DE" sz="1662" dirty="0"/>
              <a:t>, </a:t>
            </a:r>
            <a:r>
              <a:rPr lang="de-DE" sz="1662" b="1" dirty="0"/>
              <a:t>Aus- und Weiterbildung</a:t>
            </a:r>
            <a:r>
              <a:rPr lang="de-DE" sz="1662" dirty="0"/>
              <a:t>, </a:t>
            </a:r>
          </a:p>
          <a:p>
            <a:pPr marL="263776" indent="-263776">
              <a:lnSpc>
                <a:spcPct val="100000"/>
              </a:lnSpc>
              <a:spcAft>
                <a:spcPts val="554"/>
              </a:spcAft>
            </a:pPr>
            <a:r>
              <a:rPr lang="de-DE" sz="1662" dirty="0"/>
              <a:t>zur Abfederung finanzieller Einbußen oder </a:t>
            </a:r>
          </a:p>
          <a:p>
            <a:pPr marL="263776" indent="-263776">
              <a:lnSpc>
                <a:spcPct val="100000"/>
              </a:lnSpc>
              <a:spcAft>
                <a:spcPts val="554"/>
              </a:spcAft>
            </a:pPr>
            <a:r>
              <a:rPr lang="de-DE" sz="1662" dirty="0"/>
              <a:t>für einen </a:t>
            </a:r>
            <a:r>
              <a:rPr lang="de-DE" sz="1662" b="1" dirty="0"/>
              <a:t>früheren Eintritt in den Ruhestand </a:t>
            </a:r>
            <a:r>
              <a:rPr lang="de-DE" sz="1662" dirty="0"/>
              <a:t>und </a:t>
            </a:r>
            <a:r>
              <a:rPr lang="de-DE" sz="1662" b="1" dirty="0"/>
              <a:t>Brücken zum APG</a:t>
            </a:r>
            <a:r>
              <a:rPr lang="de-DE" sz="1662" dirty="0"/>
              <a:t>, </a:t>
            </a:r>
          </a:p>
          <a:p>
            <a:pPr marL="263776" indent="-263776">
              <a:lnSpc>
                <a:spcPct val="100000"/>
              </a:lnSpc>
              <a:spcAft>
                <a:spcPts val="554"/>
              </a:spcAft>
            </a:pPr>
            <a:r>
              <a:rPr lang="de-DE" sz="1662" b="1" dirty="0"/>
              <a:t>Ausgleich von Rentenabschlägen </a:t>
            </a:r>
            <a:r>
              <a:rPr lang="de-DE" sz="1662" dirty="0"/>
              <a:t>oder für einen sonstigen früheren Eintritt in den Ruhestand. </a:t>
            </a:r>
          </a:p>
          <a:p>
            <a:pPr>
              <a:lnSpc>
                <a:spcPct val="100000"/>
              </a:lnSpc>
              <a:spcAft>
                <a:spcPts val="554"/>
              </a:spcAft>
            </a:pPr>
            <a:endParaRPr lang="de-DE" dirty="0"/>
          </a:p>
        </p:txBody>
      </p:sp>
    </p:spTree>
    <p:extLst>
      <p:ext uri="{BB962C8B-B14F-4D97-AF65-F5344CB8AC3E}">
        <p14:creationId xmlns:p14="http://schemas.microsoft.com/office/powerpoint/2010/main" val="26075268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00CA70A1-48BB-F443-B7B0-95427ED3B74E}"/>
              </a:ext>
            </a:extLst>
          </p:cNvPr>
          <p:cNvSpPr>
            <a:spLocks noGrp="1"/>
          </p:cNvSpPr>
          <p:nvPr>
            <p:ph sz="quarter" idx="10"/>
          </p:nvPr>
        </p:nvSpPr>
        <p:spPr>
          <a:xfrm>
            <a:off x="362215" y="710685"/>
            <a:ext cx="8433390" cy="419440"/>
          </a:xfrm>
        </p:spPr>
        <p:txBody>
          <a:bodyPr/>
          <a:lstStyle/>
          <a:p>
            <a:r>
              <a:rPr lang="de-DE" dirty="0" err="1" smtClean="0"/>
              <a:t>persepktiven</a:t>
            </a:r>
            <a:endParaRPr lang="de-DE" dirty="0"/>
          </a:p>
        </p:txBody>
      </p:sp>
      <p:sp>
        <p:nvSpPr>
          <p:cNvPr id="5" name="Textplatzhalter 4">
            <a:extLst>
              <a:ext uri="{FF2B5EF4-FFF2-40B4-BE49-F238E27FC236}">
                <a16:creationId xmlns:a16="http://schemas.microsoft.com/office/drawing/2014/main" id="{4FB9F38E-5AAF-8746-85AC-F4BFB5721015}"/>
              </a:ext>
            </a:extLst>
          </p:cNvPr>
          <p:cNvSpPr>
            <a:spLocks noGrp="1"/>
          </p:cNvSpPr>
          <p:nvPr>
            <p:ph type="body" sz="quarter" idx="11"/>
          </p:nvPr>
        </p:nvSpPr>
        <p:spPr/>
        <p:txBody>
          <a:bodyPr/>
          <a:lstStyle/>
          <a:p>
            <a:pPr marL="0" indent="0">
              <a:lnSpc>
                <a:spcPct val="150000"/>
              </a:lnSpc>
              <a:spcAft>
                <a:spcPts val="1108"/>
              </a:spcAft>
              <a:buNone/>
            </a:pPr>
            <a:r>
              <a:rPr lang="de-DE" sz="1662" b="1" dirty="0"/>
              <a:t>Hierzu müssen für den gesamten Bereich der Kohlegewinnung und -verstromung ausreichend Finanzmittel bereitstehen</a:t>
            </a:r>
            <a:r>
              <a:rPr lang="de-DE" sz="1662" dirty="0"/>
              <a:t>, damit alle Beschäftigten die Chance auf einen </a:t>
            </a:r>
            <a:r>
              <a:rPr lang="de-DE" sz="1662" dirty="0" err="1"/>
              <a:t>zukunftsgerichteten</a:t>
            </a:r>
            <a:r>
              <a:rPr lang="de-DE" sz="1662" dirty="0"/>
              <a:t> Arbeitsplatz mit adäquaten Lohn- und Arbeitsbedingungen wahrnehmen können. </a:t>
            </a:r>
          </a:p>
          <a:p>
            <a:pPr marL="0" indent="0">
              <a:lnSpc>
                <a:spcPct val="100000"/>
              </a:lnSpc>
              <a:spcAft>
                <a:spcPts val="1108"/>
              </a:spcAft>
              <a:buNone/>
            </a:pPr>
            <a:endParaRPr lang="de-DE" sz="1662" dirty="0"/>
          </a:p>
          <a:p>
            <a:pPr marL="263776" indent="-263776">
              <a:lnSpc>
                <a:spcPct val="100000"/>
              </a:lnSpc>
              <a:spcAft>
                <a:spcPts val="1108"/>
              </a:spcAft>
            </a:pPr>
            <a:r>
              <a:rPr lang="de-DE" sz="1662" dirty="0"/>
              <a:t>Diese Punkte müssen </a:t>
            </a:r>
            <a:r>
              <a:rPr lang="de-DE" sz="1662" dirty="0" smtClean="0"/>
              <a:t>Bestandteil </a:t>
            </a:r>
            <a:r>
              <a:rPr lang="de-DE" sz="1662" dirty="0"/>
              <a:t>einvernehmlicher vertraglicher Vereinbarungen werden. </a:t>
            </a:r>
          </a:p>
          <a:p>
            <a:pPr marL="263776" indent="-263776">
              <a:lnSpc>
                <a:spcPct val="100000"/>
              </a:lnSpc>
              <a:spcAft>
                <a:spcPts val="1108"/>
              </a:spcAft>
            </a:pPr>
            <a:r>
              <a:rPr lang="de-DE" sz="1662" b="1" dirty="0"/>
              <a:t>In die entsprechenden Verhandlungen sind die Mitbestimmungsorgane und ihre Gewerkschaften einzubinden. </a:t>
            </a:r>
          </a:p>
          <a:p>
            <a:pPr marL="263776" indent="-263776">
              <a:lnSpc>
                <a:spcPct val="100000"/>
              </a:lnSpc>
              <a:spcAft>
                <a:spcPts val="1108"/>
              </a:spcAft>
            </a:pPr>
            <a:r>
              <a:rPr lang="de-DE" sz="1662" dirty="0"/>
              <a:t>Die Regelungen werden in </a:t>
            </a:r>
            <a:r>
              <a:rPr lang="de-DE" sz="1662" b="1" dirty="0"/>
              <a:t>Tarifverträgen</a:t>
            </a:r>
            <a:r>
              <a:rPr lang="de-DE" sz="1662" dirty="0"/>
              <a:t> fixiert. </a:t>
            </a:r>
          </a:p>
          <a:p>
            <a:pPr>
              <a:lnSpc>
                <a:spcPct val="100000"/>
              </a:lnSpc>
              <a:spcAft>
                <a:spcPts val="1108"/>
              </a:spcAft>
            </a:pPr>
            <a:endParaRPr lang="de-DE" dirty="0"/>
          </a:p>
        </p:txBody>
      </p:sp>
    </p:spTree>
    <p:extLst>
      <p:ext uri="{BB962C8B-B14F-4D97-AF65-F5344CB8AC3E}">
        <p14:creationId xmlns:p14="http://schemas.microsoft.com/office/powerpoint/2010/main" val="6340236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00CA70A1-48BB-F443-B7B0-95427ED3B74E}"/>
              </a:ext>
            </a:extLst>
          </p:cNvPr>
          <p:cNvSpPr>
            <a:spLocks noGrp="1"/>
          </p:cNvSpPr>
          <p:nvPr>
            <p:ph sz="quarter" idx="10"/>
          </p:nvPr>
        </p:nvSpPr>
        <p:spPr/>
        <p:txBody>
          <a:bodyPr/>
          <a:lstStyle/>
          <a:p>
            <a:r>
              <a:rPr lang="de-DE" dirty="0"/>
              <a:t>Strukturwandel</a:t>
            </a:r>
          </a:p>
        </p:txBody>
      </p:sp>
      <p:sp>
        <p:nvSpPr>
          <p:cNvPr id="5" name="Textplatzhalter 4">
            <a:extLst>
              <a:ext uri="{FF2B5EF4-FFF2-40B4-BE49-F238E27FC236}">
                <a16:creationId xmlns:a16="http://schemas.microsoft.com/office/drawing/2014/main" id="{4FB9F38E-5AAF-8746-85AC-F4BFB5721015}"/>
              </a:ext>
            </a:extLst>
          </p:cNvPr>
          <p:cNvSpPr>
            <a:spLocks noGrp="1"/>
          </p:cNvSpPr>
          <p:nvPr>
            <p:ph type="body" sz="quarter" idx="11"/>
          </p:nvPr>
        </p:nvSpPr>
        <p:spPr>
          <a:xfrm>
            <a:off x="362216" y="1624263"/>
            <a:ext cx="8433390" cy="4236002"/>
          </a:xfrm>
        </p:spPr>
        <p:txBody>
          <a:bodyPr/>
          <a:lstStyle/>
          <a:p>
            <a:pPr marL="0" indent="0">
              <a:lnSpc>
                <a:spcPct val="100000"/>
              </a:lnSpc>
              <a:spcAft>
                <a:spcPts val="554"/>
              </a:spcAft>
              <a:buNone/>
            </a:pPr>
            <a:r>
              <a:rPr lang="de-DE" sz="1615" dirty="0"/>
              <a:t>Bestandteil des Gesetzespakets soll ein Maßnahmengesetz sein, in dem etwa Maßnahmen des Bundes bzw. mit Bundesbeteiligung insbesondere im Bereich</a:t>
            </a:r>
          </a:p>
          <a:p>
            <a:pPr marL="263776" indent="-263776">
              <a:lnSpc>
                <a:spcPct val="100000"/>
              </a:lnSpc>
              <a:spcAft>
                <a:spcPts val="554"/>
              </a:spcAft>
            </a:pPr>
            <a:r>
              <a:rPr lang="de-DE" sz="1615" dirty="0"/>
              <a:t>Infrastrukturausbau, </a:t>
            </a:r>
          </a:p>
          <a:p>
            <a:pPr marL="263776" indent="-263776">
              <a:lnSpc>
                <a:spcPct val="100000"/>
              </a:lnSpc>
              <a:spcAft>
                <a:spcPts val="554"/>
              </a:spcAft>
            </a:pPr>
            <a:r>
              <a:rPr lang="de-DE" sz="1615" dirty="0"/>
              <a:t>Wirtschafts- und Innovationsförderung </a:t>
            </a:r>
          </a:p>
          <a:p>
            <a:pPr marL="263776" indent="-263776">
              <a:lnSpc>
                <a:spcPct val="100000"/>
              </a:lnSpc>
              <a:spcAft>
                <a:spcPts val="554"/>
              </a:spcAft>
            </a:pPr>
            <a:r>
              <a:rPr lang="de-DE" sz="1615" dirty="0"/>
              <a:t>sowie Ansiedlung von Behörden und von Forschungseinrichtungen geregelt werden könnten. </a:t>
            </a:r>
          </a:p>
          <a:p>
            <a:pPr marL="0" indent="0">
              <a:lnSpc>
                <a:spcPct val="100000"/>
              </a:lnSpc>
              <a:spcAft>
                <a:spcPts val="1108"/>
              </a:spcAft>
              <a:buNone/>
            </a:pPr>
            <a:r>
              <a:rPr lang="de-DE" sz="1615" dirty="0"/>
              <a:t>Die Kommission erachtet es als erforderlich, dass der Bund hierfür ein </a:t>
            </a:r>
            <a:r>
              <a:rPr lang="de-DE" sz="1615" b="1" dirty="0"/>
              <a:t>zusätzliches Budget für aus dem Bundeshaushalt </a:t>
            </a:r>
            <a:r>
              <a:rPr lang="de-DE" sz="1615" dirty="0"/>
              <a:t>für</a:t>
            </a:r>
            <a:r>
              <a:rPr lang="de-DE" sz="1615" b="1" dirty="0"/>
              <a:t> </a:t>
            </a:r>
            <a:r>
              <a:rPr lang="de-DE" sz="1615" dirty="0"/>
              <a:t>zu finanzierende Einzelprojekte sowie für die von einer vorzeitigen Beendigung der Kohleverstromung betroffenen Länder von pro Jahr </a:t>
            </a:r>
            <a:r>
              <a:rPr lang="de-DE" sz="1615" b="1" dirty="0"/>
              <a:t>1,3 Mrd. Euro über 20 Jahre </a:t>
            </a:r>
            <a:r>
              <a:rPr lang="de-DE" sz="1615" dirty="0"/>
              <a:t>bereitstellt. </a:t>
            </a:r>
          </a:p>
          <a:p>
            <a:pPr marL="0" indent="0">
              <a:lnSpc>
                <a:spcPct val="100000"/>
              </a:lnSpc>
              <a:spcAft>
                <a:spcPts val="1108"/>
              </a:spcAft>
              <a:buNone/>
            </a:pPr>
            <a:r>
              <a:rPr lang="de-DE" sz="1615" dirty="0"/>
              <a:t>Das </a:t>
            </a:r>
            <a:r>
              <a:rPr lang="de-DE" sz="1615" b="1" dirty="0"/>
              <a:t>Maßnahmengesetz</a:t>
            </a:r>
            <a:r>
              <a:rPr lang="de-DE" sz="1615" dirty="0"/>
              <a:t> soll zudem in einem zu ratifizierenden </a:t>
            </a:r>
            <a:r>
              <a:rPr lang="de-DE" sz="1615" b="1" dirty="0"/>
              <a:t>Staatsvertrag </a:t>
            </a:r>
            <a:r>
              <a:rPr lang="de-DE" sz="1615" dirty="0"/>
              <a:t>zwischen dem Bund sowie den betroffenen Ländern und Kommunen umgesetzt werden. (Ein </a:t>
            </a:r>
            <a:r>
              <a:rPr lang="de-DE" sz="1615" b="1" dirty="0"/>
              <a:t>Beispiel</a:t>
            </a:r>
            <a:r>
              <a:rPr lang="de-DE" sz="1615" dirty="0"/>
              <a:t> für eine solche rechtliche Konstruktion könnte etwa das </a:t>
            </a:r>
            <a:r>
              <a:rPr lang="de-DE" sz="1615" b="1" dirty="0"/>
              <a:t>Berlin-Bonn-Gesetz</a:t>
            </a:r>
            <a:r>
              <a:rPr lang="de-DE" sz="1615" dirty="0"/>
              <a:t> sein.)</a:t>
            </a:r>
          </a:p>
          <a:p>
            <a:pPr>
              <a:lnSpc>
                <a:spcPct val="100000"/>
              </a:lnSpc>
              <a:spcAft>
                <a:spcPts val="554"/>
              </a:spcAft>
            </a:pPr>
            <a:endParaRPr lang="de-DE" sz="1662" dirty="0"/>
          </a:p>
        </p:txBody>
      </p:sp>
    </p:spTree>
    <p:extLst>
      <p:ext uri="{BB962C8B-B14F-4D97-AF65-F5344CB8AC3E}">
        <p14:creationId xmlns:p14="http://schemas.microsoft.com/office/powerpoint/2010/main" val="29045025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00CA70A1-48BB-F443-B7B0-95427ED3B74E}"/>
              </a:ext>
            </a:extLst>
          </p:cNvPr>
          <p:cNvSpPr>
            <a:spLocks noGrp="1"/>
          </p:cNvSpPr>
          <p:nvPr>
            <p:ph sz="quarter" idx="10"/>
          </p:nvPr>
        </p:nvSpPr>
        <p:spPr/>
        <p:txBody>
          <a:bodyPr/>
          <a:lstStyle/>
          <a:p>
            <a:r>
              <a:rPr lang="de-DE" dirty="0"/>
              <a:t>Strukturwandel</a:t>
            </a:r>
          </a:p>
        </p:txBody>
      </p:sp>
      <p:sp>
        <p:nvSpPr>
          <p:cNvPr id="5" name="Textplatzhalter 4">
            <a:extLst>
              <a:ext uri="{FF2B5EF4-FFF2-40B4-BE49-F238E27FC236}">
                <a16:creationId xmlns:a16="http://schemas.microsoft.com/office/drawing/2014/main" id="{4FB9F38E-5AAF-8746-85AC-F4BFB5721015}"/>
              </a:ext>
            </a:extLst>
          </p:cNvPr>
          <p:cNvSpPr>
            <a:spLocks noGrp="1"/>
          </p:cNvSpPr>
          <p:nvPr>
            <p:ph type="body" sz="quarter" idx="11"/>
          </p:nvPr>
        </p:nvSpPr>
        <p:spPr/>
        <p:txBody>
          <a:bodyPr/>
          <a:lstStyle/>
          <a:p>
            <a:pPr marL="0" indent="0">
              <a:lnSpc>
                <a:spcPct val="100000"/>
              </a:lnSpc>
              <a:spcAft>
                <a:spcPts val="1108"/>
              </a:spcAft>
              <a:buNone/>
            </a:pPr>
            <a:r>
              <a:rPr lang="de-DE" sz="1615" dirty="0"/>
              <a:t>Die Regelungen müssen sicherstellen, dass die </a:t>
            </a:r>
            <a:r>
              <a:rPr lang="de-DE" sz="1615" b="1" dirty="0"/>
              <a:t>notwendige Flexibilität </a:t>
            </a:r>
            <a:r>
              <a:rPr lang="de-DE" sz="1615" dirty="0"/>
              <a:t>in dem jahrzehntelangen Prozess der Strukturentwicklung ermöglicht wird. </a:t>
            </a:r>
          </a:p>
          <a:p>
            <a:pPr marL="0" indent="0">
              <a:lnSpc>
                <a:spcPct val="100000"/>
              </a:lnSpc>
              <a:spcAft>
                <a:spcPts val="554"/>
              </a:spcAft>
              <a:buNone/>
            </a:pPr>
            <a:r>
              <a:rPr lang="de-DE" sz="1615" dirty="0"/>
              <a:t>Die Kommission erwartet, dass die Bundesregierung </a:t>
            </a:r>
            <a:r>
              <a:rPr lang="de-DE" sz="1615" b="1" dirty="0"/>
              <a:t>bis zum 30. April 2019 </a:t>
            </a:r>
            <a:r>
              <a:rPr lang="de-DE" sz="1615" dirty="0"/>
              <a:t>die </a:t>
            </a:r>
            <a:r>
              <a:rPr lang="de-DE" sz="1615" b="1" dirty="0"/>
              <a:t>Eckpunkte</a:t>
            </a:r>
            <a:r>
              <a:rPr lang="de-DE" sz="1615" dirty="0"/>
              <a:t> für ein solches Maßnahmengesetz in Abstimmung mit den betroffenen Bundesländern vorlegt. </a:t>
            </a:r>
          </a:p>
          <a:p>
            <a:pPr marL="263776" indent="-263776">
              <a:lnSpc>
                <a:spcPct val="100000"/>
              </a:lnSpc>
              <a:spcAft>
                <a:spcPts val="554"/>
              </a:spcAft>
            </a:pPr>
            <a:r>
              <a:rPr lang="de-DE" sz="1615" dirty="0"/>
              <a:t>Über das Maßnahmengesetz hinaus wird zur mittel- und langfristigen Absicherung strukturpolitischer Maßnahmen aus Mitteln des Bundes den Ländern eine </a:t>
            </a:r>
            <a:r>
              <a:rPr lang="de-DE" sz="1615" b="1" dirty="0"/>
              <a:t>Finanzierungsmöglichkeit</a:t>
            </a:r>
            <a:r>
              <a:rPr lang="de-DE" sz="1615" dirty="0"/>
              <a:t> zur Verfügung gestellt, die </a:t>
            </a:r>
            <a:r>
              <a:rPr lang="de-DE" sz="1615" b="1" dirty="0"/>
              <a:t>von der Haushaltslage unabhängig</a:t>
            </a:r>
            <a:r>
              <a:rPr lang="de-DE" sz="1615" dirty="0"/>
              <a:t> ist. </a:t>
            </a:r>
          </a:p>
          <a:p>
            <a:pPr marL="263776" indent="-263776">
              <a:lnSpc>
                <a:spcPct val="100000"/>
              </a:lnSpc>
              <a:spcAft>
                <a:spcPts val="1108"/>
              </a:spcAft>
            </a:pPr>
            <a:r>
              <a:rPr lang="de-DE" sz="1615" dirty="0"/>
              <a:t>Die Kommission empfiehlt für die betroffenen </a:t>
            </a:r>
            <a:r>
              <a:rPr lang="de-DE" sz="1615" b="1" dirty="0"/>
              <a:t>Länder jährlich Mittel in Höhe von 0,7 Mrd. Euro über 20 Jahre</a:t>
            </a:r>
            <a:r>
              <a:rPr lang="de-DE" sz="1615" dirty="0"/>
              <a:t> zur Verfügung zu stellen. </a:t>
            </a:r>
          </a:p>
          <a:p>
            <a:pPr marL="0" indent="0">
              <a:lnSpc>
                <a:spcPct val="100000"/>
              </a:lnSpc>
              <a:spcAft>
                <a:spcPts val="554"/>
              </a:spcAft>
              <a:buNone/>
            </a:pPr>
            <a:r>
              <a:rPr lang="de-DE" sz="1615" dirty="0"/>
              <a:t>Durch ein solches Budget wird die Möglichkeit geschaffen, auf heute noch nicht absehbare Anforderungen der Strukturförderung </a:t>
            </a:r>
            <a:r>
              <a:rPr lang="de-DE" sz="1615" b="1" dirty="0"/>
              <a:t>flexibel und projektoffen </a:t>
            </a:r>
            <a:r>
              <a:rPr lang="de-DE" sz="1615" dirty="0"/>
              <a:t>reagieren zu können. </a:t>
            </a:r>
          </a:p>
          <a:p>
            <a:pPr marL="7328" indent="-7328">
              <a:lnSpc>
                <a:spcPct val="100000"/>
              </a:lnSpc>
              <a:spcAft>
                <a:spcPts val="554"/>
              </a:spcAft>
            </a:pPr>
            <a:endParaRPr lang="de-DE" sz="1662" dirty="0"/>
          </a:p>
          <a:p>
            <a:pPr>
              <a:lnSpc>
                <a:spcPct val="100000"/>
              </a:lnSpc>
              <a:spcAft>
                <a:spcPts val="554"/>
              </a:spcAft>
            </a:pPr>
            <a:endParaRPr lang="de-DE" sz="1662" dirty="0"/>
          </a:p>
        </p:txBody>
      </p:sp>
    </p:spTree>
    <p:extLst>
      <p:ext uri="{BB962C8B-B14F-4D97-AF65-F5344CB8AC3E}">
        <p14:creationId xmlns:p14="http://schemas.microsoft.com/office/powerpoint/2010/main" val="39162184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00CA70A1-48BB-F443-B7B0-95427ED3B74E}"/>
              </a:ext>
            </a:extLst>
          </p:cNvPr>
          <p:cNvSpPr>
            <a:spLocks noGrp="1"/>
          </p:cNvSpPr>
          <p:nvPr>
            <p:ph sz="quarter" idx="10"/>
          </p:nvPr>
        </p:nvSpPr>
        <p:spPr/>
        <p:txBody>
          <a:bodyPr/>
          <a:lstStyle/>
          <a:p>
            <a:r>
              <a:rPr lang="de-DE" dirty="0"/>
              <a:t>Strukturwandel</a:t>
            </a:r>
          </a:p>
        </p:txBody>
      </p:sp>
      <p:sp>
        <p:nvSpPr>
          <p:cNvPr id="5" name="Textplatzhalter 4">
            <a:extLst>
              <a:ext uri="{FF2B5EF4-FFF2-40B4-BE49-F238E27FC236}">
                <a16:creationId xmlns:a16="http://schemas.microsoft.com/office/drawing/2014/main" id="{4FB9F38E-5AAF-8746-85AC-F4BFB5721015}"/>
              </a:ext>
            </a:extLst>
          </p:cNvPr>
          <p:cNvSpPr>
            <a:spLocks noGrp="1"/>
          </p:cNvSpPr>
          <p:nvPr>
            <p:ph type="body" sz="quarter" idx="11"/>
          </p:nvPr>
        </p:nvSpPr>
        <p:spPr>
          <a:xfrm>
            <a:off x="355305" y="1279859"/>
            <a:ext cx="8433390" cy="4298281"/>
          </a:xfrm>
        </p:spPr>
        <p:txBody>
          <a:bodyPr/>
          <a:lstStyle/>
          <a:p>
            <a:pPr marL="7328" indent="-7328">
              <a:lnSpc>
                <a:spcPct val="100000"/>
              </a:lnSpc>
              <a:spcAft>
                <a:spcPts val="554"/>
              </a:spcAft>
              <a:tabLst>
                <a:tab pos="361950" algn="l"/>
              </a:tabLst>
            </a:pPr>
            <a:r>
              <a:rPr lang="de-DE" sz="1662" dirty="0" smtClean="0"/>
              <a:t> 	Strukturwandel muss zügig beginnen, und Perspektiven für die Zukunft schaffen. </a:t>
            </a:r>
            <a:br>
              <a:rPr lang="de-DE" sz="1662" dirty="0" smtClean="0"/>
            </a:br>
            <a:r>
              <a:rPr lang="de-DE" sz="1662" dirty="0" smtClean="0"/>
              <a:t>	2023 ist nicht in der weiteren Zukunft, sondern morgen.</a:t>
            </a:r>
          </a:p>
          <a:p>
            <a:pPr marL="0" indent="0">
              <a:lnSpc>
                <a:spcPct val="100000"/>
              </a:lnSpc>
              <a:spcAft>
                <a:spcPts val="554"/>
              </a:spcAft>
              <a:buNone/>
              <a:tabLst>
                <a:tab pos="361950" algn="l"/>
              </a:tabLst>
            </a:pPr>
            <a:endParaRPr lang="de-DE" sz="1662" dirty="0" smtClean="0"/>
          </a:p>
          <a:p>
            <a:pPr marL="7328" indent="-7328">
              <a:lnSpc>
                <a:spcPct val="100000"/>
              </a:lnSpc>
              <a:spcAft>
                <a:spcPts val="554"/>
              </a:spcAft>
              <a:tabLst>
                <a:tab pos="361950" algn="l"/>
              </a:tabLst>
            </a:pPr>
            <a:r>
              <a:rPr lang="de-DE" sz="1662" dirty="0" smtClean="0"/>
              <a:t> 	Region „Rheinisches Revier“ muss mit einer Stimme sprechen, und nicht mit vielen. </a:t>
            </a:r>
            <a:br>
              <a:rPr lang="de-DE" sz="1662" dirty="0" smtClean="0"/>
            </a:br>
            <a:r>
              <a:rPr lang="de-DE" sz="1662" dirty="0" smtClean="0"/>
              <a:t>	Nicht einzelne Kommunen, nicht einzelnen Landkreise sollten Lösungen finden, 	sondern alle zusammen.</a:t>
            </a:r>
          </a:p>
          <a:p>
            <a:pPr marL="0" indent="0">
              <a:lnSpc>
                <a:spcPct val="100000"/>
              </a:lnSpc>
              <a:spcAft>
                <a:spcPts val="554"/>
              </a:spcAft>
              <a:buNone/>
              <a:tabLst>
                <a:tab pos="361950" algn="l"/>
              </a:tabLst>
            </a:pPr>
            <a:endParaRPr lang="de-DE" sz="1662" dirty="0" smtClean="0"/>
          </a:p>
          <a:p>
            <a:pPr marL="7328" indent="-7328">
              <a:lnSpc>
                <a:spcPct val="100000"/>
              </a:lnSpc>
              <a:spcAft>
                <a:spcPts val="554"/>
              </a:spcAft>
              <a:tabLst>
                <a:tab pos="361950" algn="l"/>
              </a:tabLst>
            </a:pPr>
            <a:r>
              <a:rPr lang="de-DE" sz="1662" dirty="0"/>
              <a:t> </a:t>
            </a:r>
            <a:r>
              <a:rPr lang="de-DE" sz="1662" dirty="0" smtClean="0"/>
              <a:t>	Das Land muss hier eine Klammer bilden.</a:t>
            </a:r>
          </a:p>
          <a:p>
            <a:pPr marL="0" indent="0">
              <a:lnSpc>
                <a:spcPct val="100000"/>
              </a:lnSpc>
              <a:spcAft>
                <a:spcPts val="554"/>
              </a:spcAft>
              <a:buNone/>
              <a:tabLst>
                <a:tab pos="361950" algn="l"/>
              </a:tabLst>
            </a:pPr>
            <a:endParaRPr lang="de-DE" sz="1662" dirty="0" smtClean="0"/>
          </a:p>
          <a:p>
            <a:pPr marL="7328" indent="-7328">
              <a:lnSpc>
                <a:spcPct val="100000"/>
              </a:lnSpc>
              <a:spcAft>
                <a:spcPts val="554"/>
              </a:spcAft>
              <a:tabLst>
                <a:tab pos="361950" algn="l"/>
              </a:tabLst>
            </a:pPr>
            <a:r>
              <a:rPr lang="de-DE" sz="1662" dirty="0" smtClean="0"/>
              <a:t> 	Perspektiven gerade für junge Menschen müssen geschaffen werden, dies kann 	sicherlich nicht ausschließlich im Dienstleistungssektor sein.</a:t>
            </a:r>
          </a:p>
          <a:p>
            <a:pPr marL="0" indent="0">
              <a:lnSpc>
                <a:spcPct val="100000"/>
              </a:lnSpc>
              <a:spcAft>
                <a:spcPts val="554"/>
              </a:spcAft>
              <a:buNone/>
              <a:tabLst>
                <a:tab pos="361950" algn="l"/>
              </a:tabLst>
            </a:pPr>
            <a:endParaRPr lang="de-DE" sz="1662" dirty="0" smtClean="0"/>
          </a:p>
          <a:p>
            <a:pPr marL="7328" indent="-7328">
              <a:lnSpc>
                <a:spcPct val="100000"/>
              </a:lnSpc>
              <a:spcAft>
                <a:spcPts val="554"/>
              </a:spcAft>
              <a:tabLst>
                <a:tab pos="361950" algn="l"/>
              </a:tabLst>
            </a:pPr>
            <a:r>
              <a:rPr lang="de-DE" sz="1662" dirty="0"/>
              <a:t> </a:t>
            </a:r>
            <a:r>
              <a:rPr lang="de-DE" sz="1662" dirty="0" smtClean="0"/>
              <a:t>	Knowhow der Region muss genutzt werden. Energie!</a:t>
            </a:r>
          </a:p>
          <a:p>
            <a:pPr marL="7328" indent="-7328">
              <a:lnSpc>
                <a:spcPct val="100000"/>
              </a:lnSpc>
              <a:spcAft>
                <a:spcPts val="554"/>
              </a:spcAft>
            </a:pPr>
            <a:endParaRPr lang="de-DE" sz="1662" dirty="0"/>
          </a:p>
          <a:p>
            <a:pPr>
              <a:lnSpc>
                <a:spcPct val="100000"/>
              </a:lnSpc>
              <a:spcAft>
                <a:spcPts val="554"/>
              </a:spcAft>
            </a:pPr>
            <a:endParaRPr lang="de-DE" sz="1662" dirty="0"/>
          </a:p>
        </p:txBody>
      </p:sp>
    </p:spTree>
    <p:extLst>
      <p:ext uri="{BB962C8B-B14F-4D97-AF65-F5344CB8AC3E}">
        <p14:creationId xmlns:p14="http://schemas.microsoft.com/office/powerpoint/2010/main" val="22818146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8" y="2"/>
          <a:ext cx="158751" cy="158751"/>
        </p:xfrm>
        <a:graphic>
          <a:graphicData uri="http://schemas.openxmlformats.org/presentationml/2006/ole">
            <mc:AlternateContent xmlns:mc="http://schemas.openxmlformats.org/markup-compatibility/2006">
              <mc:Choice xmlns:v="urn:schemas-microsoft-com:vml" Requires="v">
                <p:oleObj spid="_x0000_s8203" name="think-cell Folie" r:id="rId8" imgW="270" imgH="270" progId="TCLayout.ActiveDocument.1">
                  <p:embed/>
                </p:oleObj>
              </mc:Choice>
              <mc:Fallback>
                <p:oleObj name="think-cell Folie" r:id="rId8" imgW="270" imgH="270" progId="TCLayout.ActiveDocument.1">
                  <p:embed/>
                  <p:pic>
                    <p:nvPicPr>
                      <p:cNvPr id="8" name="Objekt 7" hidden="1"/>
                      <p:cNvPicPr/>
                      <p:nvPr/>
                    </p:nvPicPr>
                    <p:blipFill>
                      <a:blip r:embed="rId9"/>
                      <a:stretch>
                        <a:fillRect/>
                      </a:stretch>
                    </p:blipFill>
                    <p:spPr>
                      <a:xfrm>
                        <a:off x="18" y="2"/>
                        <a:ext cx="158751" cy="158751"/>
                      </a:xfrm>
                      <a:prstGeom prst="rect">
                        <a:avLst/>
                      </a:prstGeom>
                    </p:spPr>
                  </p:pic>
                </p:oleObj>
              </mc:Fallback>
            </mc:AlternateContent>
          </a:graphicData>
        </a:graphic>
      </p:graphicFrame>
      <p:sp>
        <p:nvSpPr>
          <p:cNvPr id="19" name="Titel 3"/>
          <p:cNvSpPr txBox="1">
            <a:spLocks/>
          </p:cNvSpPr>
          <p:nvPr>
            <p:custDataLst>
              <p:tags r:id="rId3"/>
            </p:custDataLst>
          </p:nvPr>
        </p:nvSpPr>
        <p:spPr bwMode="gray">
          <a:xfrm>
            <a:off x="359526" y="182774"/>
            <a:ext cx="8594470" cy="71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4000" rIns="0" bIns="0" numCol="1" rtlCol="0" anchor="t" anchorCtr="0" compatLnSpc="1">
            <a:prstTxWarp prst="textNoShape">
              <a:avLst/>
            </a:prstTxWarp>
            <a:spAutoFit/>
          </a:bodyPr>
          <a:lstStyle>
            <a:lvl1pPr defTabSz="914377" eaLnBrk="1" hangingPunct="1">
              <a:lnSpc>
                <a:spcPct val="90000"/>
              </a:lnSpc>
              <a:defRPr sz="2400" b="1">
                <a:solidFill>
                  <a:srgbClr val="005087"/>
                </a:solidFill>
                <a:latin typeface="+mj-lt"/>
                <a:ea typeface="+mj-ea"/>
                <a:cs typeface="+mj-cs"/>
              </a:defRPr>
            </a:lvl1pPr>
            <a:lvl2pPr eaLnBrk="1" hangingPunct="1">
              <a:defRPr sz="3100">
                <a:solidFill>
                  <a:schemeClr val="accent1"/>
                </a:solidFill>
                <a:latin typeface="Arial" pitchFamily="23" charset="0"/>
                <a:ea typeface="ＭＳ Ｐゴシック" pitchFamily="-111" charset="-128"/>
                <a:cs typeface="ＭＳ Ｐゴシック" pitchFamily="-111" charset="-128"/>
              </a:defRPr>
            </a:lvl2pPr>
            <a:lvl3pPr eaLnBrk="1" hangingPunct="1">
              <a:defRPr sz="3100">
                <a:solidFill>
                  <a:schemeClr val="accent1"/>
                </a:solidFill>
                <a:latin typeface="Arial" pitchFamily="23" charset="0"/>
                <a:ea typeface="ＭＳ Ｐゴシック" pitchFamily="-111" charset="-128"/>
                <a:cs typeface="ＭＳ Ｐゴシック" pitchFamily="-111" charset="-128"/>
              </a:defRPr>
            </a:lvl3pPr>
            <a:lvl4pPr eaLnBrk="1" hangingPunct="1">
              <a:defRPr sz="3100">
                <a:solidFill>
                  <a:schemeClr val="accent1"/>
                </a:solidFill>
                <a:latin typeface="Arial" pitchFamily="23" charset="0"/>
                <a:ea typeface="ＭＳ Ｐゴシック" pitchFamily="-111" charset="-128"/>
                <a:cs typeface="ＭＳ Ｐゴシック" pitchFamily="-111" charset="-128"/>
              </a:defRPr>
            </a:lvl4pPr>
            <a:lvl5pPr eaLnBrk="1" hangingPunct="1">
              <a:defRPr sz="3100">
                <a:solidFill>
                  <a:schemeClr val="accent1"/>
                </a:solidFill>
                <a:latin typeface="Arial" pitchFamily="23" charset="0"/>
                <a:ea typeface="ＭＳ Ｐゴシック" pitchFamily="-111" charset="-128"/>
                <a:cs typeface="ＭＳ Ｐゴシック" pitchFamily="-111" charset="-128"/>
              </a:defRPr>
            </a:lvl5pPr>
            <a:lvl6pPr marL="536433" fontAlgn="base">
              <a:spcBef>
                <a:spcPct val="0"/>
              </a:spcBef>
              <a:spcAft>
                <a:spcPct val="0"/>
              </a:spcAft>
              <a:defRPr sz="3500">
                <a:solidFill>
                  <a:schemeClr val="accent1"/>
                </a:solidFill>
                <a:latin typeface="Arial" pitchFamily="23" charset="0"/>
              </a:defRPr>
            </a:lvl6pPr>
            <a:lvl7pPr marL="1072866" fontAlgn="base">
              <a:spcBef>
                <a:spcPct val="0"/>
              </a:spcBef>
              <a:spcAft>
                <a:spcPct val="0"/>
              </a:spcAft>
              <a:defRPr sz="3500">
                <a:solidFill>
                  <a:schemeClr val="accent1"/>
                </a:solidFill>
                <a:latin typeface="Arial" pitchFamily="23" charset="0"/>
              </a:defRPr>
            </a:lvl7pPr>
            <a:lvl8pPr marL="1609298" fontAlgn="base">
              <a:spcBef>
                <a:spcPct val="0"/>
              </a:spcBef>
              <a:spcAft>
                <a:spcPct val="0"/>
              </a:spcAft>
              <a:defRPr sz="3500">
                <a:solidFill>
                  <a:schemeClr val="accent1"/>
                </a:solidFill>
                <a:latin typeface="Arial" pitchFamily="23" charset="0"/>
              </a:defRPr>
            </a:lvl8pPr>
            <a:lvl9pPr marL="2145731" fontAlgn="base">
              <a:spcBef>
                <a:spcPct val="0"/>
              </a:spcBef>
              <a:spcAft>
                <a:spcPct val="0"/>
              </a:spcAft>
              <a:defRPr sz="3500">
                <a:solidFill>
                  <a:schemeClr val="accent1"/>
                </a:solidFill>
                <a:latin typeface="Arial" pitchFamily="23" charset="0"/>
              </a:defRPr>
            </a:lvl9pPr>
          </a:lstStyle>
          <a:p>
            <a:pPr>
              <a:tabLst>
                <a:tab pos="1163638" algn="l"/>
              </a:tabLst>
              <a:defRPr/>
            </a:pPr>
            <a:r>
              <a:rPr lang="de-DE" dirty="0" smtClean="0"/>
              <a:t>Nachwuchssicherung ist für RWE Power weiterhin ein wichtiger Baustein der Personalpolitik</a:t>
            </a:r>
            <a:endParaRPr lang="de-DE" dirty="0"/>
          </a:p>
        </p:txBody>
      </p:sp>
      <p:sp>
        <p:nvSpPr>
          <p:cNvPr id="34" name="Textfeld 33"/>
          <p:cNvSpPr txBox="1"/>
          <p:nvPr/>
        </p:nvSpPr>
        <p:spPr>
          <a:xfrm>
            <a:off x="7724502" y="5888623"/>
            <a:ext cx="1112293" cy="169277"/>
          </a:xfrm>
          <a:prstGeom prst="rect">
            <a:avLst/>
          </a:prstGeom>
          <a:noFill/>
        </p:spPr>
        <p:txBody>
          <a:bodyPr wrap="square" lIns="0" tIns="0" rIns="0" bIns="0" rtlCol="0">
            <a:spAutoFit/>
          </a:bodyPr>
          <a:lstStyle/>
          <a:p>
            <a:r>
              <a:rPr lang="de-DE" sz="1100" dirty="0" smtClean="0"/>
              <a:t>Stand 07.03.2019</a:t>
            </a:r>
            <a:endParaRPr lang="de-DE" sz="1100" baseline="30000" dirty="0"/>
          </a:p>
        </p:txBody>
      </p:sp>
      <p:pic>
        <p:nvPicPr>
          <p:cNvPr id="25" name="Picture 2"/>
          <p:cNvPicPr>
            <a:picLocks noChangeAspect="1" noChangeArrowheads="1"/>
          </p:cNvPicPr>
          <p:nvPr/>
        </p:nvPicPr>
        <p:blipFill rotWithShape="1">
          <a:blip r:embed="rId10">
            <a:extLst>
              <a:ext uri="{28A0092B-C50C-407E-A947-70E740481C1C}">
                <a14:useLocalDpi xmlns:a14="http://schemas.microsoft.com/office/drawing/2010/main" val="0"/>
              </a:ext>
            </a:extLst>
          </a:blip>
          <a:srcRect l="39887" r="7873"/>
          <a:stretch/>
        </p:blipFill>
        <p:spPr bwMode="auto">
          <a:xfrm>
            <a:off x="266458" y="2070076"/>
            <a:ext cx="2698417" cy="2746926"/>
          </a:xfrm>
          <a:prstGeom prst="rect">
            <a:avLst/>
          </a:prstGeom>
          <a:noFill/>
          <a:ln w="19050">
            <a:solidFill>
              <a:schemeClr val="bg1"/>
            </a:solidFill>
            <a:miter lim="800000"/>
            <a:headEnd/>
            <a:tailEnd/>
          </a:ln>
          <a:extLst>
            <a:ext uri="{909E8E84-426E-40DD-AFC4-6F175D3DCCD1}">
              <a14:hiddenFill xmlns:a14="http://schemas.microsoft.com/office/drawing/2010/main">
                <a:solidFill>
                  <a:schemeClr val="accent1"/>
                </a:solidFill>
              </a14:hiddenFill>
            </a:ext>
          </a:extLst>
        </p:spPr>
      </p:pic>
      <p:sp>
        <p:nvSpPr>
          <p:cNvPr id="13" name="Rechteck 12"/>
          <p:cNvSpPr/>
          <p:nvPr/>
        </p:nvSpPr>
        <p:spPr>
          <a:xfrm>
            <a:off x="7156434" y="2960230"/>
            <a:ext cx="1944883" cy="584775"/>
          </a:xfrm>
          <a:prstGeom prst="rect">
            <a:avLst/>
          </a:prstGeom>
        </p:spPr>
        <p:txBody>
          <a:bodyPr wrap="square">
            <a:spAutoFit/>
          </a:bodyPr>
          <a:lstStyle/>
          <a:p>
            <a:r>
              <a:rPr lang="de-DE" sz="1600" dirty="0"/>
              <a:t>Ausgebildete </a:t>
            </a:r>
            <a:r>
              <a:rPr lang="de-DE" sz="1600" b="1" dirty="0" smtClean="0"/>
              <a:t>befr. </a:t>
            </a:r>
            <a:r>
              <a:rPr lang="de-DE" sz="1600" b="1" dirty="0"/>
              <a:t/>
            </a:r>
            <a:br>
              <a:rPr lang="de-DE" sz="1600" b="1" dirty="0"/>
            </a:br>
            <a:r>
              <a:rPr lang="de-DE" sz="1600" b="1" dirty="0"/>
              <a:t>für 4 Jahre </a:t>
            </a:r>
            <a:r>
              <a:rPr lang="de-DE" sz="1600" dirty="0" smtClean="0"/>
              <a:t>übern.</a:t>
            </a:r>
            <a:endParaRPr lang="de-DE" sz="1600" dirty="0"/>
          </a:p>
        </p:txBody>
      </p:sp>
      <p:sp>
        <p:nvSpPr>
          <p:cNvPr id="21" name="TextBox 28"/>
          <p:cNvSpPr txBox="1"/>
          <p:nvPr>
            <p:custDataLst>
              <p:tags r:id="rId4"/>
            </p:custDataLst>
          </p:nvPr>
        </p:nvSpPr>
        <p:spPr>
          <a:xfrm>
            <a:off x="6323015" y="1614913"/>
            <a:ext cx="2398366" cy="288147"/>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92075" defTabSz="1280160"/>
            <a:r>
              <a:rPr lang="de-DE" sz="1400" b="1" dirty="0" smtClean="0">
                <a:solidFill>
                  <a:prstClr val="black"/>
                </a:solidFill>
              </a:rPr>
              <a:t>In 2018 hat RWE Power …</a:t>
            </a:r>
            <a:endParaRPr lang="de-DE" sz="1400" b="1" dirty="0">
              <a:solidFill>
                <a:prstClr val="black"/>
              </a:solidFill>
            </a:endParaRPr>
          </a:p>
        </p:txBody>
      </p:sp>
      <p:sp>
        <p:nvSpPr>
          <p:cNvPr id="10" name="Rechteck 9"/>
          <p:cNvSpPr/>
          <p:nvPr/>
        </p:nvSpPr>
        <p:spPr>
          <a:xfrm>
            <a:off x="7168461" y="4873778"/>
            <a:ext cx="1601882" cy="584775"/>
          </a:xfrm>
          <a:prstGeom prst="rect">
            <a:avLst/>
          </a:prstGeom>
        </p:spPr>
        <p:txBody>
          <a:bodyPr wrap="square">
            <a:spAutoFit/>
          </a:bodyPr>
          <a:lstStyle/>
          <a:p>
            <a:r>
              <a:rPr lang="de-DE" altLang="de-DE" sz="1600" dirty="0" smtClean="0"/>
              <a:t>Auszubildende </a:t>
            </a:r>
          </a:p>
          <a:p>
            <a:r>
              <a:rPr lang="de-DE" altLang="de-DE" sz="1600" dirty="0" smtClean="0"/>
              <a:t>eingestellt</a:t>
            </a:r>
            <a:endParaRPr lang="de-DE" sz="1600" dirty="0"/>
          </a:p>
        </p:txBody>
      </p:sp>
      <p:sp>
        <p:nvSpPr>
          <p:cNvPr id="14" name="Rechteck 13"/>
          <p:cNvSpPr/>
          <p:nvPr/>
        </p:nvSpPr>
        <p:spPr bwMode="auto">
          <a:xfrm>
            <a:off x="6452796" y="4822728"/>
            <a:ext cx="704399" cy="684511"/>
          </a:xfrm>
          <a:prstGeom prst="rect">
            <a:avLst/>
          </a:prstGeom>
          <a:solidFill>
            <a:schemeClr val="tx2">
              <a:lumMod val="20000"/>
              <a:lumOff val="80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r>
              <a:rPr lang="de-DE" sz="2000" b="1" dirty="0" smtClean="0">
                <a:solidFill>
                  <a:schemeClr val="accent1"/>
                </a:solidFill>
              </a:rPr>
              <a:t>169</a:t>
            </a:r>
            <a:endParaRPr lang="de-DE" sz="2000" b="1" dirty="0">
              <a:solidFill>
                <a:schemeClr val="accent1"/>
              </a:solidFill>
            </a:endParaRPr>
          </a:p>
        </p:txBody>
      </p:sp>
      <p:sp>
        <p:nvSpPr>
          <p:cNvPr id="12" name="Rechteck 11"/>
          <p:cNvSpPr/>
          <p:nvPr/>
        </p:nvSpPr>
        <p:spPr>
          <a:xfrm>
            <a:off x="7161053" y="3821361"/>
            <a:ext cx="2080597" cy="584775"/>
          </a:xfrm>
          <a:prstGeom prst="rect">
            <a:avLst/>
          </a:prstGeom>
        </p:spPr>
        <p:txBody>
          <a:bodyPr wrap="square">
            <a:spAutoFit/>
          </a:bodyPr>
          <a:lstStyle/>
          <a:p>
            <a:r>
              <a:rPr lang="de-DE" sz="1600" dirty="0"/>
              <a:t>Ausgebildete </a:t>
            </a:r>
            <a:r>
              <a:rPr lang="de-DE" sz="1600" b="1" dirty="0" smtClean="0"/>
              <a:t>befr. </a:t>
            </a:r>
            <a:r>
              <a:rPr lang="de-DE" sz="1600" b="1" dirty="0"/>
              <a:t/>
            </a:r>
            <a:br>
              <a:rPr lang="de-DE" sz="1600" b="1" dirty="0"/>
            </a:br>
            <a:r>
              <a:rPr lang="de-DE" sz="1600" b="1" dirty="0"/>
              <a:t>für &lt; 4 Jahre </a:t>
            </a:r>
            <a:r>
              <a:rPr lang="de-DE" sz="1600" dirty="0" smtClean="0"/>
              <a:t>übern.</a:t>
            </a:r>
            <a:endParaRPr lang="de-DE" sz="1600" dirty="0"/>
          </a:p>
        </p:txBody>
      </p:sp>
      <p:sp>
        <p:nvSpPr>
          <p:cNvPr id="49" name="Rechteck 48"/>
          <p:cNvSpPr/>
          <p:nvPr/>
        </p:nvSpPr>
        <p:spPr bwMode="auto">
          <a:xfrm>
            <a:off x="6456655" y="3775869"/>
            <a:ext cx="704398" cy="684511"/>
          </a:xfrm>
          <a:prstGeom prst="rect">
            <a:avLst/>
          </a:prstGeom>
          <a:solidFill>
            <a:schemeClr val="tx1">
              <a:lumMod val="50000"/>
              <a:lumOff val="50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r>
              <a:rPr lang="de-DE" sz="2000" b="1" dirty="0" smtClean="0">
                <a:solidFill>
                  <a:schemeClr val="bg1">
                    <a:lumMod val="95000"/>
                  </a:schemeClr>
                </a:solidFill>
              </a:rPr>
              <a:t>109</a:t>
            </a:r>
            <a:endParaRPr lang="de-DE" sz="2000" b="1" dirty="0">
              <a:solidFill>
                <a:schemeClr val="bg1">
                  <a:lumMod val="95000"/>
                </a:schemeClr>
              </a:solidFill>
            </a:endParaRPr>
          </a:p>
        </p:txBody>
      </p:sp>
      <p:sp>
        <p:nvSpPr>
          <p:cNvPr id="50" name="Rechteck 49"/>
          <p:cNvSpPr/>
          <p:nvPr/>
        </p:nvSpPr>
        <p:spPr bwMode="auto">
          <a:xfrm>
            <a:off x="6456654" y="2914738"/>
            <a:ext cx="704398" cy="684511"/>
          </a:xfrm>
          <a:prstGeom prst="rect">
            <a:avLst/>
          </a:prstGeom>
          <a:solidFill>
            <a:schemeClr val="tx1">
              <a:lumMod val="50000"/>
              <a:lumOff val="50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r>
              <a:rPr lang="de-DE" sz="2000" b="1" dirty="0" smtClean="0">
                <a:solidFill>
                  <a:schemeClr val="bg1">
                    <a:lumMod val="95000"/>
                  </a:schemeClr>
                </a:solidFill>
              </a:rPr>
              <a:t>39</a:t>
            </a:r>
            <a:endParaRPr lang="de-DE" sz="2000" b="1" dirty="0">
              <a:solidFill>
                <a:schemeClr val="bg1">
                  <a:lumMod val="95000"/>
                </a:schemeClr>
              </a:solidFill>
            </a:endParaRPr>
          </a:p>
        </p:txBody>
      </p:sp>
      <p:sp>
        <p:nvSpPr>
          <p:cNvPr id="48" name="Rechteck 47"/>
          <p:cNvSpPr/>
          <p:nvPr/>
        </p:nvSpPr>
        <p:spPr>
          <a:xfrm>
            <a:off x="7165578" y="2121878"/>
            <a:ext cx="1410486" cy="584775"/>
          </a:xfrm>
          <a:prstGeom prst="rect">
            <a:avLst/>
          </a:prstGeom>
        </p:spPr>
        <p:txBody>
          <a:bodyPr wrap="square">
            <a:spAutoFit/>
          </a:bodyPr>
          <a:lstStyle/>
          <a:p>
            <a:r>
              <a:rPr lang="de-DE" sz="1600" dirty="0" smtClean="0"/>
              <a:t>Ausgebildete </a:t>
            </a:r>
          </a:p>
          <a:p>
            <a:r>
              <a:rPr lang="de-DE" sz="1600" b="1" dirty="0" smtClean="0"/>
              <a:t>entfristet</a:t>
            </a:r>
            <a:endParaRPr lang="de-DE" sz="1600" dirty="0"/>
          </a:p>
        </p:txBody>
      </p:sp>
      <p:sp>
        <p:nvSpPr>
          <p:cNvPr id="51" name="Rechteck 50"/>
          <p:cNvSpPr/>
          <p:nvPr/>
        </p:nvSpPr>
        <p:spPr bwMode="auto">
          <a:xfrm>
            <a:off x="6456654" y="2070296"/>
            <a:ext cx="704398" cy="684511"/>
          </a:xfrm>
          <a:prstGeom prst="rect">
            <a:avLst/>
          </a:prstGeom>
          <a:solidFill>
            <a:schemeClr val="tx1">
              <a:lumMod val="50000"/>
              <a:lumOff val="50000"/>
            </a:schemeClr>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r>
              <a:rPr lang="de-DE" sz="2000" b="1" dirty="0" smtClean="0">
                <a:solidFill>
                  <a:schemeClr val="bg1">
                    <a:lumMod val="95000"/>
                  </a:schemeClr>
                </a:solidFill>
              </a:rPr>
              <a:t>115</a:t>
            </a:r>
            <a:endParaRPr lang="de-DE" sz="2000" b="1" dirty="0">
              <a:solidFill>
                <a:schemeClr val="bg1">
                  <a:lumMod val="95000"/>
                </a:schemeClr>
              </a:solidFill>
            </a:endParaRPr>
          </a:p>
        </p:txBody>
      </p:sp>
      <p:sp>
        <p:nvSpPr>
          <p:cNvPr id="7" name="Rechteck 6"/>
          <p:cNvSpPr/>
          <p:nvPr/>
        </p:nvSpPr>
        <p:spPr>
          <a:xfrm>
            <a:off x="6380453" y="4531232"/>
            <a:ext cx="1117614" cy="307777"/>
          </a:xfrm>
          <a:prstGeom prst="rect">
            <a:avLst/>
          </a:prstGeom>
        </p:spPr>
        <p:txBody>
          <a:bodyPr wrap="none">
            <a:spAutoFit/>
          </a:bodyPr>
          <a:lstStyle/>
          <a:p>
            <a:r>
              <a:rPr lang="de-DE" sz="1400" b="1" dirty="0" smtClean="0">
                <a:solidFill>
                  <a:prstClr val="black"/>
                </a:solidFill>
              </a:rPr>
              <a:t>… und hat:</a:t>
            </a:r>
            <a:endParaRPr lang="de-DE" sz="1400" dirty="0"/>
          </a:p>
        </p:txBody>
      </p:sp>
      <p:cxnSp>
        <p:nvCxnSpPr>
          <p:cNvPr id="30" name="Gerade Verbindung 29"/>
          <p:cNvCxnSpPr/>
          <p:nvPr/>
        </p:nvCxnSpPr>
        <p:spPr bwMode="auto">
          <a:xfrm>
            <a:off x="6505914" y="1908418"/>
            <a:ext cx="2522672" cy="0"/>
          </a:xfrm>
          <a:prstGeom prst="line">
            <a:avLst/>
          </a:prstGeom>
          <a:ln w="19050" cap="rnd">
            <a:solidFill>
              <a:srgbClr val="005087"/>
            </a:solidFill>
            <a:tailEnd type="none"/>
          </a:ln>
        </p:spPr>
        <p:style>
          <a:lnRef idx="1">
            <a:schemeClr val="accent1"/>
          </a:lnRef>
          <a:fillRef idx="0">
            <a:schemeClr val="accent1"/>
          </a:fillRef>
          <a:effectRef idx="0">
            <a:schemeClr val="accent1"/>
          </a:effectRef>
          <a:fontRef idx="minor">
            <a:schemeClr val="tx1"/>
          </a:fontRef>
        </p:style>
      </p:cxnSp>
      <p:grpSp>
        <p:nvGrpSpPr>
          <p:cNvPr id="6" name="Gruppieren 5"/>
          <p:cNvGrpSpPr/>
          <p:nvPr/>
        </p:nvGrpSpPr>
        <p:grpSpPr>
          <a:xfrm>
            <a:off x="2962936" y="1622455"/>
            <a:ext cx="3366840" cy="3884784"/>
            <a:chOff x="6354216" y="1617873"/>
            <a:chExt cx="3366840" cy="3884784"/>
          </a:xfrm>
        </p:grpSpPr>
        <p:sp>
          <p:nvSpPr>
            <p:cNvPr id="22" name="TextBox 28"/>
            <p:cNvSpPr txBox="1"/>
            <p:nvPr>
              <p:custDataLst>
                <p:tags r:id="rId5"/>
              </p:custDataLst>
            </p:nvPr>
          </p:nvSpPr>
          <p:spPr>
            <a:xfrm>
              <a:off x="6354216" y="1617873"/>
              <a:ext cx="2676567" cy="288147"/>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92075" defTabSz="1280160"/>
              <a:r>
                <a:rPr lang="de-DE" sz="1400" b="1" dirty="0" smtClean="0">
                  <a:solidFill>
                    <a:prstClr val="black"/>
                  </a:solidFill>
                </a:rPr>
                <a:t>In 2019 hat RWE Power …</a:t>
              </a:r>
              <a:endParaRPr lang="de-DE" sz="1400" b="1" dirty="0">
                <a:solidFill>
                  <a:prstClr val="black"/>
                </a:solidFill>
              </a:endParaRPr>
            </a:p>
          </p:txBody>
        </p:sp>
        <p:cxnSp>
          <p:nvCxnSpPr>
            <p:cNvPr id="24" name="Gerade Verbindung 23"/>
            <p:cNvCxnSpPr/>
            <p:nvPr/>
          </p:nvCxnSpPr>
          <p:spPr bwMode="auto">
            <a:xfrm>
              <a:off x="6487854" y="1908198"/>
              <a:ext cx="2542929" cy="0"/>
            </a:xfrm>
            <a:prstGeom prst="line">
              <a:avLst/>
            </a:prstGeom>
            <a:ln w="19050" cap="rnd">
              <a:solidFill>
                <a:srgbClr val="005087"/>
              </a:solidFill>
              <a:tailEnd type="none"/>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6462837" y="2070132"/>
              <a:ext cx="2119410" cy="684511"/>
              <a:chOff x="1634848" y="4858822"/>
              <a:chExt cx="2119409" cy="684511"/>
            </a:xfrm>
          </p:grpSpPr>
          <p:sp>
            <p:nvSpPr>
              <p:cNvPr id="42" name="Rechteck 41"/>
              <p:cNvSpPr/>
              <p:nvPr/>
            </p:nvSpPr>
            <p:spPr>
              <a:xfrm>
                <a:off x="2343772" y="4910404"/>
                <a:ext cx="1410485" cy="584775"/>
              </a:xfrm>
              <a:prstGeom prst="rect">
                <a:avLst/>
              </a:prstGeom>
            </p:spPr>
            <p:txBody>
              <a:bodyPr wrap="square">
                <a:spAutoFit/>
              </a:bodyPr>
              <a:lstStyle/>
              <a:p>
                <a:r>
                  <a:rPr lang="de-DE" sz="1600" dirty="0" smtClean="0"/>
                  <a:t>Ausgebildete </a:t>
                </a:r>
              </a:p>
              <a:p>
                <a:r>
                  <a:rPr lang="de-DE" sz="1600" b="1" dirty="0" smtClean="0"/>
                  <a:t>entfristet</a:t>
                </a:r>
                <a:endParaRPr lang="de-DE" sz="1600" dirty="0"/>
              </a:p>
            </p:txBody>
          </p:sp>
          <p:sp>
            <p:nvSpPr>
              <p:cNvPr id="43" name="Rechteck 42"/>
              <p:cNvSpPr/>
              <p:nvPr/>
            </p:nvSpPr>
            <p:spPr bwMode="auto">
              <a:xfrm>
                <a:off x="1634848" y="4858822"/>
                <a:ext cx="704398" cy="684511"/>
              </a:xfrm>
              <a:prstGeom prst="rect">
                <a:avLst/>
              </a:prstGeom>
              <a:solidFill>
                <a:srgbClr val="005087"/>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r>
                  <a:rPr lang="de-DE" sz="2000" b="1" dirty="0" smtClean="0">
                    <a:solidFill>
                      <a:schemeClr val="bg1"/>
                    </a:solidFill>
                  </a:rPr>
                  <a:t>37</a:t>
                </a:r>
                <a:endParaRPr lang="de-DE" sz="2000" b="1" dirty="0">
                  <a:solidFill>
                    <a:schemeClr val="bg1"/>
                  </a:solidFill>
                </a:endParaRPr>
              </a:p>
            </p:txBody>
          </p:sp>
        </p:grpSp>
        <p:grpSp>
          <p:nvGrpSpPr>
            <p:cNvPr id="26" name="Gruppieren 25"/>
            <p:cNvGrpSpPr/>
            <p:nvPr/>
          </p:nvGrpSpPr>
          <p:grpSpPr>
            <a:xfrm>
              <a:off x="6458800" y="2914518"/>
              <a:ext cx="3262256" cy="684511"/>
              <a:chOff x="4539973" y="3790105"/>
              <a:chExt cx="3262255" cy="684511"/>
            </a:xfrm>
          </p:grpSpPr>
          <p:sp>
            <p:nvSpPr>
              <p:cNvPr id="27" name="Rechteck 26"/>
              <p:cNvSpPr/>
              <p:nvPr/>
            </p:nvSpPr>
            <p:spPr>
              <a:xfrm>
                <a:off x="5239752" y="3835597"/>
                <a:ext cx="2562476" cy="584775"/>
              </a:xfrm>
              <a:prstGeom prst="rect">
                <a:avLst/>
              </a:prstGeom>
            </p:spPr>
            <p:txBody>
              <a:bodyPr wrap="square">
                <a:spAutoFit/>
              </a:bodyPr>
              <a:lstStyle/>
              <a:p>
                <a:r>
                  <a:rPr lang="de-DE" sz="1600" dirty="0"/>
                  <a:t>Ausgebildete </a:t>
                </a:r>
                <a:r>
                  <a:rPr lang="de-DE" sz="1600" b="1" dirty="0" smtClean="0"/>
                  <a:t>befristet </a:t>
                </a:r>
                <a:r>
                  <a:rPr lang="de-DE" sz="1600" b="1" dirty="0"/>
                  <a:t/>
                </a:r>
                <a:br>
                  <a:rPr lang="de-DE" sz="1600" b="1" dirty="0"/>
                </a:br>
                <a:r>
                  <a:rPr lang="de-DE" sz="1600" b="1" dirty="0"/>
                  <a:t>für 4 Jahre </a:t>
                </a:r>
                <a:r>
                  <a:rPr lang="de-DE" sz="1600" dirty="0" smtClean="0"/>
                  <a:t>übernommen</a:t>
                </a:r>
                <a:endParaRPr lang="de-DE" sz="1600" dirty="0"/>
              </a:p>
            </p:txBody>
          </p:sp>
          <p:sp>
            <p:nvSpPr>
              <p:cNvPr id="28" name="Rechteck 27"/>
              <p:cNvSpPr/>
              <p:nvPr/>
            </p:nvSpPr>
            <p:spPr bwMode="auto">
              <a:xfrm>
                <a:off x="4539973" y="3790105"/>
                <a:ext cx="704398" cy="684511"/>
              </a:xfrm>
              <a:prstGeom prst="rect">
                <a:avLst/>
              </a:prstGeom>
              <a:solidFill>
                <a:srgbClr val="005087"/>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r>
                  <a:rPr lang="de-DE" sz="2000" b="1" dirty="0" smtClean="0">
                    <a:solidFill>
                      <a:schemeClr val="bg1"/>
                    </a:solidFill>
                  </a:rPr>
                  <a:t>11</a:t>
                </a:r>
                <a:endParaRPr lang="de-DE" sz="2000" b="1" dirty="0">
                  <a:solidFill>
                    <a:schemeClr val="bg1"/>
                  </a:solidFill>
                </a:endParaRPr>
              </a:p>
            </p:txBody>
          </p:sp>
        </p:grpSp>
        <p:sp>
          <p:nvSpPr>
            <p:cNvPr id="29" name="Rechteck 28"/>
            <p:cNvSpPr/>
            <p:nvPr/>
          </p:nvSpPr>
          <p:spPr>
            <a:xfrm>
              <a:off x="7180822" y="4869196"/>
              <a:ext cx="1601882" cy="584775"/>
            </a:xfrm>
            <a:prstGeom prst="rect">
              <a:avLst/>
            </a:prstGeom>
          </p:spPr>
          <p:txBody>
            <a:bodyPr wrap="square">
              <a:spAutoFit/>
            </a:bodyPr>
            <a:lstStyle/>
            <a:p>
              <a:r>
                <a:rPr lang="de-DE" altLang="de-DE" sz="1600" dirty="0" smtClean="0"/>
                <a:t>Auszubildende </a:t>
              </a:r>
            </a:p>
            <a:p>
              <a:r>
                <a:rPr lang="de-DE" altLang="de-DE" sz="1600" dirty="0" smtClean="0"/>
                <a:t>einzustellen</a:t>
              </a:r>
              <a:endParaRPr lang="de-DE" sz="1600" dirty="0"/>
            </a:p>
          </p:txBody>
        </p:sp>
        <p:sp>
          <p:nvSpPr>
            <p:cNvPr id="31" name="Rechteck 30"/>
            <p:cNvSpPr/>
            <p:nvPr/>
          </p:nvSpPr>
          <p:spPr bwMode="auto">
            <a:xfrm>
              <a:off x="6465157" y="4818146"/>
              <a:ext cx="704399" cy="684511"/>
            </a:xfrm>
            <a:prstGeom prst="rect">
              <a:avLst/>
            </a:prstGeom>
            <a:solidFill>
              <a:srgbClr val="34A9E1"/>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r>
                <a:rPr lang="de-DE" sz="2000" b="1" dirty="0" smtClean="0">
                  <a:solidFill>
                    <a:schemeClr val="bg1"/>
                  </a:solidFill>
                </a:rPr>
                <a:t>167</a:t>
              </a:r>
              <a:endParaRPr lang="de-DE" sz="2000" b="1" dirty="0">
                <a:solidFill>
                  <a:schemeClr val="bg1"/>
                </a:solidFill>
              </a:endParaRPr>
            </a:p>
          </p:txBody>
        </p:sp>
        <p:sp>
          <p:nvSpPr>
            <p:cNvPr id="32" name="Rechteck 31"/>
            <p:cNvSpPr/>
            <p:nvPr/>
          </p:nvSpPr>
          <p:spPr>
            <a:xfrm>
              <a:off x="6401523" y="4526650"/>
              <a:ext cx="1276311" cy="307777"/>
            </a:xfrm>
            <a:prstGeom prst="rect">
              <a:avLst/>
            </a:prstGeom>
          </p:spPr>
          <p:txBody>
            <a:bodyPr wrap="none">
              <a:spAutoFit/>
            </a:bodyPr>
            <a:lstStyle/>
            <a:p>
              <a:r>
                <a:rPr lang="de-DE" sz="1400" b="1" dirty="0" smtClean="0">
                  <a:solidFill>
                    <a:prstClr val="black"/>
                  </a:solidFill>
                </a:rPr>
                <a:t>… und plant:</a:t>
              </a:r>
              <a:endParaRPr lang="de-DE" sz="1400" dirty="0"/>
            </a:p>
          </p:txBody>
        </p:sp>
      </p:grpSp>
      <p:grpSp>
        <p:nvGrpSpPr>
          <p:cNvPr id="36" name="Gruppieren 35"/>
          <p:cNvGrpSpPr/>
          <p:nvPr/>
        </p:nvGrpSpPr>
        <p:grpSpPr>
          <a:xfrm>
            <a:off x="3071557" y="3775648"/>
            <a:ext cx="3394360" cy="684511"/>
            <a:chOff x="4539973" y="2894863"/>
            <a:chExt cx="3394359" cy="684511"/>
          </a:xfrm>
        </p:grpSpPr>
        <p:sp>
          <p:nvSpPr>
            <p:cNvPr id="37" name="Rechteck 36"/>
            <p:cNvSpPr/>
            <p:nvPr/>
          </p:nvSpPr>
          <p:spPr>
            <a:xfrm>
              <a:off x="5244371" y="2940355"/>
              <a:ext cx="2689961" cy="584775"/>
            </a:xfrm>
            <a:prstGeom prst="rect">
              <a:avLst/>
            </a:prstGeom>
          </p:spPr>
          <p:txBody>
            <a:bodyPr wrap="square">
              <a:spAutoFit/>
            </a:bodyPr>
            <a:lstStyle/>
            <a:p>
              <a:r>
                <a:rPr lang="de-DE" sz="1600" dirty="0"/>
                <a:t>Ausgebildete </a:t>
              </a:r>
              <a:r>
                <a:rPr lang="de-DE" sz="1600" b="1" dirty="0" smtClean="0"/>
                <a:t>befristet</a:t>
              </a:r>
              <a:r>
                <a:rPr lang="de-DE" sz="1600" b="1" dirty="0"/>
                <a:t/>
              </a:r>
              <a:br>
                <a:rPr lang="de-DE" sz="1600" b="1" dirty="0"/>
              </a:br>
              <a:r>
                <a:rPr lang="de-DE" sz="1600" b="1" dirty="0"/>
                <a:t>für &lt; 4 Jahre </a:t>
              </a:r>
              <a:r>
                <a:rPr lang="de-DE" sz="1600" dirty="0" smtClean="0"/>
                <a:t>übernommen</a:t>
              </a:r>
              <a:endParaRPr lang="de-DE" sz="1600" dirty="0"/>
            </a:p>
          </p:txBody>
        </p:sp>
        <p:sp>
          <p:nvSpPr>
            <p:cNvPr id="38" name="Rechteck 37"/>
            <p:cNvSpPr/>
            <p:nvPr/>
          </p:nvSpPr>
          <p:spPr bwMode="auto">
            <a:xfrm>
              <a:off x="4539973" y="2894863"/>
              <a:ext cx="704398" cy="684511"/>
            </a:xfrm>
            <a:prstGeom prst="rect">
              <a:avLst/>
            </a:prstGeom>
            <a:solidFill>
              <a:srgbClr val="005087"/>
            </a:solidFill>
            <a:ln w="6350"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algn="ctr"/>
              <a:r>
                <a:rPr lang="de-DE" sz="2000" b="1" dirty="0" smtClean="0">
                  <a:solidFill>
                    <a:schemeClr val="bg1"/>
                  </a:solidFill>
                </a:rPr>
                <a:t>62</a:t>
              </a:r>
              <a:endParaRPr lang="de-DE" sz="2000" b="1" dirty="0">
                <a:solidFill>
                  <a:schemeClr val="bg1"/>
                </a:solidFill>
              </a:endParaRPr>
            </a:p>
          </p:txBody>
        </p:sp>
      </p:grpSp>
    </p:spTree>
    <p:extLst>
      <p:ext uri="{BB962C8B-B14F-4D97-AF65-F5344CB8AC3E}">
        <p14:creationId xmlns:p14="http://schemas.microsoft.com/office/powerpoint/2010/main" val="3047153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8" y="2"/>
          <a:ext cx="158751" cy="158751"/>
        </p:xfrm>
        <a:graphic>
          <a:graphicData uri="http://schemas.openxmlformats.org/presentationml/2006/ole">
            <mc:AlternateContent xmlns:mc="http://schemas.openxmlformats.org/markup-compatibility/2006">
              <mc:Choice xmlns:v="urn:schemas-microsoft-com:vml" Requires="v">
                <p:oleObj spid="_x0000_s9227"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10"/>
                      <a:stretch>
                        <a:fillRect/>
                      </a:stretch>
                    </p:blipFill>
                    <p:spPr>
                      <a:xfrm>
                        <a:off x="18" y="2"/>
                        <a:ext cx="158751" cy="158751"/>
                      </a:xfrm>
                      <a:prstGeom prst="rect">
                        <a:avLst/>
                      </a:prstGeom>
                    </p:spPr>
                  </p:pic>
                </p:oleObj>
              </mc:Fallback>
            </mc:AlternateContent>
          </a:graphicData>
        </a:graphic>
      </p:graphicFrame>
      <p:sp>
        <p:nvSpPr>
          <p:cNvPr id="19" name="Titel 3"/>
          <p:cNvSpPr txBox="1">
            <a:spLocks/>
          </p:cNvSpPr>
          <p:nvPr>
            <p:custDataLst>
              <p:tags r:id="rId3"/>
            </p:custDataLst>
          </p:nvPr>
        </p:nvSpPr>
        <p:spPr bwMode="gray">
          <a:xfrm>
            <a:off x="247382" y="355957"/>
            <a:ext cx="8594470" cy="71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54000" rIns="0" bIns="0" numCol="1" rtlCol="0" anchor="t" anchorCtr="0" compatLnSpc="1">
            <a:prstTxWarp prst="textNoShape">
              <a:avLst/>
            </a:prstTxWarp>
            <a:spAutoFit/>
          </a:bodyPr>
          <a:lstStyle>
            <a:lvl1pPr defTabSz="914377" eaLnBrk="1" hangingPunct="1">
              <a:lnSpc>
                <a:spcPct val="90000"/>
              </a:lnSpc>
              <a:defRPr sz="2400" b="1">
                <a:solidFill>
                  <a:srgbClr val="005087"/>
                </a:solidFill>
                <a:latin typeface="+mj-lt"/>
                <a:ea typeface="+mj-ea"/>
                <a:cs typeface="+mj-cs"/>
              </a:defRPr>
            </a:lvl1pPr>
            <a:lvl2pPr eaLnBrk="1" hangingPunct="1">
              <a:defRPr sz="3100">
                <a:solidFill>
                  <a:schemeClr val="accent1"/>
                </a:solidFill>
                <a:latin typeface="Arial" pitchFamily="23" charset="0"/>
                <a:ea typeface="ＭＳ Ｐゴシック" pitchFamily="-111" charset="-128"/>
                <a:cs typeface="ＭＳ Ｐゴシック" pitchFamily="-111" charset="-128"/>
              </a:defRPr>
            </a:lvl2pPr>
            <a:lvl3pPr eaLnBrk="1" hangingPunct="1">
              <a:defRPr sz="3100">
                <a:solidFill>
                  <a:schemeClr val="accent1"/>
                </a:solidFill>
                <a:latin typeface="Arial" pitchFamily="23" charset="0"/>
                <a:ea typeface="ＭＳ Ｐゴシック" pitchFamily="-111" charset="-128"/>
                <a:cs typeface="ＭＳ Ｐゴシック" pitchFamily="-111" charset="-128"/>
              </a:defRPr>
            </a:lvl3pPr>
            <a:lvl4pPr eaLnBrk="1" hangingPunct="1">
              <a:defRPr sz="3100">
                <a:solidFill>
                  <a:schemeClr val="accent1"/>
                </a:solidFill>
                <a:latin typeface="Arial" pitchFamily="23" charset="0"/>
                <a:ea typeface="ＭＳ Ｐゴシック" pitchFamily="-111" charset="-128"/>
                <a:cs typeface="ＭＳ Ｐゴシック" pitchFamily="-111" charset="-128"/>
              </a:defRPr>
            </a:lvl4pPr>
            <a:lvl5pPr eaLnBrk="1" hangingPunct="1">
              <a:defRPr sz="3100">
                <a:solidFill>
                  <a:schemeClr val="accent1"/>
                </a:solidFill>
                <a:latin typeface="Arial" pitchFamily="23" charset="0"/>
                <a:ea typeface="ＭＳ Ｐゴシック" pitchFamily="-111" charset="-128"/>
                <a:cs typeface="ＭＳ Ｐゴシック" pitchFamily="-111" charset="-128"/>
              </a:defRPr>
            </a:lvl5pPr>
            <a:lvl6pPr marL="536433" fontAlgn="base">
              <a:spcBef>
                <a:spcPct val="0"/>
              </a:spcBef>
              <a:spcAft>
                <a:spcPct val="0"/>
              </a:spcAft>
              <a:defRPr sz="3500">
                <a:solidFill>
                  <a:schemeClr val="accent1"/>
                </a:solidFill>
                <a:latin typeface="Arial" pitchFamily="23" charset="0"/>
              </a:defRPr>
            </a:lvl6pPr>
            <a:lvl7pPr marL="1072866" fontAlgn="base">
              <a:spcBef>
                <a:spcPct val="0"/>
              </a:spcBef>
              <a:spcAft>
                <a:spcPct val="0"/>
              </a:spcAft>
              <a:defRPr sz="3500">
                <a:solidFill>
                  <a:schemeClr val="accent1"/>
                </a:solidFill>
                <a:latin typeface="Arial" pitchFamily="23" charset="0"/>
              </a:defRPr>
            </a:lvl7pPr>
            <a:lvl8pPr marL="1609298" fontAlgn="base">
              <a:spcBef>
                <a:spcPct val="0"/>
              </a:spcBef>
              <a:spcAft>
                <a:spcPct val="0"/>
              </a:spcAft>
              <a:defRPr sz="3500">
                <a:solidFill>
                  <a:schemeClr val="accent1"/>
                </a:solidFill>
                <a:latin typeface="Arial" pitchFamily="23" charset="0"/>
              </a:defRPr>
            </a:lvl8pPr>
            <a:lvl9pPr marL="2145731" fontAlgn="base">
              <a:spcBef>
                <a:spcPct val="0"/>
              </a:spcBef>
              <a:spcAft>
                <a:spcPct val="0"/>
              </a:spcAft>
              <a:defRPr sz="3500">
                <a:solidFill>
                  <a:schemeClr val="accent1"/>
                </a:solidFill>
                <a:latin typeface="Arial" pitchFamily="23" charset="0"/>
              </a:defRPr>
            </a:lvl9pPr>
          </a:lstStyle>
          <a:p>
            <a:r>
              <a:rPr lang="de-DE" dirty="0" smtClean="0"/>
              <a:t>Die Ausbildung </a:t>
            </a:r>
            <a:r>
              <a:rPr lang="de-DE" dirty="0"/>
              <a:t>sichert </a:t>
            </a:r>
            <a:r>
              <a:rPr lang="de-DE" dirty="0" smtClean="0"/>
              <a:t>die Betriebsfähigkeit durch qualifizierten Nachwuchs bei RWE Power</a:t>
            </a:r>
            <a:endParaRPr lang="de-DE" dirty="0"/>
          </a:p>
        </p:txBody>
      </p:sp>
      <p:sp>
        <p:nvSpPr>
          <p:cNvPr id="26" name="Rechteck 25"/>
          <p:cNvSpPr/>
          <p:nvPr>
            <p:custDataLst>
              <p:tags r:id="rId4"/>
            </p:custDataLst>
          </p:nvPr>
        </p:nvSpPr>
        <p:spPr bwMode="auto">
          <a:xfrm>
            <a:off x="5783707" y="1700211"/>
            <a:ext cx="3259330" cy="2000521"/>
          </a:xfrm>
          <a:prstGeom prst="rect">
            <a:avLst/>
          </a:prstGeom>
          <a:noFill/>
          <a:ln>
            <a:noFill/>
          </a:ln>
        </p:spPr>
        <p:txBody>
          <a:bodyPr wrap="square" lIns="120000" tIns="62400" rIns="120000" bIns="62400" anchor="t"/>
          <a:lstStyle/>
          <a:p>
            <a:pPr marL="182563" lvl="1" indent="-182563">
              <a:spcAft>
                <a:spcPts val="1200"/>
              </a:spcAft>
              <a:buClr>
                <a:schemeClr val="accent1"/>
              </a:buClr>
              <a:buFont typeface="Arial" panose="020B0604020202020204" pitchFamily="34" charset="0"/>
              <a:buChar char="&gt;"/>
              <a:tabLst>
                <a:tab pos="180975" algn="l"/>
              </a:tabLst>
            </a:pPr>
            <a:r>
              <a:rPr lang="de-DE" sz="1600" dirty="0" smtClean="0"/>
              <a:t>In 2018: </a:t>
            </a:r>
            <a:r>
              <a:rPr lang="de-DE" sz="1600" b="1" dirty="0" smtClean="0"/>
              <a:t>10 </a:t>
            </a:r>
            <a:r>
              <a:rPr lang="de-DE" sz="1600" b="1" dirty="0"/>
              <a:t>Plätze für einen neuen 2jährigen </a:t>
            </a:r>
            <a:r>
              <a:rPr lang="de-DE" sz="1600" b="1" dirty="0" smtClean="0"/>
              <a:t>Ausbildungs-beruf</a:t>
            </a:r>
            <a:r>
              <a:rPr lang="de-DE" sz="1600" dirty="0" smtClean="0"/>
              <a:t> </a:t>
            </a:r>
            <a:r>
              <a:rPr lang="de-DE" sz="1600" i="1" dirty="0" smtClean="0">
                <a:solidFill>
                  <a:prstClr val="black"/>
                </a:solidFill>
                <a:ea typeface="ＭＳ Ｐゴシック" pitchFamily="-111" charset="-128"/>
                <a:cs typeface="ＭＳ Ｐゴシック" pitchFamily="-111" charset="-128"/>
              </a:rPr>
              <a:t>„Fachkraft </a:t>
            </a:r>
            <a:r>
              <a:rPr lang="de-DE" sz="1600" i="1" dirty="0">
                <a:solidFill>
                  <a:prstClr val="black"/>
                </a:solidFill>
                <a:ea typeface="ＭＳ Ｐゴシック" pitchFamily="-111" charset="-128"/>
                <a:cs typeface="ＭＳ Ｐゴシック" pitchFamily="-111" charset="-128"/>
              </a:rPr>
              <a:t>für Metalltechnik, Fachrichtung </a:t>
            </a:r>
            <a:r>
              <a:rPr lang="de-DE" sz="1600" i="1" dirty="0" smtClean="0">
                <a:solidFill>
                  <a:prstClr val="black"/>
                </a:solidFill>
                <a:ea typeface="ＭＳ Ｐゴシック" pitchFamily="-111" charset="-128"/>
                <a:cs typeface="ＭＳ Ｐゴシック" pitchFamily="-111" charset="-128"/>
              </a:rPr>
              <a:t>Montagetechnik</a:t>
            </a:r>
            <a:r>
              <a:rPr lang="de-DE" sz="1600" dirty="0" smtClean="0">
                <a:solidFill>
                  <a:prstClr val="black"/>
                </a:solidFill>
                <a:ea typeface="ＭＳ Ｐゴシック" pitchFamily="-111" charset="-128"/>
                <a:cs typeface="ＭＳ Ｐゴシック" pitchFamily="-111" charset="-128"/>
              </a:rPr>
              <a:t>“  besetzt</a:t>
            </a:r>
            <a:endParaRPr lang="de-DE" sz="1600" dirty="0" smtClean="0"/>
          </a:p>
          <a:p>
            <a:pPr marL="182563" lvl="1" indent="-182563">
              <a:spcAft>
                <a:spcPts val="1200"/>
              </a:spcAft>
              <a:buClr>
                <a:schemeClr val="accent1"/>
              </a:buClr>
              <a:buFont typeface="Arial" panose="020B0604020202020204" pitchFamily="34" charset="0"/>
              <a:buChar char="&gt;"/>
              <a:tabLst>
                <a:tab pos="180975" algn="l"/>
              </a:tabLst>
            </a:pPr>
            <a:r>
              <a:rPr lang="de-DE" sz="1600" dirty="0" smtClean="0"/>
              <a:t>In 2019: Einstellung von 17 Auszubildenden</a:t>
            </a:r>
            <a:endParaRPr lang="de-DE" sz="1600" dirty="0"/>
          </a:p>
        </p:txBody>
      </p:sp>
      <p:pic>
        <p:nvPicPr>
          <p:cNvPr id="27"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50233" y="1693058"/>
            <a:ext cx="1133475" cy="1563108"/>
          </a:xfrm>
          <a:prstGeom prst="roundRect">
            <a:avLst>
              <a:gd name="adj" fmla="val 4460"/>
            </a:avLst>
          </a:prstGeom>
          <a:solidFill>
            <a:srgbClr val="FFFFFF">
              <a:shade val="85000"/>
            </a:srgbClr>
          </a:solidFill>
          <a:ln w="9525">
            <a:solidFill>
              <a:schemeClr val="tx1"/>
            </a:solidFill>
            <a:miter lim="800000"/>
            <a:headEnd/>
            <a:tailEnd/>
          </a:ln>
          <a:effectLst>
            <a:outerShdw blurRad="50800" dist="38100" dir="2700000" algn="tl" rotWithShape="0">
              <a:prstClr val="black">
                <a:alpha val="40000"/>
              </a:prstClr>
            </a:outerShdw>
          </a:effectLst>
          <a:extLst/>
        </p:spPr>
      </p:pic>
      <p:grpSp>
        <p:nvGrpSpPr>
          <p:cNvPr id="18" name="Gruppieren 17"/>
          <p:cNvGrpSpPr/>
          <p:nvPr/>
        </p:nvGrpSpPr>
        <p:grpSpPr>
          <a:xfrm>
            <a:off x="4658176" y="4188248"/>
            <a:ext cx="4320360" cy="1585049"/>
            <a:chOff x="257430" y="1693058"/>
            <a:chExt cx="4210976" cy="1585049"/>
          </a:xfrm>
        </p:grpSpPr>
        <p:pic>
          <p:nvPicPr>
            <p:cNvPr id="22"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7430" y="1700213"/>
              <a:ext cx="1133475" cy="1523799"/>
            </a:xfrm>
            <a:prstGeom prst="roundRect">
              <a:avLst>
                <a:gd name="adj" fmla="val 4460"/>
              </a:avLst>
            </a:prstGeom>
            <a:solidFill>
              <a:srgbClr val="FFFFFF">
                <a:shade val="85000"/>
              </a:srgbClr>
            </a:solidFill>
            <a:ln w="9525">
              <a:solidFill>
                <a:schemeClr val="tx1"/>
              </a:solidFill>
              <a:miter lim="800000"/>
              <a:headEnd/>
              <a:tailEnd/>
            </a:ln>
            <a:effectLst>
              <a:outerShdw blurRad="50800" dist="38100" dir="2700000" algn="tl" rotWithShape="0">
                <a:prstClr val="black">
                  <a:alpha val="40000"/>
                </a:prstClr>
              </a:outerShdw>
            </a:effectLst>
            <a:extLst/>
          </p:spPr>
        </p:pic>
        <p:sp>
          <p:nvSpPr>
            <p:cNvPr id="28" name="Rechteck 27"/>
            <p:cNvSpPr/>
            <p:nvPr/>
          </p:nvSpPr>
          <p:spPr>
            <a:xfrm>
              <a:off x="1395472" y="1693058"/>
              <a:ext cx="3072934" cy="1585049"/>
            </a:xfrm>
            <a:prstGeom prst="rect">
              <a:avLst/>
            </a:prstGeom>
          </p:spPr>
          <p:txBody>
            <a:bodyPr wrap="square">
              <a:spAutoFit/>
            </a:bodyPr>
            <a:lstStyle/>
            <a:p>
              <a:pPr marL="182563" indent="-182563">
                <a:spcAft>
                  <a:spcPts val="600"/>
                </a:spcAft>
                <a:buClr>
                  <a:srgbClr val="005087"/>
                </a:buClr>
                <a:buFont typeface="Arial" panose="020B0604020202020204" pitchFamily="34" charset="0"/>
                <a:buChar char="&gt;"/>
              </a:pPr>
              <a:r>
                <a:rPr lang="de-DE" sz="1600" dirty="0" smtClean="0"/>
                <a:t>In 2018 </a:t>
              </a:r>
              <a:r>
                <a:rPr lang="de-DE" sz="1600" dirty="0"/>
                <a:t>und </a:t>
              </a:r>
              <a:r>
                <a:rPr lang="de-DE" sz="1600" dirty="0" smtClean="0"/>
                <a:t>2019: </a:t>
              </a:r>
              <a:r>
                <a:rPr lang="de-DE" sz="1600" b="1" dirty="0" smtClean="0"/>
                <a:t>jeweils etwa </a:t>
              </a:r>
              <a:r>
                <a:rPr lang="de-DE" sz="1600" b="1" dirty="0"/>
                <a:t>35 </a:t>
              </a:r>
              <a:r>
                <a:rPr lang="de-DE" sz="1600" b="1" dirty="0" smtClean="0"/>
                <a:t>zusätzliche Ausbildungsplätze</a:t>
              </a:r>
            </a:p>
            <a:p>
              <a:pPr marL="182563" indent="-182563">
                <a:spcAft>
                  <a:spcPts val="600"/>
                </a:spcAft>
                <a:buClr>
                  <a:srgbClr val="005087"/>
                </a:buClr>
                <a:buFont typeface="Arial" panose="020B0604020202020204" pitchFamily="34" charset="0"/>
                <a:buChar char="&gt;"/>
              </a:pPr>
              <a:r>
                <a:rPr lang="de-DE" sz="1600" dirty="0" smtClean="0"/>
                <a:t>In 2018: gesamt 169 Ausbildungsplätze plus kauf-</a:t>
              </a:r>
              <a:r>
                <a:rPr lang="de-DE" sz="1600" dirty="0" err="1" smtClean="0"/>
                <a:t>männische</a:t>
              </a:r>
              <a:r>
                <a:rPr lang="de-DE" sz="1600" dirty="0" smtClean="0"/>
                <a:t> Ausbildung in 2019 </a:t>
              </a:r>
              <a:r>
                <a:rPr lang="de-DE" sz="1200" dirty="0" smtClean="0"/>
                <a:t>(RWE Power inkl. RV und Kernenergie)</a:t>
              </a:r>
              <a:endParaRPr lang="de-DE" sz="1200" dirty="0"/>
            </a:p>
          </p:txBody>
        </p:sp>
      </p:grpSp>
      <p:pic>
        <p:nvPicPr>
          <p:cNvPr id="29"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7429" y="4196248"/>
            <a:ext cx="1133475" cy="1523799"/>
          </a:xfrm>
          <a:prstGeom prst="roundRect">
            <a:avLst>
              <a:gd name="adj" fmla="val 4460"/>
            </a:avLst>
          </a:prstGeom>
          <a:solidFill>
            <a:srgbClr val="FFFFFF">
              <a:shade val="85000"/>
            </a:srgbClr>
          </a:solidFill>
          <a:ln w="9525">
            <a:solidFill>
              <a:schemeClr val="tx1"/>
            </a:solidFill>
            <a:miter lim="800000"/>
            <a:headEnd/>
            <a:tailEnd/>
          </a:ln>
          <a:effectLst>
            <a:outerShdw blurRad="50800" dist="38100" dir="2700000" algn="tl" rotWithShape="0">
              <a:prstClr val="black">
                <a:alpha val="40000"/>
              </a:prstClr>
            </a:outerShdw>
          </a:effectLst>
          <a:extLst/>
        </p:spPr>
      </p:pic>
      <p:pic>
        <p:nvPicPr>
          <p:cNvPr id="30" name="Picture 2" descr="I:\RWE-POWER\H-P\PHS-EA\FACHTHEMEN\Logos und Grafiken\Jobkarten\Jobkarten neues CD 2017\Bilder neue Jobkarten CD 2017\ZZ-Finale JPEG's Jobkarten-Schnitt\Industriekauffrau.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2597" t="14216" r="24800" b="-1560"/>
          <a:stretch/>
        </p:blipFill>
        <p:spPr bwMode="auto">
          <a:xfrm>
            <a:off x="298649" y="4676381"/>
            <a:ext cx="900000" cy="899884"/>
          </a:xfrm>
          <a:prstGeom prst="rect">
            <a:avLst/>
          </a:prstGeom>
          <a:noFill/>
          <a:extLst>
            <a:ext uri="{909E8E84-426E-40DD-AFC4-6F175D3DCCD1}">
              <a14:hiddenFill xmlns:a14="http://schemas.microsoft.com/office/drawing/2010/main">
                <a:solidFill>
                  <a:srgbClr val="FFFFFF"/>
                </a:solidFill>
              </a14:hiddenFill>
            </a:ext>
          </a:extLst>
        </p:spPr>
      </p:pic>
      <p:sp>
        <p:nvSpPr>
          <p:cNvPr id="31" name="Ellipse 30"/>
          <p:cNvSpPr/>
          <p:nvPr/>
        </p:nvSpPr>
        <p:spPr>
          <a:xfrm rot="721643">
            <a:off x="333591" y="5151284"/>
            <a:ext cx="252000" cy="252000"/>
          </a:xfrm>
          <a:prstGeom prst="ellipse">
            <a:avLst/>
          </a:prstGeom>
          <a:solidFill>
            <a:srgbClr val="14B496"/>
          </a:solidFill>
          <a:ln>
            <a:noFill/>
          </a:ln>
        </p:spPr>
        <p:txBody>
          <a:bodyPr wrap="square" lIns="0" tIns="0" rIns="0" bIns="0" rtlCol="0" anchor="ctr"/>
          <a:lstStyle/>
          <a:p>
            <a:pPr algn="ctr" defTabSz="1038883" fontAlgn="auto">
              <a:spcBef>
                <a:spcPts val="0"/>
              </a:spcBef>
              <a:spcAft>
                <a:spcPts val="0"/>
              </a:spcAft>
              <a:tabLst>
                <a:tab pos="4000500" algn="r"/>
              </a:tabLst>
            </a:pPr>
            <a:r>
              <a:rPr lang="de-DE" sz="400" b="1" dirty="0" smtClean="0">
                <a:solidFill>
                  <a:srgbClr val="FFFFFF"/>
                </a:solidFill>
                <a:latin typeface="Arial"/>
                <a:ea typeface="+mn-ea"/>
              </a:rPr>
              <a:t>Ab  2019</a:t>
            </a:r>
          </a:p>
        </p:txBody>
      </p:sp>
      <p:sp>
        <p:nvSpPr>
          <p:cNvPr id="32" name="Textfeld 31"/>
          <p:cNvSpPr txBox="1"/>
          <p:nvPr/>
        </p:nvSpPr>
        <p:spPr>
          <a:xfrm>
            <a:off x="298649" y="4239378"/>
            <a:ext cx="914400" cy="159549"/>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none" lIns="0" tIns="0" rIns="90000" bIns="0" numCol="1" spcCol="0" rtlCol="0" fromWordArt="0" anchor="t" anchorCtr="0" forceAA="0" compatLnSpc="1">
            <a:prstTxWarp prst="textNoShape">
              <a:avLst/>
            </a:prstTxWarp>
            <a:noAutofit/>
          </a:bodyPr>
          <a:lstStyle/>
          <a:p>
            <a:pPr algn="l"/>
            <a:r>
              <a:rPr lang="de-DE" sz="550" b="1" dirty="0" smtClean="0">
                <a:solidFill>
                  <a:srgbClr val="34A9E1"/>
                </a:solidFill>
                <a:latin typeface="RWE" panose="02000506060000020004" pitchFamily="2" charset="0"/>
              </a:rPr>
              <a:t>Macher der Zukunft: </a:t>
            </a:r>
          </a:p>
          <a:p>
            <a:pPr algn="l"/>
            <a:r>
              <a:rPr lang="de-DE" sz="550" b="1" dirty="0" smtClean="0">
                <a:solidFill>
                  <a:srgbClr val="34A9E1"/>
                </a:solidFill>
                <a:latin typeface="RWE" panose="02000506060000020004" pitchFamily="2" charset="0"/>
              </a:rPr>
              <a:t>Werde </a:t>
            </a:r>
            <a:r>
              <a:rPr lang="de-DE" sz="550" b="1" u="sng" dirty="0" smtClean="0">
                <a:solidFill>
                  <a:srgbClr val="34A9E1"/>
                </a:solidFill>
                <a:latin typeface="RWE" panose="02000506060000020004" pitchFamily="2" charset="0"/>
              </a:rPr>
              <a:t>kfm. </a:t>
            </a:r>
            <a:r>
              <a:rPr lang="de-DE" sz="550" b="1" dirty="0" smtClean="0">
                <a:solidFill>
                  <a:srgbClr val="34A9E1"/>
                </a:solidFill>
                <a:latin typeface="RWE" panose="02000506060000020004" pitchFamily="2" charset="0"/>
              </a:rPr>
              <a:t>Azubi bei RWE!</a:t>
            </a:r>
          </a:p>
        </p:txBody>
      </p:sp>
      <p:sp>
        <p:nvSpPr>
          <p:cNvPr id="33" name="Rechteck 32"/>
          <p:cNvSpPr/>
          <p:nvPr>
            <p:custDataLst>
              <p:tags r:id="rId5"/>
            </p:custDataLst>
          </p:nvPr>
        </p:nvSpPr>
        <p:spPr bwMode="auto">
          <a:xfrm>
            <a:off x="1390904" y="4196248"/>
            <a:ext cx="3077502" cy="1523799"/>
          </a:xfrm>
          <a:prstGeom prst="rect">
            <a:avLst/>
          </a:prstGeom>
          <a:noFill/>
          <a:ln>
            <a:noFill/>
          </a:ln>
        </p:spPr>
        <p:txBody>
          <a:bodyPr wrap="square" lIns="120000" tIns="62400" rIns="120000" bIns="62400" anchor="t"/>
          <a:lstStyle/>
          <a:p>
            <a:pPr marL="0" lvl="1" indent="0">
              <a:spcAft>
                <a:spcPts val="1200"/>
              </a:spcAft>
              <a:buClr>
                <a:schemeClr val="accent1"/>
              </a:buClr>
              <a:tabLst>
                <a:tab pos="180975" algn="l"/>
              </a:tabLst>
            </a:pPr>
            <a:r>
              <a:rPr lang="de-DE" altLang="de-DE" sz="1600" dirty="0" smtClean="0"/>
              <a:t>NEU ab 2019: jährlich wieder  </a:t>
            </a:r>
            <a:r>
              <a:rPr lang="de-DE" altLang="de-DE" sz="1600" dirty="0"/>
              <a:t/>
            </a:r>
            <a:br>
              <a:rPr lang="de-DE" altLang="de-DE" sz="1600" dirty="0"/>
            </a:br>
            <a:r>
              <a:rPr lang="de-DE" altLang="de-DE" sz="1600" b="1" dirty="0" smtClean="0"/>
              <a:t>9 </a:t>
            </a:r>
            <a:r>
              <a:rPr lang="de-DE" altLang="de-DE" sz="1600" b="1" dirty="0"/>
              <a:t>bzw. 10 </a:t>
            </a:r>
            <a:r>
              <a:rPr lang="de-DE" altLang="de-DE" sz="1600" dirty="0" smtClean="0"/>
              <a:t>Auszubildende </a:t>
            </a:r>
            <a:r>
              <a:rPr lang="de-DE" altLang="de-DE" sz="1600" dirty="0"/>
              <a:t>als </a:t>
            </a:r>
            <a:r>
              <a:rPr lang="de-DE" sz="1600" b="1" dirty="0"/>
              <a:t>„Industriekaufmann/-</a:t>
            </a:r>
            <a:r>
              <a:rPr lang="de-DE" sz="1600" b="1" dirty="0" smtClean="0"/>
              <a:t>frau“ </a:t>
            </a:r>
            <a:br>
              <a:rPr lang="de-DE" sz="1600" b="1" dirty="0" smtClean="0"/>
            </a:br>
            <a:r>
              <a:rPr lang="de-DE" sz="1600" dirty="0" smtClean="0"/>
              <a:t>einstellen</a:t>
            </a:r>
            <a:r>
              <a:rPr lang="de-DE" sz="1600" dirty="0"/>
              <a:t/>
            </a:r>
            <a:br>
              <a:rPr lang="de-DE" sz="1600" dirty="0"/>
            </a:br>
            <a:endParaRPr lang="de-DE" sz="1600" dirty="0"/>
          </a:p>
        </p:txBody>
      </p:sp>
      <p:sp>
        <p:nvSpPr>
          <p:cNvPr id="34" name="Rechteck 33"/>
          <p:cNvSpPr/>
          <p:nvPr>
            <p:custDataLst>
              <p:tags r:id="rId6"/>
            </p:custDataLst>
          </p:nvPr>
        </p:nvSpPr>
        <p:spPr bwMode="auto">
          <a:xfrm>
            <a:off x="1390904" y="1701496"/>
            <a:ext cx="3068192" cy="1563108"/>
          </a:xfrm>
          <a:prstGeom prst="rect">
            <a:avLst/>
          </a:prstGeom>
          <a:noFill/>
          <a:ln>
            <a:noFill/>
          </a:ln>
        </p:spPr>
        <p:txBody>
          <a:bodyPr wrap="square" lIns="120000" tIns="62400" rIns="120000" bIns="62400" anchor="t"/>
          <a:lstStyle/>
          <a:p>
            <a:pPr marL="0" lvl="1" indent="0">
              <a:spcAft>
                <a:spcPts val="1200"/>
              </a:spcAft>
              <a:buClr>
                <a:schemeClr val="accent1"/>
              </a:buClr>
              <a:tabLst>
                <a:tab pos="180975" algn="l"/>
              </a:tabLst>
            </a:pPr>
            <a:r>
              <a:rPr lang="de-DE" sz="1600" dirty="0" smtClean="0"/>
              <a:t>Im Rahmen des Projektes Nachwuchssicherung Braunkohle sollen in den Jahren 2017 bis 2019 rund 425 Neueinstellungen erfolgen</a:t>
            </a:r>
          </a:p>
        </p:txBody>
      </p:sp>
      <p:pic>
        <p:nvPicPr>
          <p:cNvPr id="35"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7429" y="1701496"/>
            <a:ext cx="1133475" cy="1563108"/>
          </a:xfrm>
          <a:prstGeom prst="roundRect">
            <a:avLst>
              <a:gd name="adj" fmla="val 4460"/>
            </a:avLst>
          </a:prstGeom>
          <a:solidFill>
            <a:srgbClr val="FFFFFF">
              <a:shade val="85000"/>
            </a:srgbClr>
          </a:solidFill>
          <a:ln w="9525">
            <a:solidFill>
              <a:schemeClr val="tx1"/>
            </a:solidFill>
            <a:miter lim="800000"/>
            <a:headEnd/>
            <a:tailEnd/>
          </a:ln>
          <a:effectLst>
            <a:outerShdw blurRad="50800" dist="38100" dir="2700000" algn="tl" rotWithShape="0">
              <a:prstClr val="black">
                <a:alpha val="40000"/>
              </a:prstClr>
            </a:outerShdw>
          </a:effectLst>
          <a:extLst/>
        </p:spPr>
      </p:pic>
      <p:pic>
        <p:nvPicPr>
          <p:cNvPr id="36" name="Picture 7" descr="PersEntFoerdBergschule"/>
          <p:cNvPicPr>
            <a:picLocks noChangeAspect="1" noChangeArrowheads="1"/>
          </p:cNvPicPr>
          <p:nvPr/>
        </p:nvPicPr>
        <p:blipFill>
          <a:blip r:embed="rId15" cstate="print">
            <a:extLst>
              <a:ext uri="{28A0092B-C50C-407E-A947-70E740481C1C}">
                <a14:useLocalDpi xmlns:a14="http://schemas.microsoft.com/office/drawing/2010/main" val="0"/>
              </a:ext>
            </a:extLst>
          </a:blip>
          <a:srcRect l="10458" t="7167" r="27531" b="-389"/>
          <a:stretch>
            <a:fillRect/>
          </a:stretch>
        </p:blipFill>
        <p:spPr bwMode="auto">
          <a:xfrm>
            <a:off x="303863" y="2299882"/>
            <a:ext cx="914152" cy="767503"/>
          </a:xfrm>
          <a:prstGeom prst="rect">
            <a:avLst/>
          </a:prstGeom>
          <a:noFill/>
          <a:extLst>
            <a:ext uri="{909E8E84-426E-40DD-AFC4-6F175D3DCCD1}">
              <a14:hiddenFill xmlns:a14="http://schemas.microsoft.com/office/drawing/2010/main">
                <a:solidFill>
                  <a:srgbClr val="FFFFFF"/>
                </a:solidFill>
              </a14:hiddenFill>
            </a:ext>
          </a:extLst>
        </p:spPr>
      </p:pic>
      <p:sp>
        <p:nvSpPr>
          <p:cNvPr id="37" name="Textfeld 36"/>
          <p:cNvSpPr txBox="1"/>
          <p:nvPr/>
        </p:nvSpPr>
        <p:spPr>
          <a:xfrm>
            <a:off x="292849" y="1743546"/>
            <a:ext cx="1067200" cy="159549"/>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none" lIns="0" tIns="0" rIns="90000" bIns="0" numCol="1" spcCol="0" rtlCol="0" fromWordArt="0" anchor="t" anchorCtr="0" forceAA="0" compatLnSpc="1">
            <a:prstTxWarp prst="textNoShape">
              <a:avLst/>
            </a:prstTxWarp>
            <a:noAutofit/>
          </a:bodyPr>
          <a:lstStyle/>
          <a:p>
            <a:pPr algn="l"/>
            <a:r>
              <a:rPr lang="de-DE" sz="550" b="1" dirty="0" smtClean="0">
                <a:solidFill>
                  <a:srgbClr val="34A9E1"/>
                </a:solidFill>
                <a:latin typeface="RWE" panose="02000506060000020004" pitchFamily="2" charset="0"/>
              </a:rPr>
              <a:t>Nachwuchssicherung Braunkohle</a:t>
            </a:r>
          </a:p>
          <a:p>
            <a:pPr algn="l"/>
            <a:r>
              <a:rPr lang="de-DE" sz="550" b="1" dirty="0">
                <a:solidFill>
                  <a:srgbClr val="34A9E1"/>
                </a:solidFill>
                <a:latin typeface="RWE" panose="02000506060000020004" pitchFamily="2" charset="0"/>
              </a:rPr>
              <a:t>h</a:t>
            </a:r>
            <a:r>
              <a:rPr lang="de-DE" sz="550" b="1" dirty="0" smtClean="0">
                <a:solidFill>
                  <a:srgbClr val="34A9E1"/>
                </a:solidFill>
                <a:latin typeface="RWE" panose="02000506060000020004" pitchFamily="2" charset="0"/>
              </a:rPr>
              <a:t>at sechs Hauptstoßrichtungen</a:t>
            </a:r>
          </a:p>
        </p:txBody>
      </p:sp>
      <p:sp>
        <p:nvSpPr>
          <p:cNvPr id="16" name="Rechteck 15"/>
          <p:cNvSpPr/>
          <p:nvPr/>
        </p:nvSpPr>
        <p:spPr>
          <a:xfrm>
            <a:off x="292849" y="1928622"/>
            <a:ext cx="1042124" cy="331469"/>
          </a:xfrm>
          <a:prstGeom prst="rect">
            <a:avLst/>
          </a:prstGeom>
          <a:solidFill>
            <a:schemeClr val="bg1"/>
          </a:solidFill>
          <a:ln>
            <a:noFill/>
          </a:ln>
        </p:spPr>
        <p:txBody>
          <a:bodyPr wrap="none" lIns="90000" tIns="108000" rIns="90000" bIns="46800" rtlCol="0" anchor="ctr"/>
          <a:lstStyle/>
          <a:p>
            <a:pPr algn="ctr">
              <a:tabLst>
                <a:tab pos="4000500" algn="r"/>
              </a:tabLst>
            </a:pPr>
            <a:endParaRPr lang="de-DE" sz="800" b="1"/>
          </a:p>
        </p:txBody>
      </p:sp>
      <p:grpSp>
        <p:nvGrpSpPr>
          <p:cNvPr id="15" name="Gruppieren 14"/>
          <p:cNvGrpSpPr/>
          <p:nvPr/>
        </p:nvGrpSpPr>
        <p:grpSpPr>
          <a:xfrm>
            <a:off x="284223" y="1950280"/>
            <a:ext cx="576943" cy="288152"/>
            <a:chOff x="8859804" y="602542"/>
            <a:chExt cx="576943" cy="288152"/>
          </a:xfrm>
        </p:grpSpPr>
        <p:pic>
          <p:nvPicPr>
            <p:cNvPr id="478219" name="Picture 11"/>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861425" y="602542"/>
              <a:ext cx="481472" cy="110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8220" name="Picture 1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859804" y="707087"/>
              <a:ext cx="483093" cy="103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8221" name="Picture 13"/>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862180" y="807834"/>
              <a:ext cx="574567" cy="828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 name="Gruppieren 16"/>
          <p:cNvGrpSpPr/>
          <p:nvPr/>
        </p:nvGrpSpPr>
        <p:grpSpPr>
          <a:xfrm>
            <a:off x="799549" y="1943140"/>
            <a:ext cx="574361" cy="295292"/>
            <a:chOff x="8845134" y="1216428"/>
            <a:chExt cx="574361" cy="295292"/>
          </a:xfrm>
        </p:grpSpPr>
        <p:pic>
          <p:nvPicPr>
            <p:cNvPr id="478222" name="Picture 14"/>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845134" y="1216428"/>
              <a:ext cx="548709" cy="85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8223" name="Picture 15"/>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852064" y="1306845"/>
              <a:ext cx="551139" cy="106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8224" name="Picture 16"/>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852064" y="1423120"/>
              <a:ext cx="567431" cy="8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0258370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00CA70A1-48BB-F443-B7B0-95427ED3B74E}"/>
              </a:ext>
            </a:extLst>
          </p:cNvPr>
          <p:cNvSpPr>
            <a:spLocks noGrp="1"/>
          </p:cNvSpPr>
          <p:nvPr>
            <p:ph sz="quarter" idx="10"/>
          </p:nvPr>
        </p:nvSpPr>
        <p:spPr>
          <a:xfrm>
            <a:off x="362215" y="710685"/>
            <a:ext cx="8433390" cy="419440"/>
          </a:xfrm>
        </p:spPr>
        <p:txBody>
          <a:bodyPr/>
          <a:lstStyle/>
          <a:p>
            <a:r>
              <a:rPr lang="de-DE" dirty="0" smtClean="0"/>
              <a:t>Wie geht es weiter?</a:t>
            </a:r>
            <a:endParaRPr lang="de-DE" dirty="0"/>
          </a:p>
        </p:txBody>
      </p:sp>
      <p:sp>
        <p:nvSpPr>
          <p:cNvPr id="5" name="Textplatzhalter 4">
            <a:extLst>
              <a:ext uri="{FF2B5EF4-FFF2-40B4-BE49-F238E27FC236}">
                <a16:creationId xmlns:a16="http://schemas.microsoft.com/office/drawing/2014/main" id="{4FB9F38E-5AAF-8746-85AC-F4BFB5721015}"/>
              </a:ext>
            </a:extLst>
          </p:cNvPr>
          <p:cNvSpPr>
            <a:spLocks noGrp="1"/>
          </p:cNvSpPr>
          <p:nvPr>
            <p:ph type="body" sz="quarter" idx="11"/>
          </p:nvPr>
        </p:nvSpPr>
        <p:spPr/>
        <p:txBody>
          <a:bodyPr/>
          <a:lstStyle/>
          <a:p>
            <a:pPr marL="263776" indent="-263776">
              <a:spcAft>
                <a:spcPts val="554"/>
              </a:spcAft>
            </a:pPr>
            <a:r>
              <a:rPr lang="de-DE" sz="1846" dirty="0" smtClean="0"/>
              <a:t>Noch ist vieles unklar, und die Ergebnisse der KWSB sind noch nicht in geltendes Recht umgewandelt. </a:t>
            </a:r>
          </a:p>
          <a:p>
            <a:pPr marL="263776" indent="-263776">
              <a:spcAft>
                <a:spcPts val="554"/>
              </a:spcAft>
            </a:pPr>
            <a:r>
              <a:rPr lang="de-DE" sz="1846" dirty="0" smtClean="0"/>
              <a:t>Aussage der Bundesregierung: Wird 1 zu 1 umgesetzt.</a:t>
            </a:r>
          </a:p>
          <a:p>
            <a:pPr marL="263776" indent="-263776">
              <a:spcAft>
                <a:spcPts val="554"/>
              </a:spcAft>
            </a:pPr>
            <a:r>
              <a:rPr lang="de-DE" sz="1846" dirty="0" smtClean="0"/>
              <a:t>Nach dem Abschlussbericht fängt die Maschinerie nur langsam an zu laufen.</a:t>
            </a:r>
          </a:p>
          <a:p>
            <a:pPr marL="263776" indent="-263776">
              <a:spcAft>
                <a:spcPts val="554"/>
              </a:spcAft>
            </a:pPr>
            <a:r>
              <a:rPr lang="de-DE" sz="1846" dirty="0" smtClean="0"/>
              <a:t>Erstes Gespräch BMWi mit RWE.</a:t>
            </a:r>
            <a:endParaRPr lang="de-DE" sz="1800" dirty="0"/>
          </a:p>
          <a:p>
            <a:endParaRPr lang="de-DE" dirty="0"/>
          </a:p>
        </p:txBody>
      </p:sp>
    </p:spTree>
    <p:extLst>
      <p:ext uri="{BB962C8B-B14F-4D97-AF65-F5344CB8AC3E}">
        <p14:creationId xmlns:p14="http://schemas.microsoft.com/office/powerpoint/2010/main" val="32569066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8851B59-7A49-A94E-B5F4-11DE4D30A2D5}"/>
              </a:ext>
            </a:extLst>
          </p:cNvPr>
          <p:cNvSpPr>
            <a:spLocks noGrp="1"/>
          </p:cNvSpPr>
          <p:nvPr>
            <p:ph sz="quarter" idx="10"/>
          </p:nvPr>
        </p:nvSpPr>
        <p:spPr>
          <a:xfrm>
            <a:off x="357061" y="986730"/>
            <a:ext cx="8433390" cy="419440"/>
          </a:xfrm>
        </p:spPr>
        <p:txBody>
          <a:bodyPr/>
          <a:lstStyle/>
          <a:p>
            <a:r>
              <a:rPr lang="de-DE" dirty="0" smtClean="0"/>
              <a:t>Was Erwarten die Betroffenen (RWE Power)!</a:t>
            </a:r>
            <a:endParaRPr lang="de-DE" dirty="0"/>
          </a:p>
        </p:txBody>
      </p:sp>
      <p:sp>
        <p:nvSpPr>
          <p:cNvPr id="3" name="Textplatzhalter 2">
            <a:extLst>
              <a:ext uri="{FF2B5EF4-FFF2-40B4-BE49-F238E27FC236}">
                <a16:creationId xmlns:a16="http://schemas.microsoft.com/office/drawing/2014/main" id="{ED9E06EF-A8F3-EF42-AC47-9EE8FB059ED6}"/>
              </a:ext>
            </a:extLst>
          </p:cNvPr>
          <p:cNvSpPr>
            <a:spLocks noGrp="1"/>
          </p:cNvSpPr>
          <p:nvPr>
            <p:ph type="body" sz="quarter" idx="11"/>
          </p:nvPr>
        </p:nvSpPr>
        <p:spPr>
          <a:xfrm>
            <a:off x="357061" y="1649545"/>
            <a:ext cx="8031285" cy="3967644"/>
          </a:xfrm>
        </p:spPr>
        <p:txBody>
          <a:bodyPr>
            <a:noAutofit/>
          </a:bodyPr>
          <a:lstStyle/>
          <a:p>
            <a:pPr marL="342900" lvl="1" indent="-342900" defTabSz="266700" eaLnBrk="0" hangingPunct="0">
              <a:lnSpc>
                <a:spcPts val="1700"/>
              </a:lnSpc>
              <a:spcAft>
                <a:spcPts val="600"/>
              </a:spcAft>
              <a:buClr>
                <a:srgbClr val="FF0000"/>
              </a:buClr>
            </a:pPr>
            <a:r>
              <a:rPr lang="de-DE" sz="1900" dirty="0" smtClean="0"/>
              <a:t>An erster Stelle steht, dass die Ergebnisse der KWSB nun auch umgesetzt werden müssen.</a:t>
            </a:r>
          </a:p>
          <a:p>
            <a:pPr marL="342900" lvl="1" indent="-342900" defTabSz="266700" eaLnBrk="0" hangingPunct="0">
              <a:lnSpc>
                <a:spcPts val="1700"/>
              </a:lnSpc>
              <a:spcAft>
                <a:spcPts val="600"/>
              </a:spcAft>
              <a:buClr>
                <a:srgbClr val="FF0000"/>
              </a:buClr>
            </a:pPr>
            <a:r>
              <a:rPr lang="de-DE" sz="1900" dirty="0" smtClean="0"/>
              <a:t>Schnelle Klarheit was, wie und wann passiert, und was das für die Kolleginnen und Kollegen heißt.</a:t>
            </a:r>
          </a:p>
          <a:p>
            <a:pPr marL="1165002" lvl="2" indent="-342900" defTabSz="266700" eaLnBrk="0" hangingPunct="0">
              <a:lnSpc>
                <a:spcPts val="1700"/>
              </a:lnSpc>
              <a:spcAft>
                <a:spcPts val="600"/>
              </a:spcAft>
              <a:buClr>
                <a:srgbClr val="FF0000"/>
              </a:buClr>
            </a:pPr>
            <a:r>
              <a:rPr lang="de-DE" sz="1715" dirty="0" smtClean="0"/>
              <a:t>Welche Kraftwerke und welche Tagebaue sind wann betroffen.</a:t>
            </a:r>
          </a:p>
          <a:p>
            <a:pPr marL="1165002" lvl="2" indent="-342900" defTabSz="266700" eaLnBrk="0" hangingPunct="0">
              <a:lnSpc>
                <a:spcPts val="1700"/>
              </a:lnSpc>
              <a:spcAft>
                <a:spcPts val="600"/>
              </a:spcAft>
              <a:buClr>
                <a:srgbClr val="FF0000"/>
              </a:buClr>
            </a:pPr>
            <a:r>
              <a:rPr lang="de-DE" sz="1715" dirty="0" smtClean="0"/>
              <a:t>Klärung, wie es kurzfristig mit Tagebau Hambach weiter geht.</a:t>
            </a:r>
          </a:p>
          <a:p>
            <a:pPr marL="1165002" lvl="2" indent="-342900" defTabSz="266700" eaLnBrk="0" hangingPunct="0">
              <a:lnSpc>
                <a:spcPts val="1700"/>
              </a:lnSpc>
              <a:spcAft>
                <a:spcPts val="600"/>
              </a:spcAft>
              <a:buClr>
                <a:srgbClr val="FF0000"/>
              </a:buClr>
            </a:pPr>
            <a:r>
              <a:rPr lang="de-DE" sz="1715" dirty="0" smtClean="0"/>
              <a:t>Durchführung der laufenden Umsiedlungen.</a:t>
            </a:r>
          </a:p>
          <a:p>
            <a:pPr marL="342900" lvl="1" indent="-342900" defTabSz="266700" eaLnBrk="0" hangingPunct="0">
              <a:lnSpc>
                <a:spcPts val="1700"/>
              </a:lnSpc>
              <a:spcAft>
                <a:spcPts val="600"/>
              </a:spcAft>
              <a:buClr>
                <a:srgbClr val="FF0000"/>
              </a:buClr>
            </a:pPr>
            <a:r>
              <a:rPr lang="de-DE" sz="1715" dirty="0" smtClean="0"/>
              <a:t>Wer kann in APG gehen?</a:t>
            </a:r>
          </a:p>
          <a:p>
            <a:pPr marL="342900" lvl="1" indent="-342900" defTabSz="266700" eaLnBrk="0" hangingPunct="0">
              <a:lnSpc>
                <a:spcPts val="1700"/>
              </a:lnSpc>
              <a:spcAft>
                <a:spcPts val="600"/>
              </a:spcAft>
              <a:buClr>
                <a:srgbClr val="FF0000"/>
              </a:buClr>
            </a:pPr>
            <a:r>
              <a:rPr lang="de-DE" sz="1715" dirty="0" smtClean="0"/>
              <a:t>Wie wird von RWE Power das Thema „Nachwuchssicherung“ vorangetrieben? Keine Befristungen nach der Ausbildung, Ausweitung der Ausbildung.</a:t>
            </a:r>
          </a:p>
          <a:p>
            <a:pPr marL="342900" lvl="1" indent="-342900" defTabSz="266700" eaLnBrk="0" hangingPunct="0">
              <a:lnSpc>
                <a:spcPts val="1700"/>
              </a:lnSpc>
              <a:spcAft>
                <a:spcPts val="600"/>
              </a:spcAft>
              <a:buClr>
                <a:srgbClr val="FF0000"/>
              </a:buClr>
            </a:pPr>
            <a:r>
              <a:rPr lang="de-DE" sz="1715" dirty="0" smtClean="0"/>
              <a:t>Wie stellt man bis 2038 und darüber hinaus sicher, dass ausreichend qualifizierte Mitarbeiter an Bord sind?</a:t>
            </a:r>
          </a:p>
          <a:p>
            <a:pPr marL="342900" lvl="1" indent="-342900" defTabSz="266700" eaLnBrk="0" hangingPunct="0">
              <a:lnSpc>
                <a:spcPts val="1700"/>
              </a:lnSpc>
              <a:spcAft>
                <a:spcPts val="600"/>
              </a:spcAft>
              <a:buClr>
                <a:srgbClr val="FF0000"/>
              </a:buClr>
            </a:pPr>
            <a:r>
              <a:rPr lang="de-DE" sz="1715" dirty="0" smtClean="0"/>
              <a:t>Was bringt RWE an Strukturmaßnahmen auf den Weg?</a:t>
            </a:r>
            <a:endParaRPr lang="de-DE" sz="1900" dirty="0" smtClean="0"/>
          </a:p>
          <a:p>
            <a:pPr lvl="2" indent="-316531" eaLnBrk="0" hangingPunct="0">
              <a:lnSpc>
                <a:spcPts val="1700"/>
              </a:lnSpc>
              <a:spcAft>
                <a:spcPts val="600"/>
              </a:spcAft>
              <a:buClr>
                <a:srgbClr val="FF0000"/>
              </a:buClr>
            </a:pPr>
            <a:endParaRPr lang="de-DE" sz="1530" dirty="0" smtClean="0"/>
          </a:p>
          <a:p>
            <a:pPr marL="263776" indent="-263776" eaLnBrk="0" hangingPunct="0">
              <a:lnSpc>
                <a:spcPts val="1700"/>
              </a:lnSpc>
              <a:spcAft>
                <a:spcPts val="600"/>
              </a:spcAft>
              <a:buClr>
                <a:srgbClr val="FF0000"/>
              </a:buClr>
            </a:pPr>
            <a:endParaRPr lang="de-DE" sz="1900" dirty="0"/>
          </a:p>
          <a:p>
            <a:pPr marL="0" indent="0">
              <a:lnSpc>
                <a:spcPts val="1700"/>
              </a:lnSpc>
              <a:spcAft>
                <a:spcPts val="600"/>
              </a:spcAft>
              <a:buNone/>
            </a:pPr>
            <a:endParaRPr lang="de-DE" sz="1662" dirty="0"/>
          </a:p>
        </p:txBody>
      </p:sp>
    </p:spTree>
    <p:extLst>
      <p:ext uri="{BB962C8B-B14F-4D97-AF65-F5344CB8AC3E}">
        <p14:creationId xmlns:p14="http://schemas.microsoft.com/office/powerpoint/2010/main" val="17794737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8851B59-7A49-A94E-B5F4-11DE4D30A2D5}"/>
              </a:ext>
            </a:extLst>
          </p:cNvPr>
          <p:cNvSpPr>
            <a:spLocks noGrp="1"/>
          </p:cNvSpPr>
          <p:nvPr>
            <p:ph sz="quarter" idx="10"/>
          </p:nvPr>
        </p:nvSpPr>
        <p:spPr>
          <a:xfrm>
            <a:off x="362215" y="710685"/>
            <a:ext cx="8433390" cy="419440"/>
          </a:xfrm>
        </p:spPr>
        <p:txBody>
          <a:bodyPr/>
          <a:lstStyle/>
          <a:p>
            <a:r>
              <a:rPr lang="de-DE" dirty="0"/>
              <a:t>Deutschland will die Energiewende</a:t>
            </a:r>
          </a:p>
        </p:txBody>
      </p:sp>
      <p:sp>
        <p:nvSpPr>
          <p:cNvPr id="3" name="Textplatzhalter 2">
            <a:extLst>
              <a:ext uri="{FF2B5EF4-FFF2-40B4-BE49-F238E27FC236}">
                <a16:creationId xmlns:a16="http://schemas.microsoft.com/office/drawing/2014/main" id="{ED9E06EF-A8F3-EF42-AC47-9EE8FB059ED6}"/>
              </a:ext>
            </a:extLst>
          </p:cNvPr>
          <p:cNvSpPr>
            <a:spLocks noGrp="1"/>
          </p:cNvSpPr>
          <p:nvPr>
            <p:ph type="body" sz="quarter" idx="11"/>
          </p:nvPr>
        </p:nvSpPr>
        <p:spPr>
          <a:xfrm>
            <a:off x="362216" y="1624263"/>
            <a:ext cx="5083991" cy="3967644"/>
          </a:xfrm>
        </p:spPr>
        <p:txBody>
          <a:bodyPr>
            <a:normAutofit lnSpcReduction="10000"/>
          </a:bodyPr>
          <a:lstStyle/>
          <a:p>
            <a:pPr marL="0" indent="0">
              <a:buNone/>
            </a:pPr>
            <a:r>
              <a:rPr lang="de-DE" sz="1477" dirty="0"/>
              <a:t>Im Juni 2018 hat die Bundesregierung die </a:t>
            </a:r>
            <a:r>
              <a:rPr lang="de-DE" sz="1477" b="1" dirty="0"/>
              <a:t>Kommission</a:t>
            </a:r>
            <a:r>
              <a:rPr lang="de-DE" sz="1477" dirty="0"/>
              <a:t> </a:t>
            </a:r>
            <a:r>
              <a:rPr lang="de-DE" sz="1477" b="1" dirty="0"/>
              <a:t>„Wachstum, Strukturwandel und Beschäftigung“</a:t>
            </a:r>
            <a:r>
              <a:rPr lang="de-DE" sz="1477" dirty="0"/>
              <a:t> eingesetzt.</a:t>
            </a:r>
          </a:p>
          <a:p>
            <a:pPr marL="0" indent="0">
              <a:buNone/>
            </a:pPr>
            <a:endParaRPr lang="de-DE" sz="1477" dirty="0"/>
          </a:p>
          <a:p>
            <a:pPr marL="0" indent="0">
              <a:buNone/>
            </a:pPr>
            <a:r>
              <a:rPr lang="de-DE" sz="1477" dirty="0"/>
              <a:t>In dem Gremium: Politikern, Wissenschaftlern, Vertretern aus Wirtschaft, Gewerkschaften und Umweltverbänden.</a:t>
            </a:r>
          </a:p>
          <a:p>
            <a:pPr marL="0" indent="0">
              <a:buNone/>
            </a:pPr>
            <a:endParaRPr lang="de-DE" sz="1477" dirty="0"/>
          </a:p>
          <a:p>
            <a:pPr marL="0" indent="0">
              <a:lnSpc>
                <a:spcPct val="150000"/>
              </a:lnSpc>
              <a:buNone/>
            </a:pPr>
            <a:r>
              <a:rPr lang="de-DE" sz="1477" dirty="0"/>
              <a:t>Die Kommission soll einen Maßnahmenmix entwickeln, der </a:t>
            </a:r>
            <a:endParaRPr lang="de-DE" sz="1477" b="1" dirty="0"/>
          </a:p>
          <a:p>
            <a:pPr marL="263776" indent="-263776">
              <a:lnSpc>
                <a:spcPct val="150000"/>
              </a:lnSpc>
            </a:pPr>
            <a:r>
              <a:rPr lang="de-DE" sz="1477" b="1" dirty="0"/>
              <a:t>wirtschaftliche Entwicklung </a:t>
            </a:r>
          </a:p>
          <a:p>
            <a:pPr marL="263776" indent="-263776">
              <a:lnSpc>
                <a:spcPct val="150000"/>
              </a:lnSpc>
            </a:pPr>
            <a:r>
              <a:rPr lang="de-DE" sz="1477" b="1" dirty="0"/>
              <a:t>Strukturwandel, </a:t>
            </a:r>
          </a:p>
          <a:p>
            <a:pPr marL="263776" indent="-263776">
              <a:lnSpc>
                <a:spcPct val="150000"/>
              </a:lnSpc>
            </a:pPr>
            <a:r>
              <a:rPr lang="de-DE" sz="1477" b="1" dirty="0"/>
              <a:t>Sozialverträglichkeit</a:t>
            </a:r>
            <a:r>
              <a:rPr lang="de-DE" sz="1477" dirty="0"/>
              <a:t> und </a:t>
            </a:r>
          </a:p>
          <a:p>
            <a:pPr marL="263776" indent="-263776">
              <a:lnSpc>
                <a:spcPct val="150000"/>
              </a:lnSpc>
            </a:pPr>
            <a:r>
              <a:rPr lang="de-DE" sz="1477" b="1" dirty="0"/>
              <a:t>Klimaschutz</a:t>
            </a:r>
            <a:r>
              <a:rPr lang="de-DE" sz="1477" dirty="0"/>
              <a:t> </a:t>
            </a:r>
          </a:p>
          <a:p>
            <a:pPr marL="0" indent="0">
              <a:lnSpc>
                <a:spcPct val="150000"/>
              </a:lnSpc>
              <a:buNone/>
            </a:pPr>
            <a:r>
              <a:rPr lang="de-DE" sz="1477" dirty="0"/>
              <a:t>zusammenbringt.</a:t>
            </a:r>
          </a:p>
        </p:txBody>
      </p:sp>
      <p:pic>
        <p:nvPicPr>
          <p:cNvPr id="4" name="Grafik 3">
            <a:extLst>
              <a:ext uri="{FF2B5EF4-FFF2-40B4-BE49-F238E27FC236}">
                <a16:creationId xmlns:a16="http://schemas.microsoft.com/office/drawing/2014/main" id="{FE603FF5-2217-AF48-BD87-A5E8DFF42BF8}"/>
              </a:ext>
            </a:extLst>
          </p:cNvPr>
          <p:cNvPicPr>
            <a:picLocks noChangeAspect="1"/>
          </p:cNvPicPr>
          <p:nvPr/>
        </p:nvPicPr>
        <p:blipFill>
          <a:blip r:embed="rId3"/>
          <a:stretch>
            <a:fillRect/>
          </a:stretch>
        </p:blipFill>
        <p:spPr>
          <a:xfrm>
            <a:off x="5446207" y="1624262"/>
            <a:ext cx="3349398" cy="1983965"/>
          </a:xfrm>
          <a:prstGeom prst="rect">
            <a:avLst/>
          </a:prstGeom>
        </p:spPr>
      </p:pic>
    </p:spTree>
    <p:extLst>
      <p:ext uri="{BB962C8B-B14F-4D97-AF65-F5344CB8AC3E}">
        <p14:creationId xmlns:p14="http://schemas.microsoft.com/office/powerpoint/2010/main" val="36559838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ED9E06EF-A8F3-EF42-AC47-9EE8FB059ED6}"/>
              </a:ext>
            </a:extLst>
          </p:cNvPr>
          <p:cNvSpPr>
            <a:spLocks noGrp="1"/>
          </p:cNvSpPr>
          <p:nvPr>
            <p:ph type="body" sz="quarter" idx="11"/>
          </p:nvPr>
        </p:nvSpPr>
        <p:spPr>
          <a:xfrm>
            <a:off x="362217" y="1416632"/>
            <a:ext cx="8031285" cy="3967644"/>
          </a:xfrm>
        </p:spPr>
        <p:txBody>
          <a:bodyPr>
            <a:noAutofit/>
          </a:bodyPr>
          <a:lstStyle/>
          <a:p>
            <a:pPr marL="342900" lvl="1" indent="-342900" defTabSz="266700" eaLnBrk="0" hangingPunct="0">
              <a:lnSpc>
                <a:spcPts val="1700"/>
              </a:lnSpc>
              <a:spcAft>
                <a:spcPts val="600"/>
              </a:spcAft>
              <a:buClr>
                <a:srgbClr val="FF0000"/>
              </a:buClr>
            </a:pPr>
            <a:endParaRPr lang="de-DE" sz="1900" dirty="0" smtClean="0"/>
          </a:p>
          <a:p>
            <a:pPr marL="342900" lvl="1" indent="-342900" defTabSz="266700" eaLnBrk="0" hangingPunct="0">
              <a:lnSpc>
                <a:spcPts val="1700"/>
              </a:lnSpc>
              <a:spcAft>
                <a:spcPts val="600"/>
              </a:spcAft>
              <a:buClr>
                <a:srgbClr val="FF0000"/>
              </a:buClr>
            </a:pPr>
            <a:r>
              <a:rPr lang="de-DE" sz="1900" dirty="0"/>
              <a:t>Nach Klärung der Gesetzlichen Rahmenbedingungen zu APG, zügige Verhandlungen der Sozialpartner über die notwendigen tariflichen und betrieblichen Rahmenbedingungen.</a:t>
            </a:r>
          </a:p>
          <a:p>
            <a:pPr marL="342900" lvl="1" indent="-342900" defTabSz="266700" eaLnBrk="0" hangingPunct="0">
              <a:lnSpc>
                <a:spcPts val="1700"/>
              </a:lnSpc>
              <a:spcAft>
                <a:spcPts val="600"/>
              </a:spcAft>
              <a:buClr>
                <a:srgbClr val="FF0000"/>
              </a:buClr>
            </a:pPr>
            <a:r>
              <a:rPr lang="de-DE" sz="1900" dirty="0"/>
              <a:t>Nicht immer wieder neue Diskussionen rund um die Frage der Energieversorgung und des Klimas.</a:t>
            </a:r>
          </a:p>
          <a:p>
            <a:pPr marL="342900" lvl="1" indent="-342900" defTabSz="266700" eaLnBrk="0" hangingPunct="0">
              <a:lnSpc>
                <a:spcPts val="1700"/>
              </a:lnSpc>
              <a:spcAft>
                <a:spcPts val="600"/>
              </a:spcAft>
              <a:buClr>
                <a:srgbClr val="FF0000"/>
              </a:buClr>
            </a:pPr>
            <a:r>
              <a:rPr lang="de-DE" sz="1900" dirty="0"/>
              <a:t>Damit müssen die Themen des Klimaschutzes bis zum Ausstieg abschließend geregelt sein</a:t>
            </a:r>
            <a:r>
              <a:rPr lang="de-DE" sz="1900" dirty="0" smtClean="0"/>
              <a:t>.</a:t>
            </a:r>
          </a:p>
          <a:p>
            <a:pPr marL="342900" lvl="1" indent="-342900" defTabSz="266700" eaLnBrk="0" hangingPunct="0">
              <a:lnSpc>
                <a:spcPts val="1700"/>
              </a:lnSpc>
              <a:spcAft>
                <a:spcPts val="600"/>
              </a:spcAft>
              <a:buClr>
                <a:srgbClr val="FF0000"/>
              </a:buClr>
            </a:pPr>
            <a:r>
              <a:rPr lang="de-DE" sz="1900" dirty="0" smtClean="0"/>
              <a:t>Ende der Auseinandersetzung rund um den Hambacher Forst</a:t>
            </a:r>
          </a:p>
          <a:p>
            <a:pPr marL="342900" lvl="1" indent="-342900" defTabSz="266700" eaLnBrk="0" hangingPunct="0">
              <a:lnSpc>
                <a:spcPts val="1700"/>
              </a:lnSpc>
              <a:spcAft>
                <a:spcPts val="600"/>
              </a:spcAft>
              <a:buClr>
                <a:srgbClr val="FF0000"/>
              </a:buClr>
            </a:pPr>
            <a:r>
              <a:rPr lang="de-DE" sz="1900" dirty="0" smtClean="0"/>
              <a:t>Zügige Umsetzung der laufenden Umsiedlungen</a:t>
            </a:r>
          </a:p>
          <a:p>
            <a:pPr marL="342900" lvl="1" indent="-342900" defTabSz="266700" eaLnBrk="0" hangingPunct="0">
              <a:lnSpc>
                <a:spcPts val="1700"/>
              </a:lnSpc>
              <a:spcAft>
                <a:spcPts val="600"/>
              </a:spcAft>
              <a:buClr>
                <a:srgbClr val="FF0000"/>
              </a:buClr>
            </a:pPr>
            <a:endParaRPr lang="de-DE" sz="1900" dirty="0"/>
          </a:p>
          <a:p>
            <a:pPr marL="342900" lvl="1" indent="-342900" defTabSz="266700" eaLnBrk="0" hangingPunct="0">
              <a:lnSpc>
                <a:spcPts val="1700"/>
              </a:lnSpc>
              <a:spcAft>
                <a:spcPts val="600"/>
              </a:spcAft>
              <a:buClr>
                <a:srgbClr val="FF0000"/>
              </a:buClr>
            </a:pPr>
            <a:endParaRPr lang="de-DE" sz="1900" dirty="0"/>
          </a:p>
          <a:p>
            <a:pPr marL="342900" lvl="1" indent="-342900" defTabSz="266700" eaLnBrk="0" hangingPunct="0">
              <a:lnSpc>
                <a:spcPts val="1700"/>
              </a:lnSpc>
              <a:spcAft>
                <a:spcPts val="600"/>
              </a:spcAft>
              <a:buClr>
                <a:srgbClr val="FF0000"/>
              </a:buClr>
            </a:pPr>
            <a:endParaRPr lang="de-DE" sz="1900" dirty="0" smtClean="0"/>
          </a:p>
          <a:p>
            <a:pPr lvl="2" indent="-316531" eaLnBrk="0" hangingPunct="0">
              <a:lnSpc>
                <a:spcPts val="1700"/>
              </a:lnSpc>
              <a:spcAft>
                <a:spcPts val="600"/>
              </a:spcAft>
              <a:buClr>
                <a:srgbClr val="FF0000"/>
              </a:buClr>
            </a:pPr>
            <a:endParaRPr lang="de-DE" sz="1530" dirty="0" smtClean="0"/>
          </a:p>
          <a:p>
            <a:pPr marL="263776" indent="-263776" eaLnBrk="0" hangingPunct="0">
              <a:lnSpc>
                <a:spcPts val="1700"/>
              </a:lnSpc>
              <a:spcAft>
                <a:spcPts val="600"/>
              </a:spcAft>
              <a:buClr>
                <a:srgbClr val="FF0000"/>
              </a:buClr>
            </a:pPr>
            <a:endParaRPr lang="de-DE" sz="1900" dirty="0"/>
          </a:p>
          <a:p>
            <a:pPr marL="0" indent="0">
              <a:lnSpc>
                <a:spcPts val="1700"/>
              </a:lnSpc>
              <a:spcAft>
                <a:spcPts val="600"/>
              </a:spcAft>
              <a:buNone/>
            </a:pPr>
            <a:endParaRPr lang="de-DE" sz="1662" dirty="0"/>
          </a:p>
        </p:txBody>
      </p:sp>
      <p:sp>
        <p:nvSpPr>
          <p:cNvPr id="6" name="Inhaltsplatzhalter 1">
            <a:extLst>
              <a:ext uri="{FF2B5EF4-FFF2-40B4-BE49-F238E27FC236}">
                <a16:creationId xmlns:a16="http://schemas.microsoft.com/office/drawing/2014/main" id="{B8851B59-7A49-A94E-B5F4-11DE4D30A2D5}"/>
              </a:ext>
            </a:extLst>
          </p:cNvPr>
          <p:cNvSpPr>
            <a:spLocks noGrp="1"/>
          </p:cNvSpPr>
          <p:nvPr>
            <p:ph sz="quarter" idx="10"/>
          </p:nvPr>
        </p:nvSpPr>
        <p:spPr>
          <a:xfrm>
            <a:off x="357061" y="779696"/>
            <a:ext cx="8433390" cy="419440"/>
          </a:xfrm>
        </p:spPr>
        <p:txBody>
          <a:bodyPr/>
          <a:lstStyle/>
          <a:p>
            <a:r>
              <a:rPr lang="de-DE" dirty="0" smtClean="0"/>
              <a:t>Was Erwarten die Betroffenen (RWE Power)!</a:t>
            </a:r>
            <a:endParaRPr lang="de-DE" dirty="0"/>
          </a:p>
        </p:txBody>
      </p:sp>
    </p:spTree>
    <p:extLst>
      <p:ext uri="{BB962C8B-B14F-4D97-AF65-F5344CB8AC3E}">
        <p14:creationId xmlns:p14="http://schemas.microsoft.com/office/powerpoint/2010/main" val="2358124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ED9E06EF-A8F3-EF42-AC47-9EE8FB059ED6}"/>
              </a:ext>
            </a:extLst>
          </p:cNvPr>
          <p:cNvSpPr>
            <a:spLocks noGrp="1"/>
          </p:cNvSpPr>
          <p:nvPr>
            <p:ph type="body" sz="quarter" idx="11"/>
          </p:nvPr>
        </p:nvSpPr>
        <p:spPr>
          <a:xfrm>
            <a:off x="422602" y="1597786"/>
            <a:ext cx="8031285" cy="3967644"/>
          </a:xfrm>
        </p:spPr>
        <p:txBody>
          <a:bodyPr>
            <a:noAutofit/>
          </a:bodyPr>
          <a:lstStyle/>
          <a:p>
            <a:pPr marL="342900" lvl="1" indent="-342900" defTabSz="266700" eaLnBrk="0" hangingPunct="0">
              <a:lnSpc>
                <a:spcPts val="1700"/>
              </a:lnSpc>
              <a:spcAft>
                <a:spcPts val="600"/>
              </a:spcAft>
              <a:buClr>
                <a:srgbClr val="FF0000"/>
              </a:buClr>
            </a:pPr>
            <a:endParaRPr lang="de-DE" sz="1900" dirty="0" smtClean="0"/>
          </a:p>
          <a:p>
            <a:pPr marL="342900" lvl="1" indent="-342900" defTabSz="266700" eaLnBrk="0" hangingPunct="0">
              <a:lnSpc>
                <a:spcPts val="1700"/>
              </a:lnSpc>
              <a:spcAft>
                <a:spcPts val="600"/>
              </a:spcAft>
              <a:buClr>
                <a:srgbClr val="FF0000"/>
              </a:buClr>
            </a:pPr>
            <a:r>
              <a:rPr lang="de-DE" sz="1900" dirty="0" smtClean="0"/>
              <a:t>Es darf am Ende keine Auswirkungen gerade für die stromintensive Industrie geben.</a:t>
            </a:r>
          </a:p>
          <a:p>
            <a:pPr marL="342900" lvl="1" indent="-342900" defTabSz="266700" eaLnBrk="0" hangingPunct="0">
              <a:lnSpc>
                <a:spcPts val="1700"/>
              </a:lnSpc>
              <a:spcAft>
                <a:spcPts val="600"/>
              </a:spcAft>
              <a:buClr>
                <a:srgbClr val="FF0000"/>
              </a:buClr>
            </a:pPr>
            <a:r>
              <a:rPr lang="de-DE" sz="1900" dirty="0" smtClean="0"/>
              <a:t>Die zugesagten Zuschüsse für die privaten und gewerblichen Stromverbraucher von 2 Mrd. € müssen auch verbindlich fließen, </a:t>
            </a:r>
          </a:p>
          <a:p>
            <a:pPr marL="342900" lvl="1" indent="-342900" defTabSz="266700" eaLnBrk="0" hangingPunct="0">
              <a:lnSpc>
                <a:spcPts val="1700"/>
              </a:lnSpc>
              <a:spcAft>
                <a:spcPts val="600"/>
              </a:spcAft>
              <a:buClr>
                <a:srgbClr val="FF0000"/>
              </a:buClr>
            </a:pPr>
            <a:r>
              <a:rPr lang="de-DE" sz="1900" dirty="0" smtClean="0"/>
              <a:t>Oder aber die Alternative, nämlich die Dämpfung des verursachten Strompreisanstiegs.</a:t>
            </a:r>
          </a:p>
          <a:p>
            <a:pPr marL="342900" lvl="1" indent="-342900" defTabSz="266700" eaLnBrk="0" hangingPunct="0">
              <a:lnSpc>
                <a:spcPts val="1700"/>
              </a:lnSpc>
              <a:spcAft>
                <a:spcPts val="600"/>
              </a:spcAft>
              <a:buClr>
                <a:srgbClr val="FF0000"/>
              </a:buClr>
            </a:pPr>
            <a:r>
              <a:rPr lang="de-DE" sz="1900" dirty="0" smtClean="0"/>
              <a:t>Deutschland darf nicht deindustrialisiert werden.</a:t>
            </a:r>
            <a:endParaRPr lang="de-DE" sz="1900" dirty="0" smtClean="0"/>
          </a:p>
          <a:p>
            <a:pPr marL="342900" lvl="1" indent="-342900" defTabSz="266700" eaLnBrk="0" hangingPunct="0">
              <a:lnSpc>
                <a:spcPts val="1700"/>
              </a:lnSpc>
              <a:spcAft>
                <a:spcPts val="600"/>
              </a:spcAft>
              <a:buClr>
                <a:srgbClr val="FF0000"/>
              </a:buClr>
            </a:pPr>
            <a:endParaRPr lang="de-DE" sz="1900" dirty="0"/>
          </a:p>
          <a:p>
            <a:pPr marL="342900" lvl="1" indent="-342900" defTabSz="266700" eaLnBrk="0" hangingPunct="0">
              <a:lnSpc>
                <a:spcPts val="1700"/>
              </a:lnSpc>
              <a:spcAft>
                <a:spcPts val="600"/>
              </a:spcAft>
              <a:buClr>
                <a:srgbClr val="FF0000"/>
              </a:buClr>
            </a:pPr>
            <a:endParaRPr lang="de-DE" sz="1900" dirty="0"/>
          </a:p>
          <a:p>
            <a:pPr marL="342900" lvl="1" indent="-342900" defTabSz="266700" eaLnBrk="0" hangingPunct="0">
              <a:lnSpc>
                <a:spcPts val="1700"/>
              </a:lnSpc>
              <a:spcAft>
                <a:spcPts val="600"/>
              </a:spcAft>
              <a:buClr>
                <a:srgbClr val="FF0000"/>
              </a:buClr>
            </a:pPr>
            <a:endParaRPr lang="de-DE" sz="1900" dirty="0" smtClean="0"/>
          </a:p>
          <a:p>
            <a:pPr lvl="2" indent="-316531" eaLnBrk="0" hangingPunct="0">
              <a:lnSpc>
                <a:spcPts val="1700"/>
              </a:lnSpc>
              <a:spcAft>
                <a:spcPts val="600"/>
              </a:spcAft>
              <a:buClr>
                <a:srgbClr val="FF0000"/>
              </a:buClr>
            </a:pPr>
            <a:endParaRPr lang="de-DE" sz="1530" dirty="0" smtClean="0"/>
          </a:p>
          <a:p>
            <a:pPr marL="263776" indent="-263776" eaLnBrk="0" hangingPunct="0">
              <a:lnSpc>
                <a:spcPts val="1700"/>
              </a:lnSpc>
              <a:spcAft>
                <a:spcPts val="600"/>
              </a:spcAft>
              <a:buClr>
                <a:srgbClr val="FF0000"/>
              </a:buClr>
            </a:pPr>
            <a:endParaRPr lang="de-DE" sz="1900" dirty="0"/>
          </a:p>
          <a:p>
            <a:pPr marL="0" indent="0">
              <a:lnSpc>
                <a:spcPts val="1700"/>
              </a:lnSpc>
              <a:spcAft>
                <a:spcPts val="600"/>
              </a:spcAft>
              <a:buNone/>
            </a:pPr>
            <a:endParaRPr lang="de-DE" sz="1662" dirty="0"/>
          </a:p>
        </p:txBody>
      </p:sp>
      <p:sp>
        <p:nvSpPr>
          <p:cNvPr id="6" name="Inhaltsplatzhalter 1">
            <a:extLst>
              <a:ext uri="{FF2B5EF4-FFF2-40B4-BE49-F238E27FC236}">
                <a16:creationId xmlns:a16="http://schemas.microsoft.com/office/drawing/2014/main" id="{B8851B59-7A49-A94E-B5F4-11DE4D30A2D5}"/>
              </a:ext>
            </a:extLst>
          </p:cNvPr>
          <p:cNvSpPr>
            <a:spLocks noGrp="1"/>
          </p:cNvSpPr>
          <p:nvPr>
            <p:ph sz="quarter" idx="10"/>
          </p:nvPr>
        </p:nvSpPr>
        <p:spPr>
          <a:xfrm>
            <a:off x="355305" y="952224"/>
            <a:ext cx="8433390" cy="419440"/>
          </a:xfrm>
        </p:spPr>
        <p:txBody>
          <a:bodyPr/>
          <a:lstStyle/>
          <a:p>
            <a:r>
              <a:rPr lang="de-DE" dirty="0" smtClean="0"/>
              <a:t>Was Erwarten die Betroffenen (Industrie)!</a:t>
            </a:r>
            <a:endParaRPr lang="de-DE" dirty="0"/>
          </a:p>
        </p:txBody>
      </p:sp>
    </p:spTree>
    <p:extLst>
      <p:ext uri="{BB962C8B-B14F-4D97-AF65-F5344CB8AC3E}">
        <p14:creationId xmlns:p14="http://schemas.microsoft.com/office/powerpoint/2010/main" val="4685739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8851B59-7A49-A94E-B5F4-11DE4D30A2D5}"/>
              </a:ext>
            </a:extLst>
          </p:cNvPr>
          <p:cNvSpPr>
            <a:spLocks noGrp="1"/>
          </p:cNvSpPr>
          <p:nvPr>
            <p:ph sz="quarter" idx="10"/>
          </p:nvPr>
        </p:nvSpPr>
        <p:spPr>
          <a:xfrm>
            <a:off x="357061" y="562201"/>
            <a:ext cx="8433390" cy="854431"/>
          </a:xfrm>
        </p:spPr>
        <p:txBody>
          <a:bodyPr/>
          <a:lstStyle/>
          <a:p>
            <a:r>
              <a:rPr lang="de-DE" dirty="0"/>
              <a:t>„Klimaschützer“ trommeln für </a:t>
            </a:r>
            <a:endParaRPr lang="de-DE" dirty="0" smtClean="0"/>
          </a:p>
          <a:p>
            <a:r>
              <a:rPr lang="de-DE" dirty="0" smtClean="0"/>
              <a:t>Sofortausstieg</a:t>
            </a:r>
            <a:r>
              <a:rPr lang="de-DE" dirty="0"/>
              <a:t>. </a:t>
            </a:r>
            <a:r>
              <a:rPr lang="de-DE" dirty="0" smtClean="0"/>
              <a:t>Sie </a:t>
            </a:r>
            <a:r>
              <a:rPr lang="de-DE" dirty="0"/>
              <a:t>ignorieren alle Folgen!</a:t>
            </a:r>
          </a:p>
        </p:txBody>
      </p:sp>
      <p:sp>
        <p:nvSpPr>
          <p:cNvPr id="3" name="Textplatzhalter 2">
            <a:extLst>
              <a:ext uri="{FF2B5EF4-FFF2-40B4-BE49-F238E27FC236}">
                <a16:creationId xmlns:a16="http://schemas.microsoft.com/office/drawing/2014/main" id="{ED9E06EF-A8F3-EF42-AC47-9EE8FB059ED6}"/>
              </a:ext>
            </a:extLst>
          </p:cNvPr>
          <p:cNvSpPr>
            <a:spLocks noGrp="1"/>
          </p:cNvSpPr>
          <p:nvPr>
            <p:ph type="body" sz="quarter" idx="11"/>
          </p:nvPr>
        </p:nvSpPr>
        <p:spPr>
          <a:xfrm>
            <a:off x="362217" y="1416632"/>
            <a:ext cx="3928431" cy="3967644"/>
          </a:xfrm>
        </p:spPr>
        <p:txBody>
          <a:bodyPr>
            <a:noAutofit/>
          </a:bodyPr>
          <a:lstStyle/>
          <a:p>
            <a:pPr marL="0" indent="0" eaLnBrk="0" hangingPunct="0">
              <a:spcAft>
                <a:spcPts val="1108"/>
              </a:spcAft>
              <a:buClr>
                <a:srgbClr val="FF0000"/>
              </a:buClr>
              <a:buNone/>
            </a:pPr>
            <a:r>
              <a:rPr lang="de-DE" sz="1662" u="sng" dirty="0"/>
              <a:t>Sofortiger Kohleausstieg bedeutet: </a:t>
            </a:r>
          </a:p>
          <a:p>
            <a:pPr marL="263776" indent="-263776" eaLnBrk="0" hangingPunct="0">
              <a:spcAft>
                <a:spcPts val="1108"/>
              </a:spcAft>
              <a:buClr>
                <a:srgbClr val="FF0000"/>
              </a:buClr>
            </a:pPr>
            <a:r>
              <a:rPr lang="de-DE" sz="1900" dirty="0"/>
              <a:t>Gefahr für hunderttausende Jobs </a:t>
            </a:r>
          </a:p>
          <a:p>
            <a:pPr marL="263776" indent="-263776" eaLnBrk="0" hangingPunct="0">
              <a:spcAft>
                <a:spcPts val="1108"/>
              </a:spcAft>
              <a:buClr>
                <a:srgbClr val="FF0000"/>
              </a:buClr>
            </a:pPr>
            <a:r>
              <a:rPr lang="de-DE" sz="1900" dirty="0"/>
              <a:t>Ganze Regionen droht der wirtschaftlicher Kahlschlag</a:t>
            </a:r>
          </a:p>
          <a:p>
            <a:pPr marL="263776" indent="-263776" eaLnBrk="0" hangingPunct="0">
              <a:spcAft>
                <a:spcPts val="1108"/>
              </a:spcAft>
              <a:buClr>
                <a:srgbClr val="FF0000"/>
              </a:buClr>
            </a:pPr>
            <a:r>
              <a:rPr lang="de-DE" sz="1900" dirty="0"/>
              <a:t>Fehlende Versorgungssicherheit für Industrie und Haushalte  </a:t>
            </a:r>
          </a:p>
          <a:p>
            <a:pPr marL="263776" indent="-263776" eaLnBrk="0" hangingPunct="0">
              <a:spcAft>
                <a:spcPts val="1108"/>
              </a:spcAft>
              <a:buClr>
                <a:srgbClr val="FF0000"/>
              </a:buClr>
            </a:pPr>
            <a:r>
              <a:rPr lang="de-DE" sz="1900" dirty="0"/>
              <a:t>Bei Wind- Sonnenflaute auf ausländischer Kohle- und Atomstromkraftwerke angewiesen</a:t>
            </a:r>
          </a:p>
          <a:p>
            <a:pPr marL="263776" indent="-263776" eaLnBrk="0" hangingPunct="0">
              <a:spcAft>
                <a:spcPts val="1108"/>
              </a:spcAft>
              <a:buClr>
                <a:srgbClr val="FF0000"/>
              </a:buClr>
            </a:pPr>
            <a:r>
              <a:rPr lang="de-DE" sz="1900" dirty="0"/>
              <a:t>Strom wird Luxus!</a:t>
            </a:r>
          </a:p>
          <a:p>
            <a:pPr marL="263776" indent="-263776" eaLnBrk="0" hangingPunct="0">
              <a:spcAft>
                <a:spcPts val="1108"/>
              </a:spcAft>
              <a:buClr>
                <a:srgbClr val="FF0000"/>
              </a:buClr>
            </a:pPr>
            <a:r>
              <a:rPr lang="de-DE" sz="1900" dirty="0"/>
              <a:t>Fehlende Stromtrassen für den Transport von Nord nach Süd</a:t>
            </a:r>
          </a:p>
          <a:p>
            <a:pPr marL="0" indent="0">
              <a:lnSpc>
                <a:spcPct val="100000"/>
              </a:lnSpc>
              <a:spcAft>
                <a:spcPts val="1108"/>
              </a:spcAft>
              <a:buNone/>
            </a:pPr>
            <a:endParaRPr lang="de-DE" sz="1662" dirty="0"/>
          </a:p>
        </p:txBody>
      </p:sp>
      <p:pic>
        <p:nvPicPr>
          <p:cNvPr id="6" name="Grafik 5">
            <a:extLst>
              <a:ext uri="{FF2B5EF4-FFF2-40B4-BE49-F238E27FC236}">
                <a16:creationId xmlns:a16="http://schemas.microsoft.com/office/drawing/2014/main" id="{2D15D2AD-5B9B-D54E-9280-8130A5C8D69A}"/>
              </a:ext>
            </a:extLst>
          </p:cNvPr>
          <p:cNvPicPr>
            <a:picLocks noChangeAspect="1"/>
          </p:cNvPicPr>
          <p:nvPr/>
        </p:nvPicPr>
        <p:blipFill>
          <a:blip r:embed="rId3"/>
          <a:stretch>
            <a:fillRect/>
          </a:stretch>
        </p:blipFill>
        <p:spPr>
          <a:xfrm>
            <a:off x="4290648" y="1883056"/>
            <a:ext cx="4499803" cy="3241651"/>
          </a:xfrm>
          <a:prstGeom prst="rect">
            <a:avLst/>
          </a:prstGeom>
        </p:spPr>
      </p:pic>
    </p:spTree>
    <p:extLst>
      <p:ext uri="{BB962C8B-B14F-4D97-AF65-F5344CB8AC3E}">
        <p14:creationId xmlns:p14="http://schemas.microsoft.com/office/powerpoint/2010/main" val="1781698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a:extLst>
              <a:ext uri="{FF2B5EF4-FFF2-40B4-BE49-F238E27FC236}">
                <a16:creationId xmlns:a16="http://schemas.microsoft.com/office/drawing/2014/main" id="{94323C0E-4603-4457-9494-4775671A4587}"/>
              </a:ext>
            </a:extLst>
          </p:cNvPr>
          <p:cNvGraphicFramePr>
            <a:graphicFrameLocks noChangeAspect="1"/>
          </p:cNvGraphicFramePr>
          <p:nvPr>
            <p:custDataLst>
              <p:tags r:id="rId2"/>
            </p:custDataLst>
            <p:extLst/>
          </p:nvPr>
        </p:nvGraphicFramePr>
        <p:xfrm>
          <a:off x="-1521883" y="2119"/>
          <a:ext cx="2116" cy="2116"/>
        </p:xfrm>
        <a:graphic>
          <a:graphicData uri="http://schemas.openxmlformats.org/presentationml/2006/ole">
            <mc:AlternateContent xmlns:mc="http://schemas.openxmlformats.org/markup-compatibility/2006">
              <mc:Choice xmlns:v="urn:schemas-microsoft-com:vml" Requires="v">
                <p:oleObj spid="_x0000_s5131" name="think-cell Folie" r:id="rId5" imgW="359" imgH="360" progId="TCLayout.ActiveDocument.1">
                  <p:embed/>
                </p:oleObj>
              </mc:Choice>
              <mc:Fallback>
                <p:oleObj name="think-cell Folie" r:id="rId5" imgW="359" imgH="360" progId="TCLayout.ActiveDocument.1">
                  <p:embed/>
                  <p:pic>
                    <p:nvPicPr>
                      <p:cNvPr id="26" name="Object 25" hidden="1">
                        <a:extLst>
                          <a:ext uri="{FF2B5EF4-FFF2-40B4-BE49-F238E27FC236}">
                            <a16:creationId xmlns:a16="http://schemas.microsoft.com/office/drawing/2014/main" id="{94323C0E-4603-4457-9494-4775671A4587}"/>
                          </a:ext>
                        </a:extLst>
                      </p:cNvPr>
                      <p:cNvPicPr/>
                      <p:nvPr/>
                    </p:nvPicPr>
                    <p:blipFill>
                      <a:blip r:embed="rId6"/>
                      <a:stretch>
                        <a:fillRect/>
                      </a:stretch>
                    </p:blipFill>
                    <p:spPr>
                      <a:xfrm>
                        <a:off x="-1521883" y="2119"/>
                        <a:ext cx="2116" cy="211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1694C3-AA8C-47FD-99F2-88B35C0741FE}"/>
              </a:ext>
            </a:extLst>
          </p:cNvPr>
          <p:cNvSpPr>
            <a:spLocks noGrp="1"/>
          </p:cNvSpPr>
          <p:nvPr>
            <p:ph type="title"/>
          </p:nvPr>
        </p:nvSpPr>
        <p:spPr>
          <a:xfrm>
            <a:off x="196527" y="858799"/>
            <a:ext cx="8578851" cy="719325"/>
          </a:xfrm>
        </p:spPr>
        <p:txBody>
          <a:bodyPr>
            <a:normAutofit fontScale="90000"/>
          </a:bodyPr>
          <a:lstStyle/>
          <a:p>
            <a:r>
              <a:rPr lang="de-DE" dirty="0">
                <a:ea typeface="ＭＳ Ｐゴシック" pitchFamily="34" charset="-128"/>
              </a:rPr>
              <a:t>Beschaffungsvolumen </a:t>
            </a:r>
            <a:r>
              <a:rPr lang="de-DE" dirty="0" smtClean="0">
                <a:ea typeface="ＭＳ Ｐゴシック" pitchFamily="34" charset="-128"/>
              </a:rPr>
              <a:t>01/2018 </a:t>
            </a:r>
            <a:r>
              <a:rPr lang="de-DE" dirty="0">
                <a:ea typeface="ＭＳ Ｐゴシック" pitchFamily="34" charset="-128"/>
              </a:rPr>
              <a:t>bis </a:t>
            </a:r>
            <a:r>
              <a:rPr lang="de-DE" dirty="0" smtClean="0">
                <a:ea typeface="ＭＳ Ｐゴシック" pitchFamily="34" charset="-128"/>
              </a:rPr>
              <a:t>12/2018 der RWE </a:t>
            </a:r>
            <a:r>
              <a:rPr lang="de-DE" dirty="0">
                <a:ea typeface="ＭＳ Ｐゴシック" pitchFamily="34" charset="-128"/>
              </a:rPr>
              <a:t>für Materialien und Dienstleistungen im rheinischen Revier </a:t>
            </a:r>
            <a:endParaRPr lang="de-DE" dirty="0"/>
          </a:p>
        </p:txBody>
      </p:sp>
      <p:sp>
        <p:nvSpPr>
          <p:cNvPr id="22" name="Untertitel 2"/>
          <p:cNvSpPr txBox="1">
            <a:spLocks/>
          </p:cNvSpPr>
          <p:nvPr/>
        </p:nvSpPr>
        <p:spPr>
          <a:xfrm>
            <a:off x="3809527" y="2372374"/>
            <a:ext cx="5039200" cy="1800200"/>
          </a:xfrm>
          <a:prstGeom prst="rect">
            <a:avLst/>
          </a:prstGeom>
        </p:spPr>
        <p:txBody>
          <a:bodyPr/>
          <a:lstStyle>
            <a:lvl1pPr marL="0" indent="0" algn="l" defTabSz="914377"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19090" indent="-179913" algn="l" defTabSz="914377" rtl="0" eaLnBrk="1" latinLnBrk="0" hangingPunct="1">
              <a:lnSpc>
                <a:spcPct val="90000"/>
              </a:lnSpc>
              <a:spcBef>
                <a:spcPts val="500"/>
              </a:spcBef>
              <a:buFont typeface=".HelveticaNeueDeskInterface-Regular" charset="-120"/>
              <a:buChar char="-"/>
              <a:tabLst/>
              <a:defRPr sz="1600" kern="1200">
                <a:solidFill>
                  <a:schemeClr val="tx1"/>
                </a:solidFill>
                <a:latin typeface="+mn-lt"/>
                <a:ea typeface="+mn-ea"/>
                <a:cs typeface="+mn-cs"/>
              </a:defRPr>
            </a:lvl2pPr>
            <a:lvl3pPr marL="829713" indent="-228594" algn="l" defTabSz="914377" rtl="0" eaLnBrk="1" latinLnBrk="0" hangingPunct="1">
              <a:lnSpc>
                <a:spcPct val="90000"/>
              </a:lnSpc>
              <a:spcBef>
                <a:spcPts val="500"/>
              </a:spcBef>
              <a:buFont typeface=".HelveticaNeueDeskInterface-Regular" charset="-120"/>
              <a:buChar char="-"/>
              <a:tabLst/>
              <a:defRPr sz="1600" kern="1200">
                <a:solidFill>
                  <a:schemeClr val="tx1"/>
                </a:solidFill>
                <a:latin typeface="+mn-lt"/>
                <a:ea typeface="+mn-ea"/>
                <a:cs typeface="+mn-cs"/>
              </a:defRPr>
            </a:lvl3pPr>
            <a:lvl4pPr marL="1193770" indent="-239178" algn="l" defTabSz="914377"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4pPr>
            <a:lvl5pPr marL="1547245" indent="-302676" algn="l" defTabSz="914377" rtl="0" eaLnBrk="1" latinLnBrk="0" hangingPunct="1">
              <a:lnSpc>
                <a:spcPct val="90000"/>
              </a:lnSpc>
              <a:spcBef>
                <a:spcPts val="500"/>
              </a:spcBef>
              <a:buFont typeface="Arial" panose="020B0604020202020204" pitchFamily="34" charset="0"/>
              <a:buChar char="•"/>
              <a:tabLst/>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eaLnBrk="0" hangingPunct="0">
              <a:lnSpc>
                <a:spcPct val="150000"/>
              </a:lnSpc>
              <a:spcBef>
                <a:spcPct val="50000"/>
              </a:spcBef>
              <a:buClr>
                <a:schemeClr val="tx2"/>
              </a:buClr>
              <a:buSzPct val="105000"/>
              <a:buFont typeface="Arial" panose="020B0604020202020204" pitchFamily="34" charset="0"/>
              <a:buChar char="&gt;"/>
            </a:pPr>
            <a:r>
              <a:rPr lang="de-DE" sz="1800" b="1" dirty="0" smtClean="0">
                <a:latin typeface="Arial" charset="0"/>
              </a:rPr>
              <a:t>Beschaffungsvolumen RWE ca. 1,9 Mrd. €</a:t>
            </a:r>
          </a:p>
          <a:p>
            <a:pPr marL="733425" lvl="1" indent="-285750" eaLnBrk="0" hangingPunct="0">
              <a:lnSpc>
                <a:spcPct val="150000"/>
              </a:lnSpc>
              <a:spcBef>
                <a:spcPct val="50000"/>
              </a:spcBef>
              <a:buClr>
                <a:schemeClr val="tx2"/>
              </a:buClr>
              <a:buSzPct val="105000"/>
              <a:buFont typeface="Arial" panose="020B0604020202020204" pitchFamily="34" charset="0"/>
              <a:buChar char="&gt;"/>
              <a:tabLst>
                <a:tab pos="266700" algn="l"/>
                <a:tab pos="534988" algn="l"/>
                <a:tab pos="542925" algn="l"/>
                <a:tab pos="714375" algn="l"/>
                <a:tab pos="1076325" algn="l"/>
                <a:tab pos="1343025" algn="l"/>
              </a:tabLst>
            </a:pPr>
            <a:r>
              <a:rPr lang="de-DE" b="1" dirty="0" smtClean="0">
                <a:latin typeface="Arial" charset="0"/>
              </a:rPr>
              <a:t>davon 27 % im rheinischen Revier</a:t>
            </a:r>
          </a:p>
          <a:p>
            <a:pPr marL="285750" indent="-285750" eaLnBrk="0" hangingPunct="0">
              <a:lnSpc>
                <a:spcPct val="150000"/>
              </a:lnSpc>
              <a:spcBef>
                <a:spcPct val="50000"/>
              </a:spcBef>
              <a:buClr>
                <a:schemeClr val="tx2"/>
              </a:buClr>
              <a:buSzPct val="105000"/>
              <a:buFont typeface="Arial" panose="020B0604020202020204" pitchFamily="34" charset="0"/>
              <a:buChar char="&gt;"/>
            </a:pPr>
            <a:r>
              <a:rPr lang="de-DE" sz="1800" b="1" dirty="0" smtClean="0">
                <a:latin typeface="Arial" charset="0"/>
              </a:rPr>
              <a:t>Vergaben an ca. 1.800 Lieferanten</a:t>
            </a:r>
          </a:p>
          <a:p>
            <a:pPr marL="285750" indent="-285750" eaLnBrk="0" hangingPunct="0">
              <a:spcBef>
                <a:spcPct val="50000"/>
              </a:spcBef>
              <a:buClr>
                <a:schemeClr val="tx2"/>
              </a:buClr>
              <a:buSzPct val="105000"/>
              <a:buFont typeface="Arial" panose="020B0604020202020204" pitchFamily="34" charset="0"/>
              <a:buChar char="&gt;"/>
            </a:pPr>
            <a:endParaRPr lang="de-DE" sz="1800" b="1" dirty="0">
              <a:latin typeface="Arial" charset="0"/>
            </a:endParaRPr>
          </a:p>
        </p:txBody>
      </p:sp>
      <p:sp>
        <p:nvSpPr>
          <p:cNvPr id="28" name="Textfeld 27"/>
          <p:cNvSpPr txBox="1"/>
          <p:nvPr/>
        </p:nvSpPr>
        <p:spPr>
          <a:xfrm>
            <a:off x="255610" y="5185340"/>
            <a:ext cx="914400" cy="274494"/>
          </a:xfrm>
          <a:prstGeom prst="rect">
            <a:avLst/>
          </a:prstGeom>
          <a:noFill/>
          <a:ln w="6350"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l"/>
            <a:r>
              <a:rPr lang="de-DE" sz="600" dirty="0" smtClean="0"/>
              <a:t>Quelle Karte: Wikimedia </a:t>
            </a:r>
            <a:r>
              <a:rPr lang="de-DE" sz="600" dirty="0" err="1" smtClean="0"/>
              <a:t>Commons</a:t>
            </a:r>
            <a:endParaRPr lang="de-DE" sz="600" dirty="0" smtClean="0"/>
          </a:p>
        </p:txBody>
      </p:sp>
      <p:grpSp>
        <p:nvGrpSpPr>
          <p:cNvPr id="6" name="Gruppieren 5"/>
          <p:cNvGrpSpPr/>
          <p:nvPr/>
        </p:nvGrpSpPr>
        <p:grpSpPr>
          <a:xfrm>
            <a:off x="196527" y="1919165"/>
            <a:ext cx="3612999" cy="4188336"/>
            <a:chOff x="196527" y="1574109"/>
            <a:chExt cx="3612999" cy="4276276"/>
          </a:xfrm>
        </p:grpSpPr>
        <p:pic>
          <p:nvPicPr>
            <p:cNvPr id="23" name="BC06DA4B-0026-4141-9415-7C970FC90700" descr="067ACC6B-59EF-4D64-9B73-84AF6ADB3266@Speedport_W_723V_1_42_00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9795" y="1574109"/>
              <a:ext cx="3528392" cy="350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4" descr="http://www.proleipzig.eu/assets/images/Lupe_Gestell.gif"/>
            <p:cNvPicPr preferRelativeResize="0">
              <a:picLocks noChangeArrowheads="1"/>
            </p:cNvPicPr>
            <p:nvPr/>
          </p:nvPicPr>
          <p:blipFill>
            <a:blip r:embed="rId8" cstate="print"/>
            <a:srcRect/>
            <a:stretch>
              <a:fillRect/>
            </a:stretch>
          </p:blipFill>
          <p:spPr bwMode="auto">
            <a:xfrm rot="16200000">
              <a:off x="675815" y="2716674"/>
              <a:ext cx="2654423" cy="3612999"/>
            </a:xfrm>
            <a:prstGeom prst="rect">
              <a:avLst/>
            </a:prstGeom>
            <a:noFill/>
          </p:spPr>
        </p:pic>
      </p:grpSp>
    </p:spTree>
    <p:extLst>
      <p:ext uri="{BB962C8B-B14F-4D97-AF65-F5344CB8AC3E}">
        <p14:creationId xmlns:p14="http://schemas.microsoft.com/office/powerpoint/2010/main" val="14196348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Folie" r:id="rId6" imgW="270" imgH="270" progId="TCLayout.ActiveDocument.1">
                  <p:embed/>
                </p:oleObj>
              </mc:Choice>
              <mc:Fallback>
                <p:oleObj name="think-cell Folie" r:id="rId6" imgW="270" imgH="270" progId="TCLayout.ActiveDocument.1">
                  <p:embed/>
                  <p:pic>
                    <p:nvPicPr>
                      <p:cNvPr id="6" name="Objek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gradFill>
            <a:gsLst>
              <a:gs pos="100000">
                <a:srgbClr val="32B4E6"/>
              </a:gs>
              <a:gs pos="75000">
                <a:srgbClr val="297FB3"/>
              </a:gs>
              <a:gs pos="0">
                <a:srgbClr val="1E4678"/>
              </a:gs>
            </a:gsLst>
            <a:lin ang="0" scaled="1"/>
          </a:gradFill>
          <a:ln>
            <a:noFill/>
          </a:ln>
        </p:spPr>
        <p:txBody>
          <a:bodyPr vert="horz" wrap="none" lIns="0" tIns="0" rIns="0" bIns="0" numCol="1" spcCol="0" rtlCol="0" anchor="ctr" anchorCtr="0">
            <a:noAutofit/>
          </a:bodyPr>
          <a:lstStyle/>
          <a:p>
            <a:pPr algn="ctr">
              <a:lnSpc>
                <a:spcPct val="90000"/>
              </a:lnSpc>
              <a:tabLst>
                <a:tab pos="4000500" algn="r"/>
              </a:tabLst>
            </a:pPr>
            <a:endParaRPr lang="de-DE" sz="2400" b="1" dirty="0">
              <a:latin typeface="Arial"/>
              <a:ea typeface="+mj-ea"/>
              <a:cs typeface="+mj-cs"/>
              <a:sym typeface="Arial"/>
            </a:endParaRPr>
          </a:p>
        </p:txBody>
      </p:sp>
      <p:sp>
        <p:nvSpPr>
          <p:cNvPr id="2" name="Titel 1"/>
          <p:cNvSpPr>
            <a:spLocks noGrp="1"/>
          </p:cNvSpPr>
          <p:nvPr>
            <p:ph type="title"/>
          </p:nvPr>
        </p:nvSpPr>
        <p:spPr/>
        <p:txBody>
          <a:bodyPr/>
          <a:lstStyle/>
          <a:p>
            <a:r>
              <a:rPr lang="de-DE" dirty="0" smtClean="0"/>
              <a:t>Beschäftigte im Rheinischen Revier der RWE Power </a:t>
            </a:r>
            <a:endParaRPr lang="de-DE" dirty="0"/>
          </a:p>
        </p:txBody>
      </p:sp>
      <p:grpSp>
        <p:nvGrpSpPr>
          <p:cNvPr id="8" name="Gruppieren 929"/>
          <p:cNvGrpSpPr>
            <a:grpSpLocks/>
          </p:cNvGrpSpPr>
          <p:nvPr/>
        </p:nvGrpSpPr>
        <p:grpSpPr bwMode="auto">
          <a:xfrm>
            <a:off x="255530" y="758008"/>
            <a:ext cx="8428037" cy="5629275"/>
            <a:chOff x="341313" y="693657"/>
            <a:chExt cx="7521575" cy="5470684"/>
          </a:xfrm>
        </p:grpSpPr>
        <p:sp>
          <p:nvSpPr>
            <p:cNvPr id="9" name="Rectangle 1101"/>
            <p:cNvSpPr>
              <a:spLocks noChangeArrowheads="1"/>
            </p:cNvSpPr>
            <p:nvPr/>
          </p:nvSpPr>
          <p:spPr bwMode="auto">
            <a:xfrm>
              <a:off x="341313" y="694395"/>
              <a:ext cx="7521575" cy="5450895"/>
            </a:xfrm>
            <a:prstGeom prst="rect">
              <a:avLst/>
            </a:prstGeom>
            <a:solidFill>
              <a:srgbClr val="EAEAEA"/>
            </a:solidFill>
            <a:ln w="19050">
              <a:solidFill>
                <a:srgbClr val="3D67AE"/>
              </a:solidFill>
              <a:miter lim="800000"/>
              <a:headEnd/>
              <a:tailEnd/>
            </a:ln>
          </p:spPr>
          <p:txBody>
            <a:bodyPr lIns="0" tIns="0" rIns="0" bIns="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10" name="Freeform 1102"/>
            <p:cNvSpPr>
              <a:spLocks/>
            </p:cNvSpPr>
            <p:nvPr/>
          </p:nvSpPr>
          <p:spPr bwMode="auto">
            <a:xfrm>
              <a:off x="3700463" y="2633741"/>
              <a:ext cx="114300" cy="220663"/>
            </a:xfrm>
            <a:custGeom>
              <a:avLst/>
              <a:gdLst>
                <a:gd name="T0" fmla="*/ 2147483647 w 219"/>
                <a:gd name="T1" fmla="*/ 2147483647 h 423"/>
                <a:gd name="T2" fmla="*/ 2147483647 w 219"/>
                <a:gd name="T3" fmla="*/ 2147483647 h 423"/>
                <a:gd name="T4" fmla="*/ 2147483647 w 219"/>
                <a:gd name="T5" fmla="*/ 2147483647 h 423"/>
                <a:gd name="T6" fmla="*/ 2147483647 w 219"/>
                <a:gd name="T7" fmla="*/ 2147483647 h 423"/>
                <a:gd name="T8" fmla="*/ 2147483647 w 219"/>
                <a:gd name="T9" fmla="*/ 2147483647 h 423"/>
                <a:gd name="T10" fmla="*/ 2147483647 w 219"/>
                <a:gd name="T11" fmla="*/ 2147483647 h 423"/>
                <a:gd name="T12" fmla="*/ 2147483647 w 219"/>
                <a:gd name="T13" fmla="*/ 2147483647 h 423"/>
                <a:gd name="T14" fmla="*/ 2147483647 w 219"/>
                <a:gd name="T15" fmla="*/ 2147483647 h 423"/>
                <a:gd name="T16" fmla="*/ 2147483647 w 219"/>
                <a:gd name="T17" fmla="*/ 2147483647 h 423"/>
                <a:gd name="T18" fmla="*/ 2147483647 w 219"/>
                <a:gd name="T19" fmla="*/ 2147483647 h 423"/>
                <a:gd name="T20" fmla="*/ 2147483647 w 219"/>
                <a:gd name="T21" fmla="*/ 2147483647 h 423"/>
                <a:gd name="T22" fmla="*/ 2147483647 w 219"/>
                <a:gd name="T23" fmla="*/ 2147483647 h 423"/>
                <a:gd name="T24" fmla="*/ 2147483647 w 219"/>
                <a:gd name="T25" fmla="*/ 2147483647 h 4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9"/>
                <a:gd name="T40" fmla="*/ 0 h 423"/>
                <a:gd name="T41" fmla="*/ 219 w 219"/>
                <a:gd name="T42" fmla="*/ 423 h 4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9" h="423">
                  <a:moveTo>
                    <a:pt x="66" y="330"/>
                  </a:moveTo>
                  <a:cubicBezTo>
                    <a:pt x="75" y="348"/>
                    <a:pt x="77" y="349"/>
                    <a:pt x="83" y="359"/>
                  </a:cubicBezTo>
                  <a:cubicBezTo>
                    <a:pt x="89" y="369"/>
                    <a:pt x="95" y="387"/>
                    <a:pt x="104" y="392"/>
                  </a:cubicBezTo>
                  <a:cubicBezTo>
                    <a:pt x="113" y="397"/>
                    <a:pt x="126" y="389"/>
                    <a:pt x="138" y="388"/>
                  </a:cubicBezTo>
                  <a:cubicBezTo>
                    <a:pt x="150" y="387"/>
                    <a:pt x="164" y="389"/>
                    <a:pt x="174" y="388"/>
                  </a:cubicBezTo>
                  <a:cubicBezTo>
                    <a:pt x="184" y="387"/>
                    <a:pt x="190" y="386"/>
                    <a:pt x="196" y="383"/>
                  </a:cubicBezTo>
                  <a:cubicBezTo>
                    <a:pt x="202" y="380"/>
                    <a:pt x="209" y="423"/>
                    <a:pt x="213" y="368"/>
                  </a:cubicBezTo>
                  <a:lnTo>
                    <a:pt x="219" y="51"/>
                  </a:lnTo>
                  <a:cubicBezTo>
                    <a:pt x="211" y="0"/>
                    <a:pt x="184" y="51"/>
                    <a:pt x="162" y="63"/>
                  </a:cubicBezTo>
                  <a:cubicBezTo>
                    <a:pt x="140" y="75"/>
                    <a:pt x="108" y="99"/>
                    <a:pt x="83" y="123"/>
                  </a:cubicBezTo>
                  <a:cubicBezTo>
                    <a:pt x="58" y="147"/>
                    <a:pt x="18" y="189"/>
                    <a:pt x="9" y="210"/>
                  </a:cubicBezTo>
                  <a:cubicBezTo>
                    <a:pt x="0" y="231"/>
                    <a:pt x="18" y="230"/>
                    <a:pt x="27" y="250"/>
                  </a:cubicBezTo>
                  <a:cubicBezTo>
                    <a:pt x="36" y="270"/>
                    <a:pt x="57" y="312"/>
                    <a:pt x="66" y="330"/>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11" name="Freeform 1103"/>
            <p:cNvSpPr>
              <a:spLocks/>
            </p:cNvSpPr>
            <p:nvPr/>
          </p:nvSpPr>
          <p:spPr bwMode="auto">
            <a:xfrm>
              <a:off x="3008338" y="1694685"/>
              <a:ext cx="809600" cy="1124792"/>
            </a:xfrm>
            <a:custGeom>
              <a:avLst/>
              <a:gdLst>
                <a:gd name="T0" fmla="*/ 2147483647 w 10745"/>
                <a:gd name="T1" fmla="*/ 2147483647 h 12171"/>
                <a:gd name="T2" fmla="*/ 2147483647 w 10745"/>
                <a:gd name="T3" fmla="*/ 2147483647 h 12171"/>
                <a:gd name="T4" fmla="*/ 2147483647 w 10745"/>
                <a:gd name="T5" fmla="*/ 2147483647 h 12171"/>
                <a:gd name="T6" fmla="*/ 2147483647 w 10745"/>
                <a:gd name="T7" fmla="*/ 2147483647 h 12171"/>
                <a:gd name="T8" fmla="*/ 2147483647 w 10745"/>
                <a:gd name="T9" fmla="*/ 2147483647 h 12171"/>
                <a:gd name="T10" fmla="*/ 2147483647 w 10745"/>
                <a:gd name="T11" fmla="*/ 2147483647 h 12171"/>
                <a:gd name="T12" fmla="*/ 2147483647 w 10745"/>
                <a:gd name="T13" fmla="*/ 2147483647 h 12171"/>
                <a:gd name="T14" fmla="*/ 2147483647 w 10745"/>
                <a:gd name="T15" fmla="*/ 2147483647 h 12171"/>
                <a:gd name="T16" fmla="*/ 2147483647 w 10745"/>
                <a:gd name="T17" fmla="*/ 2147483647 h 12171"/>
                <a:gd name="T18" fmla="*/ 2147483647 w 10745"/>
                <a:gd name="T19" fmla="*/ 2147483647 h 12171"/>
                <a:gd name="T20" fmla="*/ 2147483647 w 10745"/>
                <a:gd name="T21" fmla="*/ 2147483647 h 12171"/>
                <a:gd name="T22" fmla="*/ 2147483647 w 10745"/>
                <a:gd name="T23" fmla="*/ 2147483647 h 12171"/>
                <a:gd name="T24" fmla="*/ 2147483647 w 10745"/>
                <a:gd name="T25" fmla="*/ 2147483647 h 12171"/>
                <a:gd name="T26" fmla="*/ 2147483647 w 10745"/>
                <a:gd name="T27" fmla="*/ 2147483647 h 12171"/>
                <a:gd name="T28" fmla="*/ 2147483647 w 10745"/>
                <a:gd name="T29" fmla="*/ 2147483647 h 12171"/>
                <a:gd name="T30" fmla="*/ 2147483647 w 10745"/>
                <a:gd name="T31" fmla="*/ 2147483647 h 12171"/>
                <a:gd name="T32" fmla="*/ 2147483647 w 10745"/>
                <a:gd name="T33" fmla="*/ 2147483647 h 12171"/>
                <a:gd name="T34" fmla="*/ 2147483647 w 10745"/>
                <a:gd name="T35" fmla="*/ 2147483647 h 12171"/>
                <a:gd name="T36" fmla="*/ 2147483647 w 10745"/>
                <a:gd name="T37" fmla="*/ 2147483647 h 12171"/>
                <a:gd name="T38" fmla="*/ 2147483647 w 10745"/>
                <a:gd name="T39" fmla="*/ 2147483647 h 12171"/>
                <a:gd name="T40" fmla="*/ 2147483647 w 10745"/>
                <a:gd name="T41" fmla="*/ 2147483647 h 12171"/>
                <a:gd name="T42" fmla="*/ 2147483647 w 10745"/>
                <a:gd name="T43" fmla="*/ 2147483647 h 12171"/>
                <a:gd name="T44" fmla="*/ 2147483647 w 10745"/>
                <a:gd name="T45" fmla="*/ 2147483647 h 12171"/>
                <a:gd name="T46" fmla="*/ 2147483647 w 10745"/>
                <a:gd name="T47" fmla="*/ 2147483647 h 12171"/>
                <a:gd name="T48" fmla="*/ 2147483647 w 10745"/>
                <a:gd name="T49" fmla="*/ 2147483647 h 12171"/>
                <a:gd name="T50" fmla="*/ 2147483647 w 10745"/>
                <a:gd name="T51" fmla="*/ 2147483647 h 12171"/>
                <a:gd name="T52" fmla="*/ 2147483647 w 10745"/>
                <a:gd name="T53" fmla="*/ 2147483647 h 12171"/>
                <a:gd name="T54" fmla="*/ 2147483647 w 10745"/>
                <a:gd name="T55" fmla="*/ 2147483647 h 12171"/>
                <a:gd name="T56" fmla="*/ 2147483647 w 10745"/>
                <a:gd name="T57" fmla="*/ 2147483647 h 12171"/>
                <a:gd name="T58" fmla="*/ 2147483647 w 10745"/>
                <a:gd name="T59" fmla="*/ 2147483647 h 12171"/>
                <a:gd name="T60" fmla="*/ 2147483647 w 10745"/>
                <a:gd name="T61" fmla="*/ 2147483647 h 12171"/>
                <a:gd name="T62" fmla="*/ 2147483647 w 10745"/>
                <a:gd name="T63" fmla="*/ 2147483647 h 12171"/>
                <a:gd name="T64" fmla="*/ 2147483647 w 10745"/>
                <a:gd name="T65" fmla="*/ 2147483647 h 12171"/>
                <a:gd name="T66" fmla="*/ 2147483647 w 10745"/>
                <a:gd name="T67" fmla="*/ 2147483647 h 12171"/>
                <a:gd name="T68" fmla="*/ 2147483647 w 10745"/>
                <a:gd name="T69" fmla="*/ 2147483647 h 12171"/>
                <a:gd name="T70" fmla="*/ 2147483647 w 10745"/>
                <a:gd name="T71" fmla="*/ 2147483647 h 12171"/>
                <a:gd name="T72" fmla="*/ 2147483647 w 10745"/>
                <a:gd name="T73" fmla="*/ 2147483647 h 12171"/>
                <a:gd name="T74" fmla="*/ 2147483647 w 10745"/>
                <a:gd name="T75" fmla="*/ 2147483647 h 121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745" h="12171">
                  <a:moveTo>
                    <a:pt x="8471" y="4342"/>
                  </a:moveTo>
                  <a:cubicBezTo>
                    <a:pt x="8292" y="4280"/>
                    <a:pt x="8176" y="4280"/>
                    <a:pt x="7968" y="4262"/>
                  </a:cubicBezTo>
                  <a:cubicBezTo>
                    <a:pt x="7760" y="4246"/>
                    <a:pt x="7519" y="4234"/>
                    <a:pt x="7243" y="4246"/>
                  </a:cubicBezTo>
                  <a:cubicBezTo>
                    <a:pt x="6965" y="4257"/>
                    <a:pt x="6565" y="4262"/>
                    <a:pt x="6310" y="4319"/>
                  </a:cubicBezTo>
                  <a:cubicBezTo>
                    <a:pt x="6054" y="4376"/>
                    <a:pt x="5833" y="4448"/>
                    <a:pt x="5688" y="4589"/>
                  </a:cubicBezTo>
                  <a:cubicBezTo>
                    <a:pt x="5543" y="4729"/>
                    <a:pt x="5528" y="5100"/>
                    <a:pt x="5439" y="5180"/>
                  </a:cubicBezTo>
                  <a:cubicBezTo>
                    <a:pt x="5350" y="5258"/>
                    <a:pt x="5253" y="5072"/>
                    <a:pt x="5135" y="5061"/>
                  </a:cubicBezTo>
                  <a:cubicBezTo>
                    <a:pt x="5018" y="5050"/>
                    <a:pt x="5418" y="5951"/>
                    <a:pt x="4748" y="5118"/>
                  </a:cubicBezTo>
                  <a:cubicBezTo>
                    <a:pt x="4078" y="4285"/>
                    <a:pt x="1902" y="122"/>
                    <a:pt x="1116" y="61"/>
                  </a:cubicBezTo>
                  <a:cubicBezTo>
                    <a:pt x="330" y="0"/>
                    <a:pt x="0" y="3534"/>
                    <a:pt x="30" y="4751"/>
                  </a:cubicBezTo>
                  <a:cubicBezTo>
                    <a:pt x="60" y="5968"/>
                    <a:pt x="983" y="6831"/>
                    <a:pt x="1295" y="7366"/>
                  </a:cubicBezTo>
                  <a:cubicBezTo>
                    <a:pt x="1604" y="7900"/>
                    <a:pt x="2148" y="7900"/>
                    <a:pt x="2514" y="8276"/>
                  </a:cubicBezTo>
                  <a:cubicBezTo>
                    <a:pt x="2881" y="8653"/>
                    <a:pt x="3325" y="9215"/>
                    <a:pt x="3497" y="9614"/>
                  </a:cubicBezTo>
                  <a:cubicBezTo>
                    <a:pt x="3671" y="10012"/>
                    <a:pt x="3698" y="10305"/>
                    <a:pt x="3891" y="10536"/>
                  </a:cubicBezTo>
                  <a:cubicBezTo>
                    <a:pt x="4086" y="10766"/>
                    <a:pt x="4410" y="10828"/>
                    <a:pt x="4651" y="10997"/>
                  </a:cubicBezTo>
                  <a:cubicBezTo>
                    <a:pt x="4893" y="11165"/>
                    <a:pt x="5129" y="11390"/>
                    <a:pt x="5336" y="11536"/>
                  </a:cubicBezTo>
                  <a:cubicBezTo>
                    <a:pt x="5543" y="11682"/>
                    <a:pt x="5708" y="11801"/>
                    <a:pt x="5902" y="11885"/>
                  </a:cubicBezTo>
                  <a:cubicBezTo>
                    <a:pt x="6095" y="11969"/>
                    <a:pt x="6289" y="12013"/>
                    <a:pt x="6509" y="12058"/>
                  </a:cubicBezTo>
                  <a:cubicBezTo>
                    <a:pt x="6731" y="12103"/>
                    <a:pt x="6938" y="12171"/>
                    <a:pt x="7228" y="12155"/>
                  </a:cubicBezTo>
                  <a:cubicBezTo>
                    <a:pt x="7519" y="12138"/>
                    <a:pt x="7926" y="12036"/>
                    <a:pt x="8250" y="11941"/>
                  </a:cubicBezTo>
                  <a:cubicBezTo>
                    <a:pt x="8576" y="11845"/>
                    <a:pt x="8838" y="11834"/>
                    <a:pt x="9163" y="11586"/>
                  </a:cubicBezTo>
                  <a:cubicBezTo>
                    <a:pt x="9487" y="11339"/>
                    <a:pt x="9964" y="10625"/>
                    <a:pt x="10205" y="10440"/>
                  </a:cubicBezTo>
                  <a:cubicBezTo>
                    <a:pt x="10448" y="10255"/>
                    <a:pt x="10537" y="10456"/>
                    <a:pt x="10620" y="10456"/>
                  </a:cubicBezTo>
                  <a:cubicBezTo>
                    <a:pt x="10703" y="10456"/>
                    <a:pt x="10696" y="10727"/>
                    <a:pt x="10711" y="10456"/>
                  </a:cubicBezTo>
                  <a:cubicBezTo>
                    <a:pt x="10725" y="10187"/>
                    <a:pt x="10745" y="9181"/>
                    <a:pt x="10703" y="8838"/>
                  </a:cubicBezTo>
                  <a:cubicBezTo>
                    <a:pt x="10663" y="8495"/>
                    <a:pt x="10517" y="8540"/>
                    <a:pt x="10441" y="8406"/>
                  </a:cubicBezTo>
                  <a:cubicBezTo>
                    <a:pt x="10365" y="8270"/>
                    <a:pt x="10289" y="8157"/>
                    <a:pt x="10241" y="8023"/>
                  </a:cubicBezTo>
                  <a:cubicBezTo>
                    <a:pt x="10192" y="7888"/>
                    <a:pt x="10172" y="7719"/>
                    <a:pt x="10158" y="7607"/>
                  </a:cubicBezTo>
                  <a:cubicBezTo>
                    <a:pt x="10143" y="7495"/>
                    <a:pt x="10143" y="7416"/>
                    <a:pt x="10143" y="7337"/>
                  </a:cubicBezTo>
                  <a:cubicBezTo>
                    <a:pt x="10143" y="7258"/>
                    <a:pt x="10165" y="7197"/>
                    <a:pt x="10143" y="7146"/>
                  </a:cubicBezTo>
                  <a:cubicBezTo>
                    <a:pt x="10123" y="7096"/>
                    <a:pt x="10068" y="7067"/>
                    <a:pt x="9999" y="7028"/>
                  </a:cubicBezTo>
                  <a:cubicBezTo>
                    <a:pt x="9930" y="6989"/>
                    <a:pt x="9778" y="6977"/>
                    <a:pt x="9715" y="6921"/>
                  </a:cubicBezTo>
                  <a:cubicBezTo>
                    <a:pt x="9653" y="6865"/>
                    <a:pt x="9640" y="6843"/>
                    <a:pt x="9633" y="6702"/>
                  </a:cubicBezTo>
                  <a:cubicBezTo>
                    <a:pt x="9626" y="6562"/>
                    <a:pt x="9688" y="6286"/>
                    <a:pt x="9667" y="6084"/>
                  </a:cubicBezTo>
                  <a:cubicBezTo>
                    <a:pt x="9647" y="5881"/>
                    <a:pt x="9578" y="5690"/>
                    <a:pt x="9529" y="5500"/>
                  </a:cubicBezTo>
                  <a:cubicBezTo>
                    <a:pt x="9481" y="5308"/>
                    <a:pt x="9460" y="5061"/>
                    <a:pt x="9378" y="4921"/>
                  </a:cubicBezTo>
                  <a:cubicBezTo>
                    <a:pt x="9294" y="4780"/>
                    <a:pt x="9205" y="4735"/>
                    <a:pt x="9046" y="4639"/>
                  </a:cubicBezTo>
                  <a:cubicBezTo>
                    <a:pt x="8887" y="4545"/>
                    <a:pt x="8652" y="4404"/>
                    <a:pt x="8471" y="4342"/>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12" name="Freeform 1104"/>
            <p:cNvSpPr>
              <a:spLocks/>
            </p:cNvSpPr>
            <p:nvPr/>
          </p:nvSpPr>
          <p:spPr bwMode="auto">
            <a:xfrm>
              <a:off x="3294063" y="1490741"/>
              <a:ext cx="450850" cy="638175"/>
            </a:xfrm>
            <a:custGeom>
              <a:avLst/>
              <a:gdLst>
                <a:gd name="T0" fmla="*/ 2147483647 w 284"/>
                <a:gd name="T1" fmla="*/ 2147483647 h 402"/>
                <a:gd name="T2" fmla="*/ 2147483647 w 284"/>
                <a:gd name="T3" fmla="*/ 2147483647 h 402"/>
                <a:gd name="T4" fmla="*/ 2147483647 w 284"/>
                <a:gd name="T5" fmla="*/ 2147483647 h 402"/>
                <a:gd name="T6" fmla="*/ 2147483647 w 284"/>
                <a:gd name="T7" fmla="*/ 2147483647 h 402"/>
                <a:gd name="T8" fmla="*/ 2147483647 w 284"/>
                <a:gd name="T9" fmla="*/ 2147483647 h 402"/>
                <a:gd name="T10" fmla="*/ 2147483647 w 284"/>
                <a:gd name="T11" fmla="*/ 2147483647 h 402"/>
                <a:gd name="T12" fmla="*/ 2147483647 w 284"/>
                <a:gd name="T13" fmla="*/ 2147483647 h 402"/>
                <a:gd name="T14" fmla="*/ 2147483647 w 284"/>
                <a:gd name="T15" fmla="*/ 2147483647 h 402"/>
                <a:gd name="T16" fmla="*/ 2147483647 w 284"/>
                <a:gd name="T17" fmla="*/ 2147483647 h 402"/>
                <a:gd name="T18" fmla="*/ 2147483647 w 284"/>
                <a:gd name="T19" fmla="*/ 2147483647 h 402"/>
                <a:gd name="T20" fmla="*/ 2147483647 w 284"/>
                <a:gd name="T21" fmla="*/ 2147483647 h 402"/>
                <a:gd name="T22" fmla="*/ 2147483647 w 284"/>
                <a:gd name="T23" fmla="*/ 2147483647 h 402"/>
                <a:gd name="T24" fmla="*/ 2147483647 w 284"/>
                <a:gd name="T25" fmla="*/ 2147483647 h 402"/>
                <a:gd name="T26" fmla="*/ 2147483647 w 284"/>
                <a:gd name="T27" fmla="*/ 2147483647 h 402"/>
                <a:gd name="T28" fmla="*/ 2147483647 w 284"/>
                <a:gd name="T29" fmla="*/ 2147483647 h 402"/>
                <a:gd name="T30" fmla="*/ 2147483647 w 284"/>
                <a:gd name="T31" fmla="*/ 2147483647 h 402"/>
                <a:gd name="T32" fmla="*/ 2147483647 w 284"/>
                <a:gd name="T33" fmla="*/ 2147483647 h 402"/>
                <a:gd name="T34" fmla="*/ 2147483647 w 284"/>
                <a:gd name="T35" fmla="*/ 2147483647 h 402"/>
                <a:gd name="T36" fmla="*/ 2147483647 w 284"/>
                <a:gd name="T37" fmla="*/ 2147483647 h 402"/>
                <a:gd name="T38" fmla="*/ 2147483647 w 284"/>
                <a:gd name="T39" fmla="*/ 2147483647 h 402"/>
                <a:gd name="T40" fmla="*/ 2147483647 w 284"/>
                <a:gd name="T41" fmla="*/ 2147483647 h 402"/>
                <a:gd name="T42" fmla="*/ 2147483647 w 284"/>
                <a:gd name="T43" fmla="*/ 2147483647 h 402"/>
                <a:gd name="T44" fmla="*/ 2147483647 w 284"/>
                <a:gd name="T45" fmla="*/ 2147483647 h 402"/>
                <a:gd name="T46" fmla="*/ 2147483647 w 284"/>
                <a:gd name="T47" fmla="*/ 2147483647 h 402"/>
                <a:gd name="T48" fmla="*/ 2147483647 w 284"/>
                <a:gd name="T49" fmla="*/ 2147483647 h 402"/>
                <a:gd name="T50" fmla="*/ 2147483647 w 284"/>
                <a:gd name="T51" fmla="*/ 2147483647 h 402"/>
                <a:gd name="T52" fmla="*/ 2147483647 w 284"/>
                <a:gd name="T53" fmla="*/ 2147483647 h 402"/>
                <a:gd name="T54" fmla="*/ 2147483647 w 284"/>
                <a:gd name="T55" fmla="*/ 2147483647 h 402"/>
                <a:gd name="T56" fmla="*/ 2147483647 w 284"/>
                <a:gd name="T57" fmla="*/ 2147483647 h 402"/>
                <a:gd name="T58" fmla="*/ 2147483647 w 284"/>
                <a:gd name="T59" fmla="*/ 2147483647 h 402"/>
                <a:gd name="T60" fmla="*/ 2147483647 w 284"/>
                <a:gd name="T61" fmla="*/ 2147483647 h 402"/>
                <a:gd name="T62" fmla="*/ 2147483647 w 284"/>
                <a:gd name="T63" fmla="*/ 2147483647 h 402"/>
                <a:gd name="T64" fmla="*/ 2147483647 w 284"/>
                <a:gd name="T65" fmla="*/ 2147483647 h 402"/>
                <a:gd name="T66" fmla="*/ 2147483647 w 284"/>
                <a:gd name="T67" fmla="*/ 2147483647 h 402"/>
                <a:gd name="T68" fmla="*/ 2147483647 w 284"/>
                <a:gd name="T69" fmla="*/ 2147483647 h 402"/>
                <a:gd name="T70" fmla="*/ 2147483647 w 284"/>
                <a:gd name="T71" fmla="*/ 2147483647 h 402"/>
                <a:gd name="T72" fmla="*/ 2147483647 w 284"/>
                <a:gd name="T73" fmla="*/ 2147483647 h 402"/>
                <a:gd name="T74" fmla="*/ 2147483647 w 284"/>
                <a:gd name="T75" fmla="*/ 2147483647 h 402"/>
                <a:gd name="T76" fmla="*/ 2147483647 w 284"/>
                <a:gd name="T77" fmla="*/ 2147483647 h 402"/>
                <a:gd name="T78" fmla="*/ 2147483647 w 284"/>
                <a:gd name="T79" fmla="*/ 2147483647 h 402"/>
                <a:gd name="T80" fmla="*/ 2147483647 w 284"/>
                <a:gd name="T81" fmla="*/ 2147483647 h 402"/>
                <a:gd name="T82" fmla="*/ 2147483647 w 284"/>
                <a:gd name="T83" fmla="*/ 2147483647 h 402"/>
                <a:gd name="T84" fmla="*/ 2147483647 w 284"/>
                <a:gd name="T85" fmla="*/ 2147483647 h 40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4"/>
                <a:gd name="T130" fmla="*/ 0 h 402"/>
                <a:gd name="T131" fmla="*/ 284 w 284"/>
                <a:gd name="T132" fmla="*/ 402 h 40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4" h="402">
                  <a:moveTo>
                    <a:pt x="57" y="77"/>
                  </a:moveTo>
                  <a:cubicBezTo>
                    <a:pt x="61" y="75"/>
                    <a:pt x="65" y="74"/>
                    <a:pt x="72" y="72"/>
                  </a:cubicBezTo>
                  <a:cubicBezTo>
                    <a:pt x="80" y="69"/>
                    <a:pt x="94" y="65"/>
                    <a:pt x="102" y="62"/>
                  </a:cubicBezTo>
                  <a:cubicBezTo>
                    <a:pt x="111" y="59"/>
                    <a:pt x="117" y="57"/>
                    <a:pt x="123" y="56"/>
                  </a:cubicBezTo>
                  <a:cubicBezTo>
                    <a:pt x="128" y="54"/>
                    <a:pt x="132" y="53"/>
                    <a:pt x="136" y="52"/>
                  </a:cubicBezTo>
                  <a:cubicBezTo>
                    <a:pt x="141" y="51"/>
                    <a:pt x="146" y="51"/>
                    <a:pt x="150" y="50"/>
                  </a:cubicBezTo>
                  <a:cubicBezTo>
                    <a:pt x="154" y="49"/>
                    <a:pt x="157" y="47"/>
                    <a:pt x="161" y="45"/>
                  </a:cubicBezTo>
                  <a:cubicBezTo>
                    <a:pt x="165" y="44"/>
                    <a:pt x="168" y="42"/>
                    <a:pt x="173" y="39"/>
                  </a:cubicBezTo>
                  <a:cubicBezTo>
                    <a:pt x="179" y="36"/>
                    <a:pt x="189" y="31"/>
                    <a:pt x="195" y="28"/>
                  </a:cubicBezTo>
                  <a:cubicBezTo>
                    <a:pt x="201" y="25"/>
                    <a:pt x="205" y="23"/>
                    <a:pt x="210" y="22"/>
                  </a:cubicBezTo>
                  <a:cubicBezTo>
                    <a:pt x="215" y="20"/>
                    <a:pt x="220" y="19"/>
                    <a:pt x="225" y="17"/>
                  </a:cubicBezTo>
                  <a:cubicBezTo>
                    <a:pt x="231" y="16"/>
                    <a:pt x="238" y="13"/>
                    <a:pt x="241" y="12"/>
                  </a:cubicBezTo>
                  <a:cubicBezTo>
                    <a:pt x="245" y="11"/>
                    <a:pt x="247" y="11"/>
                    <a:pt x="249" y="11"/>
                  </a:cubicBezTo>
                  <a:cubicBezTo>
                    <a:pt x="251" y="11"/>
                    <a:pt x="252" y="13"/>
                    <a:pt x="253" y="13"/>
                  </a:cubicBezTo>
                  <a:cubicBezTo>
                    <a:pt x="254" y="13"/>
                    <a:pt x="258" y="0"/>
                    <a:pt x="253" y="12"/>
                  </a:cubicBezTo>
                  <a:cubicBezTo>
                    <a:pt x="248" y="24"/>
                    <a:pt x="230" y="60"/>
                    <a:pt x="225" y="84"/>
                  </a:cubicBezTo>
                  <a:cubicBezTo>
                    <a:pt x="220" y="108"/>
                    <a:pt x="223" y="140"/>
                    <a:pt x="223" y="154"/>
                  </a:cubicBezTo>
                  <a:cubicBezTo>
                    <a:pt x="223" y="168"/>
                    <a:pt x="226" y="161"/>
                    <a:pt x="227" y="166"/>
                  </a:cubicBezTo>
                  <a:cubicBezTo>
                    <a:pt x="228" y="170"/>
                    <a:pt x="228" y="177"/>
                    <a:pt x="230" y="180"/>
                  </a:cubicBezTo>
                  <a:cubicBezTo>
                    <a:pt x="231" y="184"/>
                    <a:pt x="233" y="184"/>
                    <a:pt x="235" y="187"/>
                  </a:cubicBezTo>
                  <a:cubicBezTo>
                    <a:pt x="237" y="190"/>
                    <a:pt x="237" y="192"/>
                    <a:pt x="239" y="196"/>
                  </a:cubicBezTo>
                  <a:cubicBezTo>
                    <a:pt x="241" y="199"/>
                    <a:pt x="245" y="206"/>
                    <a:pt x="247" y="210"/>
                  </a:cubicBezTo>
                  <a:cubicBezTo>
                    <a:pt x="249" y="214"/>
                    <a:pt x="250" y="215"/>
                    <a:pt x="251" y="218"/>
                  </a:cubicBezTo>
                  <a:cubicBezTo>
                    <a:pt x="251" y="222"/>
                    <a:pt x="251" y="227"/>
                    <a:pt x="252" y="230"/>
                  </a:cubicBezTo>
                  <a:cubicBezTo>
                    <a:pt x="252" y="234"/>
                    <a:pt x="253" y="238"/>
                    <a:pt x="254" y="241"/>
                  </a:cubicBezTo>
                  <a:cubicBezTo>
                    <a:pt x="255" y="244"/>
                    <a:pt x="256" y="248"/>
                    <a:pt x="257" y="250"/>
                  </a:cubicBezTo>
                  <a:cubicBezTo>
                    <a:pt x="258" y="252"/>
                    <a:pt x="258" y="252"/>
                    <a:pt x="259" y="254"/>
                  </a:cubicBezTo>
                  <a:cubicBezTo>
                    <a:pt x="260" y="255"/>
                    <a:pt x="261" y="258"/>
                    <a:pt x="262" y="260"/>
                  </a:cubicBezTo>
                  <a:cubicBezTo>
                    <a:pt x="263" y="262"/>
                    <a:pt x="265" y="265"/>
                    <a:pt x="265" y="266"/>
                  </a:cubicBezTo>
                  <a:cubicBezTo>
                    <a:pt x="265" y="268"/>
                    <a:pt x="263" y="268"/>
                    <a:pt x="263" y="269"/>
                  </a:cubicBezTo>
                  <a:cubicBezTo>
                    <a:pt x="262" y="271"/>
                    <a:pt x="262" y="273"/>
                    <a:pt x="261" y="277"/>
                  </a:cubicBezTo>
                  <a:cubicBezTo>
                    <a:pt x="260" y="281"/>
                    <a:pt x="260" y="286"/>
                    <a:pt x="259" y="291"/>
                  </a:cubicBezTo>
                  <a:cubicBezTo>
                    <a:pt x="259" y="296"/>
                    <a:pt x="259" y="304"/>
                    <a:pt x="259" y="309"/>
                  </a:cubicBezTo>
                  <a:cubicBezTo>
                    <a:pt x="259" y="314"/>
                    <a:pt x="259" y="318"/>
                    <a:pt x="259" y="322"/>
                  </a:cubicBezTo>
                  <a:cubicBezTo>
                    <a:pt x="259" y="326"/>
                    <a:pt x="258" y="328"/>
                    <a:pt x="258" y="332"/>
                  </a:cubicBezTo>
                  <a:cubicBezTo>
                    <a:pt x="259" y="337"/>
                    <a:pt x="259" y="345"/>
                    <a:pt x="260" y="350"/>
                  </a:cubicBezTo>
                  <a:cubicBezTo>
                    <a:pt x="261" y="356"/>
                    <a:pt x="263" y="361"/>
                    <a:pt x="265" y="367"/>
                  </a:cubicBezTo>
                  <a:cubicBezTo>
                    <a:pt x="266" y="372"/>
                    <a:pt x="269" y="378"/>
                    <a:pt x="270" y="383"/>
                  </a:cubicBezTo>
                  <a:cubicBezTo>
                    <a:pt x="272" y="388"/>
                    <a:pt x="284" y="402"/>
                    <a:pt x="273" y="397"/>
                  </a:cubicBezTo>
                  <a:cubicBezTo>
                    <a:pt x="261" y="393"/>
                    <a:pt x="229" y="368"/>
                    <a:pt x="201" y="356"/>
                  </a:cubicBezTo>
                  <a:cubicBezTo>
                    <a:pt x="173" y="343"/>
                    <a:pt x="138" y="363"/>
                    <a:pt x="106" y="323"/>
                  </a:cubicBezTo>
                  <a:cubicBezTo>
                    <a:pt x="74" y="283"/>
                    <a:pt x="16" y="156"/>
                    <a:pt x="8" y="115"/>
                  </a:cubicBezTo>
                  <a:cubicBezTo>
                    <a:pt x="0" y="74"/>
                    <a:pt x="47" y="85"/>
                    <a:pt x="58" y="77"/>
                  </a:cubicBezTo>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13" name="Freeform 1105"/>
            <p:cNvSpPr>
              <a:spLocks/>
            </p:cNvSpPr>
            <p:nvPr/>
          </p:nvSpPr>
          <p:spPr bwMode="auto">
            <a:xfrm>
              <a:off x="3444875" y="1720928"/>
              <a:ext cx="204788" cy="104775"/>
            </a:xfrm>
            <a:custGeom>
              <a:avLst/>
              <a:gdLst>
                <a:gd name="T0" fmla="*/ 2147483647 w 392"/>
                <a:gd name="T1" fmla="*/ 2147483647 h 202"/>
                <a:gd name="T2" fmla="*/ 2147483647 w 392"/>
                <a:gd name="T3" fmla="*/ 2147483647 h 202"/>
                <a:gd name="T4" fmla="*/ 2147483647 w 392"/>
                <a:gd name="T5" fmla="*/ 2147483647 h 202"/>
                <a:gd name="T6" fmla="*/ 2147483647 w 392"/>
                <a:gd name="T7" fmla="*/ 2147483647 h 202"/>
                <a:gd name="T8" fmla="*/ 2147483647 w 392"/>
                <a:gd name="T9" fmla="*/ 2147483647 h 202"/>
                <a:gd name="T10" fmla="*/ 2147483647 w 392"/>
                <a:gd name="T11" fmla="*/ 2147483647 h 202"/>
                <a:gd name="T12" fmla="*/ 2147483647 w 392"/>
                <a:gd name="T13" fmla="*/ 2147483647 h 202"/>
                <a:gd name="T14" fmla="*/ 2147483647 w 392"/>
                <a:gd name="T15" fmla="*/ 2147483647 h 202"/>
                <a:gd name="T16" fmla="*/ 2147483647 w 392"/>
                <a:gd name="T17" fmla="*/ 2147483647 h 202"/>
                <a:gd name="T18" fmla="*/ 2147483647 w 392"/>
                <a:gd name="T19" fmla="*/ 2147483647 h 202"/>
                <a:gd name="T20" fmla="*/ 2147483647 w 392"/>
                <a:gd name="T21" fmla="*/ 2147483647 h 202"/>
                <a:gd name="T22" fmla="*/ 2147483647 w 392"/>
                <a:gd name="T23" fmla="*/ 2147483647 h 202"/>
                <a:gd name="T24" fmla="*/ 2147483647 w 392"/>
                <a:gd name="T25" fmla="*/ 2147483647 h 202"/>
                <a:gd name="T26" fmla="*/ 2147483647 w 392"/>
                <a:gd name="T27" fmla="*/ 2147483647 h 202"/>
                <a:gd name="T28" fmla="*/ 2147483647 w 392"/>
                <a:gd name="T29" fmla="*/ 2147483647 h 202"/>
                <a:gd name="T30" fmla="*/ 2147483647 w 392"/>
                <a:gd name="T31" fmla="*/ 2147483647 h 202"/>
                <a:gd name="T32" fmla="*/ 2147483647 w 392"/>
                <a:gd name="T33" fmla="*/ 2147483647 h 202"/>
                <a:gd name="T34" fmla="*/ 2147483647 w 392"/>
                <a:gd name="T35" fmla="*/ 2147483647 h 202"/>
                <a:gd name="T36" fmla="*/ 2147483647 w 392"/>
                <a:gd name="T37" fmla="*/ 2147483647 h 202"/>
                <a:gd name="T38" fmla="*/ 2147483647 w 392"/>
                <a:gd name="T39" fmla="*/ 2147483647 h 202"/>
                <a:gd name="T40" fmla="*/ 2147483647 w 392"/>
                <a:gd name="T41" fmla="*/ 2147483647 h 202"/>
                <a:gd name="T42" fmla="*/ 2147483647 w 392"/>
                <a:gd name="T43" fmla="*/ 2147483647 h 202"/>
                <a:gd name="T44" fmla="*/ 2147483647 w 392"/>
                <a:gd name="T45" fmla="*/ 2147483647 h 202"/>
                <a:gd name="T46" fmla="*/ 2147483647 w 392"/>
                <a:gd name="T47" fmla="*/ 2147483647 h 202"/>
                <a:gd name="T48" fmla="*/ 2147483647 w 392"/>
                <a:gd name="T49" fmla="*/ 2147483647 h 202"/>
                <a:gd name="T50" fmla="*/ 2147483647 w 392"/>
                <a:gd name="T51" fmla="*/ 2147483647 h 202"/>
                <a:gd name="T52" fmla="*/ 2147483647 w 392"/>
                <a:gd name="T53" fmla="*/ 2147483647 h 202"/>
                <a:gd name="T54" fmla="*/ 2147483647 w 392"/>
                <a:gd name="T55" fmla="*/ 0 h 202"/>
                <a:gd name="T56" fmla="*/ 2147483647 w 392"/>
                <a:gd name="T57" fmla="*/ 2147483647 h 202"/>
                <a:gd name="T58" fmla="*/ 2147483647 w 392"/>
                <a:gd name="T59" fmla="*/ 2147483647 h 202"/>
                <a:gd name="T60" fmla="*/ 2147483647 w 392"/>
                <a:gd name="T61" fmla="*/ 2147483647 h 202"/>
                <a:gd name="T62" fmla="*/ 2147483647 w 392"/>
                <a:gd name="T63" fmla="*/ 2147483647 h 202"/>
                <a:gd name="T64" fmla="*/ 2147483647 w 392"/>
                <a:gd name="T65" fmla="*/ 2147483647 h 202"/>
                <a:gd name="T66" fmla="*/ 2147483647 w 392"/>
                <a:gd name="T67" fmla="*/ 2147483647 h 202"/>
                <a:gd name="T68" fmla="*/ 2147483647 w 392"/>
                <a:gd name="T69" fmla="*/ 2147483647 h 20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92"/>
                <a:gd name="T106" fmla="*/ 0 h 202"/>
                <a:gd name="T107" fmla="*/ 392 w 392"/>
                <a:gd name="T108" fmla="*/ 202 h 20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92" h="202">
                  <a:moveTo>
                    <a:pt x="367" y="36"/>
                  </a:moveTo>
                  <a:cubicBezTo>
                    <a:pt x="360" y="37"/>
                    <a:pt x="351" y="40"/>
                    <a:pt x="346" y="45"/>
                  </a:cubicBezTo>
                  <a:cubicBezTo>
                    <a:pt x="341" y="50"/>
                    <a:pt x="344" y="60"/>
                    <a:pt x="338" y="66"/>
                  </a:cubicBezTo>
                  <a:cubicBezTo>
                    <a:pt x="332" y="72"/>
                    <a:pt x="319" y="76"/>
                    <a:pt x="310" y="82"/>
                  </a:cubicBezTo>
                  <a:cubicBezTo>
                    <a:pt x="301" y="88"/>
                    <a:pt x="287" y="93"/>
                    <a:pt x="280" y="102"/>
                  </a:cubicBezTo>
                  <a:cubicBezTo>
                    <a:pt x="273" y="111"/>
                    <a:pt x="272" y="130"/>
                    <a:pt x="265" y="138"/>
                  </a:cubicBezTo>
                  <a:cubicBezTo>
                    <a:pt x="258" y="146"/>
                    <a:pt x="247" y="149"/>
                    <a:pt x="238" y="153"/>
                  </a:cubicBezTo>
                  <a:cubicBezTo>
                    <a:pt x="229" y="157"/>
                    <a:pt x="217" y="159"/>
                    <a:pt x="208" y="163"/>
                  </a:cubicBezTo>
                  <a:cubicBezTo>
                    <a:pt x="199" y="167"/>
                    <a:pt x="191" y="175"/>
                    <a:pt x="184" y="180"/>
                  </a:cubicBezTo>
                  <a:cubicBezTo>
                    <a:pt x="177" y="185"/>
                    <a:pt x="173" y="190"/>
                    <a:pt x="163" y="193"/>
                  </a:cubicBezTo>
                  <a:cubicBezTo>
                    <a:pt x="153" y="196"/>
                    <a:pt x="137" y="200"/>
                    <a:pt x="125" y="201"/>
                  </a:cubicBezTo>
                  <a:cubicBezTo>
                    <a:pt x="113" y="202"/>
                    <a:pt x="102" y="199"/>
                    <a:pt x="92" y="198"/>
                  </a:cubicBezTo>
                  <a:cubicBezTo>
                    <a:pt x="82" y="197"/>
                    <a:pt x="71" y="195"/>
                    <a:pt x="62" y="195"/>
                  </a:cubicBezTo>
                  <a:cubicBezTo>
                    <a:pt x="53" y="195"/>
                    <a:pt x="46" y="198"/>
                    <a:pt x="38" y="198"/>
                  </a:cubicBezTo>
                  <a:cubicBezTo>
                    <a:pt x="30" y="198"/>
                    <a:pt x="20" y="201"/>
                    <a:pt x="14" y="196"/>
                  </a:cubicBezTo>
                  <a:cubicBezTo>
                    <a:pt x="8" y="191"/>
                    <a:pt x="0" y="176"/>
                    <a:pt x="2" y="171"/>
                  </a:cubicBezTo>
                  <a:cubicBezTo>
                    <a:pt x="4" y="166"/>
                    <a:pt x="16" y="166"/>
                    <a:pt x="25" y="165"/>
                  </a:cubicBezTo>
                  <a:cubicBezTo>
                    <a:pt x="34" y="164"/>
                    <a:pt x="45" y="161"/>
                    <a:pt x="56" y="163"/>
                  </a:cubicBezTo>
                  <a:cubicBezTo>
                    <a:pt x="67" y="165"/>
                    <a:pt x="80" y="178"/>
                    <a:pt x="92" y="180"/>
                  </a:cubicBezTo>
                  <a:cubicBezTo>
                    <a:pt x="104" y="182"/>
                    <a:pt x="114" y="181"/>
                    <a:pt x="127" y="175"/>
                  </a:cubicBezTo>
                  <a:cubicBezTo>
                    <a:pt x="140" y="169"/>
                    <a:pt x="154" y="153"/>
                    <a:pt x="169" y="144"/>
                  </a:cubicBezTo>
                  <a:cubicBezTo>
                    <a:pt x="184" y="135"/>
                    <a:pt x="208" y="127"/>
                    <a:pt x="220" y="118"/>
                  </a:cubicBezTo>
                  <a:cubicBezTo>
                    <a:pt x="232" y="109"/>
                    <a:pt x="232" y="95"/>
                    <a:pt x="239" y="87"/>
                  </a:cubicBezTo>
                  <a:cubicBezTo>
                    <a:pt x="246" y="79"/>
                    <a:pt x="255" y="77"/>
                    <a:pt x="263" y="72"/>
                  </a:cubicBezTo>
                  <a:cubicBezTo>
                    <a:pt x="271" y="67"/>
                    <a:pt x="284" y="60"/>
                    <a:pt x="290" y="54"/>
                  </a:cubicBezTo>
                  <a:cubicBezTo>
                    <a:pt x="296" y="48"/>
                    <a:pt x="300" y="41"/>
                    <a:pt x="301" y="34"/>
                  </a:cubicBezTo>
                  <a:cubicBezTo>
                    <a:pt x="302" y="27"/>
                    <a:pt x="294" y="16"/>
                    <a:pt x="295" y="10"/>
                  </a:cubicBezTo>
                  <a:cubicBezTo>
                    <a:pt x="296" y="4"/>
                    <a:pt x="304" y="0"/>
                    <a:pt x="307" y="0"/>
                  </a:cubicBezTo>
                  <a:cubicBezTo>
                    <a:pt x="310" y="0"/>
                    <a:pt x="315" y="8"/>
                    <a:pt x="316" y="13"/>
                  </a:cubicBezTo>
                  <a:cubicBezTo>
                    <a:pt x="317" y="18"/>
                    <a:pt x="311" y="27"/>
                    <a:pt x="316" y="30"/>
                  </a:cubicBezTo>
                  <a:cubicBezTo>
                    <a:pt x="321" y="33"/>
                    <a:pt x="335" y="30"/>
                    <a:pt x="346" y="28"/>
                  </a:cubicBezTo>
                  <a:cubicBezTo>
                    <a:pt x="357" y="26"/>
                    <a:pt x="378" y="15"/>
                    <a:pt x="385" y="15"/>
                  </a:cubicBezTo>
                  <a:cubicBezTo>
                    <a:pt x="392" y="15"/>
                    <a:pt x="392" y="24"/>
                    <a:pt x="391" y="27"/>
                  </a:cubicBezTo>
                  <a:cubicBezTo>
                    <a:pt x="390" y="30"/>
                    <a:pt x="380" y="35"/>
                    <a:pt x="376" y="36"/>
                  </a:cubicBezTo>
                  <a:cubicBezTo>
                    <a:pt x="372" y="37"/>
                    <a:pt x="369" y="36"/>
                    <a:pt x="367" y="36"/>
                  </a:cubicBez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4" name="Freeform 1106"/>
            <p:cNvSpPr>
              <a:spLocks/>
            </p:cNvSpPr>
            <p:nvPr/>
          </p:nvSpPr>
          <p:spPr bwMode="auto">
            <a:xfrm>
              <a:off x="3441700" y="2063828"/>
              <a:ext cx="303213" cy="171450"/>
            </a:xfrm>
            <a:custGeom>
              <a:avLst/>
              <a:gdLst>
                <a:gd name="T0" fmla="*/ 2147483647 w 583"/>
                <a:gd name="T1" fmla="*/ 2147483647 h 329"/>
                <a:gd name="T2" fmla="*/ 2147483647 w 583"/>
                <a:gd name="T3" fmla="*/ 2147483647 h 329"/>
                <a:gd name="T4" fmla="*/ 2147483647 w 583"/>
                <a:gd name="T5" fmla="*/ 2147483647 h 329"/>
                <a:gd name="T6" fmla="*/ 2147483647 w 583"/>
                <a:gd name="T7" fmla="*/ 2147483647 h 329"/>
                <a:gd name="T8" fmla="*/ 2147483647 w 583"/>
                <a:gd name="T9" fmla="*/ 2147483647 h 329"/>
                <a:gd name="T10" fmla="*/ 2147483647 w 583"/>
                <a:gd name="T11" fmla="*/ 2147483647 h 329"/>
                <a:gd name="T12" fmla="*/ 2147483647 w 583"/>
                <a:gd name="T13" fmla="*/ 2147483647 h 329"/>
                <a:gd name="T14" fmla="*/ 2147483647 w 583"/>
                <a:gd name="T15" fmla="*/ 2147483647 h 329"/>
                <a:gd name="T16" fmla="*/ 2147483647 w 583"/>
                <a:gd name="T17" fmla="*/ 2147483647 h 329"/>
                <a:gd name="T18" fmla="*/ 2147483647 w 583"/>
                <a:gd name="T19" fmla="*/ 2147483647 h 329"/>
                <a:gd name="T20" fmla="*/ 2147483647 w 583"/>
                <a:gd name="T21" fmla="*/ 2147483647 h 329"/>
                <a:gd name="T22" fmla="*/ 2147483647 w 583"/>
                <a:gd name="T23" fmla="*/ 2147483647 h 329"/>
                <a:gd name="T24" fmla="*/ 2147483647 w 583"/>
                <a:gd name="T25" fmla="*/ 2147483647 h 329"/>
                <a:gd name="T26" fmla="*/ 2147483647 w 583"/>
                <a:gd name="T27" fmla="*/ 2147483647 h 329"/>
                <a:gd name="T28" fmla="*/ 2147483647 w 583"/>
                <a:gd name="T29" fmla="*/ 2147483647 h 329"/>
                <a:gd name="T30" fmla="*/ 2147483647 w 583"/>
                <a:gd name="T31" fmla="*/ 2147483647 h 329"/>
                <a:gd name="T32" fmla="*/ 2147483647 w 583"/>
                <a:gd name="T33" fmla="*/ 2147483647 h 329"/>
                <a:gd name="T34" fmla="*/ 2147483647 w 583"/>
                <a:gd name="T35" fmla="*/ 2147483647 h 329"/>
                <a:gd name="T36" fmla="*/ 2147483647 w 583"/>
                <a:gd name="T37" fmla="*/ 2147483647 h 329"/>
                <a:gd name="T38" fmla="*/ 2147483647 w 583"/>
                <a:gd name="T39" fmla="*/ 2147483647 h 329"/>
                <a:gd name="T40" fmla="*/ 2147483647 w 583"/>
                <a:gd name="T41" fmla="*/ 2147483647 h 329"/>
                <a:gd name="T42" fmla="*/ 2147483647 w 583"/>
                <a:gd name="T43" fmla="*/ 2147483647 h 329"/>
                <a:gd name="T44" fmla="*/ 2147483647 w 583"/>
                <a:gd name="T45" fmla="*/ 2147483647 h 329"/>
                <a:gd name="T46" fmla="*/ 2147483647 w 583"/>
                <a:gd name="T47" fmla="*/ 2147483647 h 329"/>
                <a:gd name="T48" fmla="*/ 2147483647 w 583"/>
                <a:gd name="T49" fmla="*/ 2147483647 h 329"/>
                <a:gd name="T50" fmla="*/ 2147483647 w 583"/>
                <a:gd name="T51" fmla="*/ 2147483647 h 329"/>
                <a:gd name="T52" fmla="*/ 2147483647 w 583"/>
                <a:gd name="T53" fmla="*/ 2147483647 h 329"/>
                <a:gd name="T54" fmla="*/ 2147483647 w 583"/>
                <a:gd name="T55" fmla="*/ 2147483647 h 329"/>
                <a:gd name="T56" fmla="*/ 2147483647 w 583"/>
                <a:gd name="T57" fmla="*/ 2147483647 h 329"/>
                <a:gd name="T58" fmla="*/ 2147483647 w 583"/>
                <a:gd name="T59" fmla="*/ 2147483647 h 329"/>
                <a:gd name="T60" fmla="*/ 2147483647 w 583"/>
                <a:gd name="T61" fmla="*/ 2147483647 h 329"/>
                <a:gd name="T62" fmla="*/ 2147483647 w 583"/>
                <a:gd name="T63" fmla="*/ 2147483647 h 329"/>
                <a:gd name="T64" fmla="*/ 2147483647 w 583"/>
                <a:gd name="T65" fmla="*/ 2147483647 h 3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3"/>
                <a:gd name="T100" fmla="*/ 0 h 329"/>
                <a:gd name="T101" fmla="*/ 583 w 583"/>
                <a:gd name="T102" fmla="*/ 329 h 32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3" h="329">
                  <a:moveTo>
                    <a:pt x="10" y="118"/>
                  </a:moveTo>
                  <a:cubicBezTo>
                    <a:pt x="5" y="107"/>
                    <a:pt x="0" y="46"/>
                    <a:pt x="12" y="29"/>
                  </a:cubicBezTo>
                  <a:cubicBezTo>
                    <a:pt x="24" y="12"/>
                    <a:pt x="48" y="18"/>
                    <a:pt x="81" y="14"/>
                  </a:cubicBezTo>
                  <a:cubicBezTo>
                    <a:pt x="114" y="10"/>
                    <a:pt x="170" y="9"/>
                    <a:pt x="208" y="7"/>
                  </a:cubicBezTo>
                  <a:cubicBezTo>
                    <a:pt x="246" y="5"/>
                    <a:pt x="282" y="0"/>
                    <a:pt x="312" y="2"/>
                  </a:cubicBezTo>
                  <a:cubicBezTo>
                    <a:pt x="342" y="4"/>
                    <a:pt x="366" y="7"/>
                    <a:pt x="391" y="20"/>
                  </a:cubicBezTo>
                  <a:cubicBezTo>
                    <a:pt x="416" y="33"/>
                    <a:pt x="443" y="59"/>
                    <a:pt x="460" y="80"/>
                  </a:cubicBezTo>
                  <a:cubicBezTo>
                    <a:pt x="477" y="101"/>
                    <a:pt x="485" y="123"/>
                    <a:pt x="495" y="145"/>
                  </a:cubicBezTo>
                  <a:cubicBezTo>
                    <a:pt x="505" y="167"/>
                    <a:pt x="509" y="195"/>
                    <a:pt x="519" y="215"/>
                  </a:cubicBezTo>
                  <a:cubicBezTo>
                    <a:pt x="529" y="235"/>
                    <a:pt x="546" y="251"/>
                    <a:pt x="556" y="262"/>
                  </a:cubicBezTo>
                  <a:cubicBezTo>
                    <a:pt x="566" y="273"/>
                    <a:pt x="576" y="278"/>
                    <a:pt x="579" y="283"/>
                  </a:cubicBezTo>
                  <a:cubicBezTo>
                    <a:pt x="582" y="288"/>
                    <a:pt x="573" y="290"/>
                    <a:pt x="573" y="295"/>
                  </a:cubicBezTo>
                  <a:cubicBezTo>
                    <a:pt x="573" y="300"/>
                    <a:pt x="583" y="311"/>
                    <a:pt x="576" y="316"/>
                  </a:cubicBezTo>
                  <a:cubicBezTo>
                    <a:pt x="569" y="321"/>
                    <a:pt x="548" y="327"/>
                    <a:pt x="532" y="328"/>
                  </a:cubicBezTo>
                  <a:cubicBezTo>
                    <a:pt x="516" y="329"/>
                    <a:pt x="490" y="323"/>
                    <a:pt x="480" y="319"/>
                  </a:cubicBezTo>
                  <a:cubicBezTo>
                    <a:pt x="470" y="315"/>
                    <a:pt x="470" y="308"/>
                    <a:pt x="471" y="302"/>
                  </a:cubicBezTo>
                  <a:cubicBezTo>
                    <a:pt x="472" y="296"/>
                    <a:pt x="483" y="289"/>
                    <a:pt x="484" y="280"/>
                  </a:cubicBezTo>
                  <a:cubicBezTo>
                    <a:pt x="485" y="271"/>
                    <a:pt x="480" y="256"/>
                    <a:pt x="475" y="245"/>
                  </a:cubicBezTo>
                  <a:cubicBezTo>
                    <a:pt x="470" y="234"/>
                    <a:pt x="463" y="223"/>
                    <a:pt x="456" y="212"/>
                  </a:cubicBezTo>
                  <a:cubicBezTo>
                    <a:pt x="449" y="201"/>
                    <a:pt x="438" y="188"/>
                    <a:pt x="432" y="176"/>
                  </a:cubicBezTo>
                  <a:cubicBezTo>
                    <a:pt x="426" y="164"/>
                    <a:pt x="422" y="150"/>
                    <a:pt x="418" y="139"/>
                  </a:cubicBezTo>
                  <a:cubicBezTo>
                    <a:pt x="414" y="128"/>
                    <a:pt x="412" y="118"/>
                    <a:pt x="408" y="110"/>
                  </a:cubicBezTo>
                  <a:cubicBezTo>
                    <a:pt x="404" y="102"/>
                    <a:pt x="398" y="95"/>
                    <a:pt x="393" y="89"/>
                  </a:cubicBezTo>
                  <a:cubicBezTo>
                    <a:pt x="388" y="83"/>
                    <a:pt x="385" y="75"/>
                    <a:pt x="375" y="71"/>
                  </a:cubicBezTo>
                  <a:cubicBezTo>
                    <a:pt x="365" y="67"/>
                    <a:pt x="349" y="66"/>
                    <a:pt x="333" y="64"/>
                  </a:cubicBezTo>
                  <a:cubicBezTo>
                    <a:pt x="317" y="62"/>
                    <a:pt x="296" y="57"/>
                    <a:pt x="277" y="56"/>
                  </a:cubicBezTo>
                  <a:cubicBezTo>
                    <a:pt x="258" y="55"/>
                    <a:pt x="234" y="55"/>
                    <a:pt x="216" y="56"/>
                  </a:cubicBezTo>
                  <a:cubicBezTo>
                    <a:pt x="198" y="57"/>
                    <a:pt x="186" y="60"/>
                    <a:pt x="171" y="61"/>
                  </a:cubicBezTo>
                  <a:cubicBezTo>
                    <a:pt x="156" y="62"/>
                    <a:pt x="138" y="60"/>
                    <a:pt x="126" y="61"/>
                  </a:cubicBezTo>
                  <a:cubicBezTo>
                    <a:pt x="114" y="62"/>
                    <a:pt x="108" y="62"/>
                    <a:pt x="99" y="65"/>
                  </a:cubicBezTo>
                  <a:cubicBezTo>
                    <a:pt x="90" y="68"/>
                    <a:pt x="81" y="72"/>
                    <a:pt x="72" y="77"/>
                  </a:cubicBezTo>
                  <a:cubicBezTo>
                    <a:pt x="63" y="82"/>
                    <a:pt x="53" y="91"/>
                    <a:pt x="43" y="98"/>
                  </a:cubicBezTo>
                  <a:cubicBezTo>
                    <a:pt x="33" y="105"/>
                    <a:pt x="15" y="129"/>
                    <a:pt x="10" y="118"/>
                  </a:cubicBez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5" name="Freeform 1107"/>
            <p:cNvSpPr>
              <a:spLocks/>
            </p:cNvSpPr>
            <p:nvPr/>
          </p:nvSpPr>
          <p:spPr bwMode="auto">
            <a:xfrm>
              <a:off x="3282950" y="2220991"/>
              <a:ext cx="534988" cy="607231"/>
            </a:xfrm>
            <a:custGeom>
              <a:avLst/>
              <a:gdLst>
                <a:gd name="T0" fmla="*/ 95088286 w 10000"/>
                <a:gd name="T1" fmla="*/ 1616168109 h 10066"/>
                <a:gd name="T2" fmla="*/ 322624085 w 10000"/>
                <a:gd name="T3" fmla="*/ 1758205811 h 10066"/>
                <a:gd name="T4" fmla="*/ 454919930 w 10000"/>
                <a:gd name="T5" fmla="*/ 2013514172 h 10066"/>
                <a:gd name="T6" fmla="*/ 750748821 w 10000"/>
                <a:gd name="T7" fmla="*/ 2142378351 h 10066"/>
                <a:gd name="T8" fmla="*/ 936635002 w 10000"/>
                <a:gd name="T9" fmla="*/ 2047761735 h 10066"/>
                <a:gd name="T10" fmla="*/ 871101005 w 10000"/>
                <a:gd name="T11" fmla="*/ 1951169115 h 10066"/>
                <a:gd name="T12" fmla="*/ 1097105616 w 10000"/>
                <a:gd name="T13" fmla="*/ 1977734536 h 10066"/>
                <a:gd name="T14" fmla="*/ 1360166063 w 10000"/>
                <a:gd name="T15" fmla="*/ 1676759098 h 10066"/>
                <a:gd name="T16" fmla="*/ 1321578930 w 10000"/>
                <a:gd name="T17" fmla="*/ 1536701020 h 10066"/>
                <a:gd name="T18" fmla="*/ 1071841664 w 10000"/>
                <a:gd name="T19" fmla="*/ 1434398643 h 10066"/>
                <a:gd name="T20" fmla="*/ 902335370 w 10000"/>
                <a:gd name="T21" fmla="*/ 1415518983 h 10066"/>
                <a:gd name="T22" fmla="*/ 884575909 w 10000"/>
                <a:gd name="T23" fmla="*/ 1224531743 h 10066"/>
                <a:gd name="T24" fmla="*/ 790864308 w 10000"/>
                <a:gd name="T25" fmla="*/ 995341192 h 10066"/>
                <a:gd name="T26" fmla="*/ 784893895 w 10000"/>
                <a:gd name="T27" fmla="*/ 622584546 h 10066"/>
                <a:gd name="T28" fmla="*/ 713538373 w 10000"/>
                <a:gd name="T29" fmla="*/ 546843970 h 10066"/>
                <a:gd name="T30" fmla="*/ 587215776 w 10000"/>
                <a:gd name="T31" fmla="*/ 601728881 h 10066"/>
                <a:gd name="T32" fmla="*/ 503919428 w 10000"/>
                <a:gd name="T33" fmla="*/ 584825226 h 10066"/>
                <a:gd name="T34" fmla="*/ 639274869 w 10000"/>
                <a:gd name="T35" fmla="*/ 520500485 h 10066"/>
                <a:gd name="T36" fmla="*/ 839863805 w 10000"/>
                <a:gd name="T37" fmla="*/ 395592054 h 10066"/>
                <a:gd name="T38" fmla="*/ 929133401 w 10000"/>
                <a:gd name="T39" fmla="*/ 172111260 h 10066"/>
                <a:gd name="T40" fmla="*/ 1141663108 w 10000"/>
                <a:gd name="T41" fmla="*/ 20855664 h 10066"/>
                <a:gd name="T42" fmla="*/ 1378080083 w 10000"/>
                <a:gd name="T43" fmla="*/ 81446713 h 10066"/>
                <a:gd name="T44" fmla="*/ 1364759738 w 10000"/>
                <a:gd name="T45" fmla="*/ 242138459 h 10066"/>
                <a:gd name="T46" fmla="*/ 1352816131 w 10000"/>
                <a:gd name="T47" fmla="*/ 372760326 h 10066"/>
                <a:gd name="T48" fmla="*/ 1406254798 w 10000"/>
                <a:gd name="T49" fmla="*/ 457937112 h 10066"/>
                <a:gd name="T50" fmla="*/ 1339495786 w 10000"/>
                <a:gd name="T51" fmla="*/ 633996760 h 10066"/>
                <a:gd name="T52" fmla="*/ 1284371371 w 10000"/>
                <a:gd name="T53" fmla="*/ 779764535 h 10066"/>
                <a:gd name="T54" fmla="*/ 991604912 w 10000"/>
                <a:gd name="T55" fmla="*/ 1171404520 h 10066"/>
                <a:gd name="T56" fmla="*/ 1009367263 w 10000"/>
                <a:gd name="T57" fmla="*/ 1381493416 h 10066"/>
                <a:gd name="T58" fmla="*/ 1186375158 w 10000"/>
                <a:gd name="T59" fmla="*/ 1455254368 h 10066"/>
                <a:gd name="T60" fmla="*/ 1431673308 w 10000"/>
                <a:gd name="T61" fmla="*/ 1553822992 h 10066"/>
                <a:gd name="T62" fmla="*/ 1525230351 w 10000"/>
                <a:gd name="T63" fmla="*/ 1631317636 h 10066"/>
                <a:gd name="T64" fmla="*/ 1400436108 w 10000"/>
                <a:gd name="T65" fmla="*/ 1699368831 h 10066"/>
                <a:gd name="T66" fmla="*/ 1357255247 w 10000"/>
                <a:gd name="T67" fmla="*/ 1881141916 h 10066"/>
                <a:gd name="T68" fmla="*/ 1320047688 w 10000"/>
                <a:gd name="T69" fmla="*/ 1973782468 h 10066"/>
                <a:gd name="T70" fmla="*/ 1320047688 w 10000"/>
                <a:gd name="T71" fmla="*/ 2102643027 h 10066"/>
                <a:gd name="T72" fmla="*/ 1271051026 w 10000"/>
                <a:gd name="T73" fmla="*/ 2085521055 h 10066"/>
                <a:gd name="T74" fmla="*/ 1187751843 w 10000"/>
                <a:gd name="T75" fmla="*/ 2053249496 h 10066"/>
                <a:gd name="T76" fmla="*/ 1048106065 w 10000"/>
                <a:gd name="T77" fmla="*/ 2102643027 h 10066"/>
                <a:gd name="T78" fmla="*/ 972311373 w 10000"/>
                <a:gd name="T79" fmla="*/ 2147483647 h 10066"/>
                <a:gd name="T80" fmla="*/ 813220333 w 10000"/>
                <a:gd name="T81" fmla="*/ 2147483647 h 10066"/>
                <a:gd name="T82" fmla="*/ 615390491 w 10000"/>
                <a:gd name="T83" fmla="*/ 2147483647 h 10066"/>
                <a:gd name="T84" fmla="*/ 420162295 w 10000"/>
                <a:gd name="T85" fmla="*/ 2110328788 h 10066"/>
                <a:gd name="T86" fmla="*/ 243921466 w 10000"/>
                <a:gd name="T87" fmla="*/ 1952049739 h 10066"/>
                <a:gd name="T88" fmla="*/ 108563135 w 10000"/>
                <a:gd name="T89" fmla="*/ 1763693572 h 10066"/>
                <a:gd name="T90" fmla="*/ 4439170 w 10000"/>
                <a:gd name="T91" fmla="*/ 1627583944 h 100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000" h="10066">
                  <a:moveTo>
                    <a:pt x="29" y="7414"/>
                  </a:moveTo>
                  <a:cubicBezTo>
                    <a:pt x="58" y="7362"/>
                    <a:pt x="233" y="7233"/>
                    <a:pt x="330" y="7224"/>
                  </a:cubicBezTo>
                  <a:cubicBezTo>
                    <a:pt x="427" y="7216"/>
                    <a:pt x="466" y="7284"/>
                    <a:pt x="621" y="7362"/>
                  </a:cubicBezTo>
                  <a:cubicBezTo>
                    <a:pt x="777" y="7440"/>
                    <a:pt x="1087" y="7621"/>
                    <a:pt x="1282" y="7716"/>
                  </a:cubicBezTo>
                  <a:cubicBezTo>
                    <a:pt x="1476" y="7810"/>
                    <a:pt x="1621" y="7871"/>
                    <a:pt x="1757" y="7922"/>
                  </a:cubicBezTo>
                  <a:cubicBezTo>
                    <a:pt x="1893" y="7974"/>
                    <a:pt x="1990" y="7905"/>
                    <a:pt x="2107" y="8009"/>
                  </a:cubicBezTo>
                  <a:cubicBezTo>
                    <a:pt x="2223" y="8112"/>
                    <a:pt x="2369" y="8397"/>
                    <a:pt x="2456" y="8543"/>
                  </a:cubicBezTo>
                  <a:cubicBezTo>
                    <a:pt x="2544" y="8690"/>
                    <a:pt x="2573" y="8802"/>
                    <a:pt x="2660" y="8905"/>
                  </a:cubicBezTo>
                  <a:cubicBezTo>
                    <a:pt x="2748" y="9009"/>
                    <a:pt x="2767" y="9060"/>
                    <a:pt x="2971" y="9172"/>
                  </a:cubicBezTo>
                  <a:cubicBezTo>
                    <a:pt x="3175" y="9284"/>
                    <a:pt x="3680" y="9474"/>
                    <a:pt x="3883" y="9560"/>
                  </a:cubicBezTo>
                  <a:cubicBezTo>
                    <a:pt x="4087" y="9647"/>
                    <a:pt x="4039" y="9681"/>
                    <a:pt x="4204" y="9716"/>
                  </a:cubicBezTo>
                  <a:cubicBezTo>
                    <a:pt x="4369" y="9750"/>
                    <a:pt x="4631" y="9767"/>
                    <a:pt x="4903" y="9759"/>
                  </a:cubicBezTo>
                  <a:cubicBezTo>
                    <a:pt x="5175" y="9750"/>
                    <a:pt x="5612" y="9716"/>
                    <a:pt x="5825" y="9681"/>
                  </a:cubicBezTo>
                  <a:cubicBezTo>
                    <a:pt x="6039" y="9647"/>
                    <a:pt x="6126" y="9595"/>
                    <a:pt x="6175" y="9534"/>
                  </a:cubicBezTo>
                  <a:cubicBezTo>
                    <a:pt x="6223" y="9474"/>
                    <a:pt x="6175" y="9405"/>
                    <a:pt x="6117" y="9328"/>
                  </a:cubicBezTo>
                  <a:cubicBezTo>
                    <a:pt x="6058" y="9250"/>
                    <a:pt x="5922" y="9147"/>
                    <a:pt x="5825" y="9086"/>
                  </a:cubicBezTo>
                  <a:cubicBezTo>
                    <a:pt x="5728" y="9026"/>
                    <a:pt x="5553" y="9017"/>
                    <a:pt x="5534" y="8983"/>
                  </a:cubicBezTo>
                  <a:cubicBezTo>
                    <a:pt x="5515" y="8948"/>
                    <a:pt x="5583" y="8888"/>
                    <a:pt x="5689" y="8888"/>
                  </a:cubicBezTo>
                  <a:cubicBezTo>
                    <a:pt x="5796" y="8888"/>
                    <a:pt x="5971" y="8931"/>
                    <a:pt x="6155" y="8966"/>
                  </a:cubicBezTo>
                  <a:cubicBezTo>
                    <a:pt x="6340" y="9000"/>
                    <a:pt x="6650" y="9103"/>
                    <a:pt x="6816" y="9112"/>
                  </a:cubicBezTo>
                  <a:cubicBezTo>
                    <a:pt x="6981" y="9121"/>
                    <a:pt x="7049" y="9112"/>
                    <a:pt x="7165" y="9009"/>
                  </a:cubicBezTo>
                  <a:cubicBezTo>
                    <a:pt x="7282" y="8905"/>
                    <a:pt x="7291" y="8664"/>
                    <a:pt x="7495" y="8500"/>
                  </a:cubicBezTo>
                  <a:cubicBezTo>
                    <a:pt x="7699" y="8336"/>
                    <a:pt x="8184" y="8147"/>
                    <a:pt x="8417" y="8000"/>
                  </a:cubicBezTo>
                  <a:cubicBezTo>
                    <a:pt x="8650" y="7853"/>
                    <a:pt x="8767" y="7750"/>
                    <a:pt x="8883" y="7638"/>
                  </a:cubicBezTo>
                  <a:cubicBezTo>
                    <a:pt x="9000" y="7526"/>
                    <a:pt x="9058" y="7414"/>
                    <a:pt x="9097" y="7336"/>
                  </a:cubicBezTo>
                  <a:cubicBezTo>
                    <a:pt x="9136" y="7259"/>
                    <a:pt x="9194" y="7233"/>
                    <a:pt x="9117" y="7172"/>
                  </a:cubicBezTo>
                  <a:cubicBezTo>
                    <a:pt x="9039" y="7112"/>
                    <a:pt x="8786" y="7043"/>
                    <a:pt x="8631" y="7000"/>
                  </a:cubicBezTo>
                  <a:cubicBezTo>
                    <a:pt x="8476" y="6957"/>
                    <a:pt x="8359" y="6940"/>
                    <a:pt x="8184" y="6888"/>
                  </a:cubicBezTo>
                  <a:cubicBezTo>
                    <a:pt x="8010" y="6836"/>
                    <a:pt x="7767" y="6750"/>
                    <a:pt x="7573" y="6690"/>
                  </a:cubicBezTo>
                  <a:cubicBezTo>
                    <a:pt x="7379" y="6629"/>
                    <a:pt x="7175" y="6578"/>
                    <a:pt x="7000" y="6534"/>
                  </a:cubicBezTo>
                  <a:cubicBezTo>
                    <a:pt x="6825" y="6491"/>
                    <a:pt x="6650" y="6440"/>
                    <a:pt x="6534" y="6405"/>
                  </a:cubicBezTo>
                  <a:cubicBezTo>
                    <a:pt x="6417" y="6371"/>
                    <a:pt x="6427" y="6336"/>
                    <a:pt x="6320" y="6345"/>
                  </a:cubicBezTo>
                  <a:cubicBezTo>
                    <a:pt x="6214" y="6353"/>
                    <a:pt x="5990" y="6431"/>
                    <a:pt x="5893" y="6448"/>
                  </a:cubicBezTo>
                  <a:cubicBezTo>
                    <a:pt x="5796" y="6466"/>
                    <a:pt x="5757" y="6500"/>
                    <a:pt x="5718" y="6431"/>
                  </a:cubicBezTo>
                  <a:cubicBezTo>
                    <a:pt x="5680" y="6362"/>
                    <a:pt x="5670" y="6181"/>
                    <a:pt x="5680" y="6043"/>
                  </a:cubicBezTo>
                  <a:cubicBezTo>
                    <a:pt x="5689" y="5905"/>
                    <a:pt x="5777" y="5690"/>
                    <a:pt x="5777" y="5578"/>
                  </a:cubicBezTo>
                  <a:cubicBezTo>
                    <a:pt x="5777" y="5466"/>
                    <a:pt x="5738" y="5440"/>
                    <a:pt x="5680" y="5345"/>
                  </a:cubicBezTo>
                  <a:cubicBezTo>
                    <a:pt x="5621" y="5250"/>
                    <a:pt x="5505" y="5164"/>
                    <a:pt x="5417" y="5026"/>
                  </a:cubicBezTo>
                  <a:cubicBezTo>
                    <a:pt x="5330" y="4888"/>
                    <a:pt x="5233" y="4681"/>
                    <a:pt x="5165" y="4534"/>
                  </a:cubicBezTo>
                  <a:cubicBezTo>
                    <a:pt x="5097" y="4388"/>
                    <a:pt x="5049" y="4319"/>
                    <a:pt x="5019" y="4172"/>
                  </a:cubicBezTo>
                  <a:cubicBezTo>
                    <a:pt x="4990" y="4026"/>
                    <a:pt x="4961" y="3888"/>
                    <a:pt x="4981" y="3664"/>
                  </a:cubicBezTo>
                  <a:cubicBezTo>
                    <a:pt x="5000" y="3440"/>
                    <a:pt x="5087" y="3034"/>
                    <a:pt x="5126" y="2836"/>
                  </a:cubicBezTo>
                  <a:cubicBezTo>
                    <a:pt x="5165" y="2638"/>
                    <a:pt x="5272" y="2509"/>
                    <a:pt x="5243" y="2448"/>
                  </a:cubicBezTo>
                  <a:cubicBezTo>
                    <a:pt x="5214" y="2388"/>
                    <a:pt x="5058" y="2483"/>
                    <a:pt x="4961" y="2491"/>
                  </a:cubicBezTo>
                  <a:cubicBezTo>
                    <a:pt x="4864" y="2500"/>
                    <a:pt x="4748" y="2474"/>
                    <a:pt x="4660" y="2491"/>
                  </a:cubicBezTo>
                  <a:cubicBezTo>
                    <a:pt x="4573" y="2509"/>
                    <a:pt x="4553" y="2534"/>
                    <a:pt x="4456" y="2578"/>
                  </a:cubicBezTo>
                  <a:cubicBezTo>
                    <a:pt x="4359" y="2621"/>
                    <a:pt x="4165" y="2698"/>
                    <a:pt x="4058" y="2724"/>
                  </a:cubicBezTo>
                  <a:cubicBezTo>
                    <a:pt x="3951" y="2750"/>
                    <a:pt x="3903" y="2733"/>
                    <a:pt x="3835" y="2741"/>
                  </a:cubicBezTo>
                  <a:cubicBezTo>
                    <a:pt x="3767" y="2750"/>
                    <a:pt x="3680" y="2793"/>
                    <a:pt x="3631" y="2793"/>
                  </a:cubicBezTo>
                  <a:cubicBezTo>
                    <a:pt x="3583" y="2793"/>
                    <a:pt x="3573" y="2750"/>
                    <a:pt x="3515" y="2733"/>
                  </a:cubicBezTo>
                  <a:cubicBezTo>
                    <a:pt x="3456" y="2716"/>
                    <a:pt x="3291" y="2707"/>
                    <a:pt x="3291" y="2664"/>
                  </a:cubicBezTo>
                  <a:cubicBezTo>
                    <a:pt x="3291" y="2621"/>
                    <a:pt x="3466" y="2500"/>
                    <a:pt x="3544" y="2483"/>
                  </a:cubicBezTo>
                  <a:cubicBezTo>
                    <a:pt x="3621" y="2466"/>
                    <a:pt x="3660" y="2560"/>
                    <a:pt x="3767" y="2543"/>
                  </a:cubicBezTo>
                  <a:cubicBezTo>
                    <a:pt x="3874" y="2526"/>
                    <a:pt x="4068" y="2414"/>
                    <a:pt x="4175" y="2371"/>
                  </a:cubicBezTo>
                  <a:cubicBezTo>
                    <a:pt x="4282" y="2328"/>
                    <a:pt x="4262" y="2310"/>
                    <a:pt x="4408" y="2259"/>
                  </a:cubicBezTo>
                  <a:cubicBezTo>
                    <a:pt x="4553" y="2207"/>
                    <a:pt x="4893" y="2155"/>
                    <a:pt x="5068" y="2078"/>
                  </a:cubicBezTo>
                  <a:cubicBezTo>
                    <a:pt x="5243" y="2000"/>
                    <a:pt x="5379" y="1905"/>
                    <a:pt x="5485" y="1802"/>
                  </a:cubicBezTo>
                  <a:cubicBezTo>
                    <a:pt x="5592" y="1698"/>
                    <a:pt x="5660" y="1543"/>
                    <a:pt x="5718" y="1440"/>
                  </a:cubicBezTo>
                  <a:cubicBezTo>
                    <a:pt x="5777" y="1336"/>
                    <a:pt x="5767" y="1293"/>
                    <a:pt x="5825" y="1181"/>
                  </a:cubicBezTo>
                  <a:cubicBezTo>
                    <a:pt x="5883" y="1069"/>
                    <a:pt x="5971" y="888"/>
                    <a:pt x="6068" y="784"/>
                  </a:cubicBezTo>
                  <a:cubicBezTo>
                    <a:pt x="6165" y="681"/>
                    <a:pt x="6272" y="655"/>
                    <a:pt x="6417" y="578"/>
                  </a:cubicBezTo>
                  <a:cubicBezTo>
                    <a:pt x="6563" y="500"/>
                    <a:pt x="6796" y="371"/>
                    <a:pt x="6971" y="293"/>
                  </a:cubicBezTo>
                  <a:cubicBezTo>
                    <a:pt x="7146" y="216"/>
                    <a:pt x="7252" y="138"/>
                    <a:pt x="7456" y="95"/>
                  </a:cubicBezTo>
                  <a:cubicBezTo>
                    <a:pt x="7660" y="52"/>
                    <a:pt x="8010" y="0"/>
                    <a:pt x="8223" y="9"/>
                  </a:cubicBezTo>
                  <a:cubicBezTo>
                    <a:pt x="8437" y="17"/>
                    <a:pt x="8621" y="78"/>
                    <a:pt x="8748" y="138"/>
                  </a:cubicBezTo>
                  <a:cubicBezTo>
                    <a:pt x="8874" y="198"/>
                    <a:pt x="8942" y="293"/>
                    <a:pt x="9000" y="371"/>
                  </a:cubicBezTo>
                  <a:cubicBezTo>
                    <a:pt x="9058" y="448"/>
                    <a:pt x="9068" y="500"/>
                    <a:pt x="9068" y="586"/>
                  </a:cubicBezTo>
                  <a:cubicBezTo>
                    <a:pt x="9068" y="672"/>
                    <a:pt x="9039" y="784"/>
                    <a:pt x="9010" y="871"/>
                  </a:cubicBezTo>
                  <a:cubicBezTo>
                    <a:pt x="8981" y="957"/>
                    <a:pt x="8951" y="1017"/>
                    <a:pt x="8913" y="1103"/>
                  </a:cubicBezTo>
                  <a:cubicBezTo>
                    <a:pt x="8874" y="1190"/>
                    <a:pt x="8845" y="1293"/>
                    <a:pt x="8796" y="1388"/>
                  </a:cubicBezTo>
                  <a:cubicBezTo>
                    <a:pt x="8748" y="1483"/>
                    <a:pt x="8621" y="1647"/>
                    <a:pt x="8631" y="1698"/>
                  </a:cubicBezTo>
                  <a:cubicBezTo>
                    <a:pt x="8641" y="1750"/>
                    <a:pt x="8757" y="1690"/>
                    <a:pt x="8835" y="1698"/>
                  </a:cubicBezTo>
                  <a:cubicBezTo>
                    <a:pt x="8913" y="1707"/>
                    <a:pt x="9019" y="1759"/>
                    <a:pt x="9087" y="1767"/>
                  </a:cubicBezTo>
                  <a:cubicBezTo>
                    <a:pt x="9155" y="1776"/>
                    <a:pt x="9243" y="1724"/>
                    <a:pt x="9262" y="1776"/>
                  </a:cubicBezTo>
                  <a:cubicBezTo>
                    <a:pt x="9282" y="1828"/>
                    <a:pt x="9214" y="2000"/>
                    <a:pt x="9184" y="2086"/>
                  </a:cubicBezTo>
                  <a:cubicBezTo>
                    <a:pt x="9155" y="2172"/>
                    <a:pt x="9155" y="2198"/>
                    <a:pt x="9117" y="2293"/>
                  </a:cubicBezTo>
                  <a:cubicBezTo>
                    <a:pt x="9078" y="2388"/>
                    <a:pt x="8981" y="2552"/>
                    <a:pt x="8922" y="2647"/>
                  </a:cubicBezTo>
                  <a:cubicBezTo>
                    <a:pt x="8864" y="2741"/>
                    <a:pt x="8777" y="2828"/>
                    <a:pt x="8748" y="2888"/>
                  </a:cubicBezTo>
                  <a:cubicBezTo>
                    <a:pt x="8718" y="2948"/>
                    <a:pt x="8767" y="2966"/>
                    <a:pt x="8738" y="3034"/>
                  </a:cubicBezTo>
                  <a:cubicBezTo>
                    <a:pt x="8709" y="3103"/>
                    <a:pt x="8621" y="3233"/>
                    <a:pt x="8563" y="3319"/>
                  </a:cubicBezTo>
                  <a:cubicBezTo>
                    <a:pt x="8505" y="3405"/>
                    <a:pt x="8485" y="3440"/>
                    <a:pt x="8388" y="3552"/>
                  </a:cubicBezTo>
                  <a:cubicBezTo>
                    <a:pt x="8291" y="3664"/>
                    <a:pt x="8184" y="3810"/>
                    <a:pt x="7981" y="4000"/>
                  </a:cubicBezTo>
                  <a:cubicBezTo>
                    <a:pt x="7777" y="4190"/>
                    <a:pt x="7447" y="4448"/>
                    <a:pt x="7194" y="4672"/>
                  </a:cubicBezTo>
                  <a:cubicBezTo>
                    <a:pt x="6942" y="4897"/>
                    <a:pt x="6670" y="5112"/>
                    <a:pt x="6476" y="5336"/>
                  </a:cubicBezTo>
                  <a:cubicBezTo>
                    <a:pt x="6282" y="5560"/>
                    <a:pt x="6058" y="5879"/>
                    <a:pt x="6000" y="6009"/>
                  </a:cubicBezTo>
                  <a:cubicBezTo>
                    <a:pt x="5942" y="6138"/>
                    <a:pt x="6019" y="6060"/>
                    <a:pt x="6117" y="6112"/>
                  </a:cubicBezTo>
                  <a:cubicBezTo>
                    <a:pt x="6214" y="6164"/>
                    <a:pt x="6447" y="6250"/>
                    <a:pt x="6592" y="6293"/>
                  </a:cubicBezTo>
                  <a:cubicBezTo>
                    <a:pt x="6738" y="6336"/>
                    <a:pt x="6874" y="6345"/>
                    <a:pt x="6990" y="6379"/>
                  </a:cubicBezTo>
                  <a:cubicBezTo>
                    <a:pt x="7107" y="6414"/>
                    <a:pt x="7165" y="6457"/>
                    <a:pt x="7291" y="6500"/>
                  </a:cubicBezTo>
                  <a:cubicBezTo>
                    <a:pt x="7417" y="6543"/>
                    <a:pt x="7583" y="6578"/>
                    <a:pt x="7748" y="6629"/>
                  </a:cubicBezTo>
                  <a:lnTo>
                    <a:pt x="8282" y="6793"/>
                  </a:lnTo>
                  <a:cubicBezTo>
                    <a:pt x="8456" y="6845"/>
                    <a:pt x="8631" y="6922"/>
                    <a:pt x="8806" y="6966"/>
                  </a:cubicBezTo>
                  <a:cubicBezTo>
                    <a:pt x="8981" y="7009"/>
                    <a:pt x="9204" y="7052"/>
                    <a:pt x="9350" y="7078"/>
                  </a:cubicBezTo>
                  <a:cubicBezTo>
                    <a:pt x="9495" y="7103"/>
                    <a:pt x="9602" y="7086"/>
                    <a:pt x="9699" y="7103"/>
                  </a:cubicBezTo>
                  <a:cubicBezTo>
                    <a:pt x="9796" y="7121"/>
                    <a:pt x="9893" y="7121"/>
                    <a:pt x="9942" y="7172"/>
                  </a:cubicBezTo>
                  <a:cubicBezTo>
                    <a:pt x="9990" y="7224"/>
                    <a:pt x="10000" y="7379"/>
                    <a:pt x="9961" y="7431"/>
                  </a:cubicBezTo>
                  <a:cubicBezTo>
                    <a:pt x="9922" y="7483"/>
                    <a:pt x="9777" y="7457"/>
                    <a:pt x="9709" y="7483"/>
                  </a:cubicBezTo>
                  <a:cubicBezTo>
                    <a:pt x="9641" y="7509"/>
                    <a:pt x="9621" y="7543"/>
                    <a:pt x="9524" y="7586"/>
                  </a:cubicBezTo>
                  <a:cubicBezTo>
                    <a:pt x="9427" y="7629"/>
                    <a:pt x="9252" y="7664"/>
                    <a:pt x="9146" y="7741"/>
                  </a:cubicBezTo>
                  <a:cubicBezTo>
                    <a:pt x="9039" y="7819"/>
                    <a:pt x="8942" y="7940"/>
                    <a:pt x="8893" y="8034"/>
                  </a:cubicBezTo>
                  <a:cubicBezTo>
                    <a:pt x="8845" y="8129"/>
                    <a:pt x="8864" y="8207"/>
                    <a:pt x="8864" y="8293"/>
                  </a:cubicBezTo>
                  <a:lnTo>
                    <a:pt x="8864" y="8569"/>
                  </a:lnTo>
                  <a:cubicBezTo>
                    <a:pt x="8864" y="8647"/>
                    <a:pt x="8874" y="8724"/>
                    <a:pt x="8854" y="8776"/>
                  </a:cubicBezTo>
                  <a:cubicBezTo>
                    <a:pt x="8835" y="8828"/>
                    <a:pt x="8757" y="8871"/>
                    <a:pt x="8718" y="8905"/>
                  </a:cubicBezTo>
                  <a:cubicBezTo>
                    <a:pt x="8680" y="8940"/>
                    <a:pt x="8650" y="8957"/>
                    <a:pt x="8621" y="8991"/>
                  </a:cubicBezTo>
                  <a:cubicBezTo>
                    <a:pt x="8592" y="9026"/>
                    <a:pt x="8563" y="9069"/>
                    <a:pt x="8573" y="9121"/>
                  </a:cubicBezTo>
                  <a:cubicBezTo>
                    <a:pt x="8583" y="9172"/>
                    <a:pt x="8670" y="9250"/>
                    <a:pt x="8680" y="9328"/>
                  </a:cubicBezTo>
                  <a:cubicBezTo>
                    <a:pt x="8689" y="9405"/>
                    <a:pt x="8650" y="9509"/>
                    <a:pt x="8621" y="9578"/>
                  </a:cubicBezTo>
                  <a:cubicBezTo>
                    <a:pt x="8592" y="9647"/>
                    <a:pt x="8515" y="9750"/>
                    <a:pt x="8485" y="9759"/>
                  </a:cubicBezTo>
                  <a:cubicBezTo>
                    <a:pt x="8456" y="9767"/>
                    <a:pt x="8447" y="9698"/>
                    <a:pt x="8417" y="9655"/>
                  </a:cubicBezTo>
                  <a:cubicBezTo>
                    <a:pt x="8388" y="9612"/>
                    <a:pt x="8340" y="9543"/>
                    <a:pt x="8301" y="9500"/>
                  </a:cubicBezTo>
                  <a:cubicBezTo>
                    <a:pt x="8262" y="9457"/>
                    <a:pt x="8214" y="9422"/>
                    <a:pt x="8165" y="9397"/>
                  </a:cubicBezTo>
                  <a:cubicBezTo>
                    <a:pt x="8117" y="9371"/>
                    <a:pt x="8078" y="9336"/>
                    <a:pt x="8010" y="9328"/>
                  </a:cubicBezTo>
                  <a:cubicBezTo>
                    <a:pt x="7942" y="9319"/>
                    <a:pt x="7845" y="9336"/>
                    <a:pt x="7757" y="9353"/>
                  </a:cubicBezTo>
                  <a:cubicBezTo>
                    <a:pt x="7670" y="9371"/>
                    <a:pt x="7573" y="9405"/>
                    <a:pt x="7456" y="9431"/>
                  </a:cubicBezTo>
                  <a:cubicBezTo>
                    <a:pt x="7340" y="9457"/>
                    <a:pt x="7155" y="9474"/>
                    <a:pt x="7058" y="9500"/>
                  </a:cubicBezTo>
                  <a:cubicBezTo>
                    <a:pt x="6961" y="9526"/>
                    <a:pt x="6893" y="9552"/>
                    <a:pt x="6845" y="9578"/>
                  </a:cubicBezTo>
                  <a:cubicBezTo>
                    <a:pt x="6796" y="9603"/>
                    <a:pt x="6806" y="9612"/>
                    <a:pt x="6757" y="9638"/>
                  </a:cubicBezTo>
                  <a:cubicBezTo>
                    <a:pt x="6709" y="9664"/>
                    <a:pt x="6650" y="9681"/>
                    <a:pt x="6583" y="9716"/>
                  </a:cubicBezTo>
                  <a:cubicBezTo>
                    <a:pt x="6515" y="9750"/>
                    <a:pt x="6437" y="9810"/>
                    <a:pt x="6350" y="9836"/>
                  </a:cubicBezTo>
                  <a:cubicBezTo>
                    <a:pt x="6262" y="9862"/>
                    <a:pt x="6146" y="9871"/>
                    <a:pt x="6029" y="9888"/>
                  </a:cubicBezTo>
                  <a:lnTo>
                    <a:pt x="5621" y="9948"/>
                  </a:lnTo>
                  <a:cubicBezTo>
                    <a:pt x="5505" y="9966"/>
                    <a:pt x="5427" y="9983"/>
                    <a:pt x="5311" y="9991"/>
                  </a:cubicBezTo>
                  <a:cubicBezTo>
                    <a:pt x="5194" y="10000"/>
                    <a:pt x="5058" y="10000"/>
                    <a:pt x="4903" y="10000"/>
                  </a:cubicBezTo>
                  <a:cubicBezTo>
                    <a:pt x="4748" y="10000"/>
                    <a:pt x="4526" y="9984"/>
                    <a:pt x="4379" y="9991"/>
                  </a:cubicBezTo>
                  <a:cubicBezTo>
                    <a:pt x="4232" y="9998"/>
                    <a:pt x="4146" y="10066"/>
                    <a:pt x="4019" y="10040"/>
                  </a:cubicBezTo>
                  <a:cubicBezTo>
                    <a:pt x="3893" y="10015"/>
                    <a:pt x="3805" y="9881"/>
                    <a:pt x="3641" y="9836"/>
                  </a:cubicBezTo>
                  <a:cubicBezTo>
                    <a:pt x="3477" y="9791"/>
                    <a:pt x="3186" y="9806"/>
                    <a:pt x="3036" y="9769"/>
                  </a:cubicBezTo>
                  <a:cubicBezTo>
                    <a:pt x="2887" y="9732"/>
                    <a:pt x="2872" y="9673"/>
                    <a:pt x="2744" y="9613"/>
                  </a:cubicBezTo>
                  <a:cubicBezTo>
                    <a:pt x="2616" y="9553"/>
                    <a:pt x="2394" y="9494"/>
                    <a:pt x="2269" y="9411"/>
                  </a:cubicBezTo>
                  <a:cubicBezTo>
                    <a:pt x="2144" y="9328"/>
                    <a:pt x="2105" y="9198"/>
                    <a:pt x="1992" y="9112"/>
                  </a:cubicBezTo>
                  <a:cubicBezTo>
                    <a:pt x="1879" y="9026"/>
                    <a:pt x="1682" y="8978"/>
                    <a:pt x="1593" y="8892"/>
                  </a:cubicBezTo>
                  <a:cubicBezTo>
                    <a:pt x="1504" y="8806"/>
                    <a:pt x="1567" y="8667"/>
                    <a:pt x="1456" y="8595"/>
                  </a:cubicBezTo>
                  <a:cubicBezTo>
                    <a:pt x="1345" y="8524"/>
                    <a:pt x="1055" y="8558"/>
                    <a:pt x="929" y="8463"/>
                  </a:cubicBezTo>
                  <a:cubicBezTo>
                    <a:pt x="803" y="8368"/>
                    <a:pt x="799" y="8150"/>
                    <a:pt x="709" y="8034"/>
                  </a:cubicBezTo>
                  <a:cubicBezTo>
                    <a:pt x="619" y="7918"/>
                    <a:pt x="485" y="7853"/>
                    <a:pt x="388" y="7767"/>
                  </a:cubicBezTo>
                  <a:cubicBezTo>
                    <a:pt x="291" y="7681"/>
                    <a:pt x="204" y="7595"/>
                    <a:pt x="146" y="7534"/>
                  </a:cubicBezTo>
                  <a:cubicBezTo>
                    <a:pt x="87" y="7474"/>
                    <a:pt x="0" y="7466"/>
                    <a:pt x="29" y="7414"/>
                  </a:cubicBez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6" name="Freeform 1108"/>
            <p:cNvSpPr>
              <a:spLocks/>
            </p:cNvSpPr>
            <p:nvPr/>
          </p:nvSpPr>
          <p:spPr bwMode="auto">
            <a:xfrm>
              <a:off x="2745562" y="1614566"/>
              <a:ext cx="1005700" cy="1073163"/>
            </a:xfrm>
            <a:custGeom>
              <a:avLst/>
              <a:gdLst>
                <a:gd name="T0" fmla="*/ 2147483647 w 10656"/>
                <a:gd name="T1" fmla="*/ 2147483647 h 10000"/>
                <a:gd name="T2" fmla="*/ 2147483647 w 10656"/>
                <a:gd name="T3" fmla="*/ 91454844 h 10000"/>
                <a:gd name="T4" fmla="*/ 2147483647 w 10656"/>
                <a:gd name="T5" fmla="*/ 0 h 10000"/>
                <a:gd name="T6" fmla="*/ 2147483647 w 10656"/>
                <a:gd name="T7" fmla="*/ 55614526 h 10000"/>
                <a:gd name="T8" fmla="*/ 2147483647 w 10656"/>
                <a:gd name="T9" fmla="*/ 91454844 h 10000"/>
                <a:gd name="T10" fmla="*/ 2147483647 w 10656"/>
                <a:gd name="T11" fmla="*/ 182921170 h 10000"/>
                <a:gd name="T12" fmla="*/ 2147483647 w 10656"/>
                <a:gd name="T13" fmla="*/ 310216224 h 10000"/>
                <a:gd name="T14" fmla="*/ 2147483647 w 10656"/>
                <a:gd name="T15" fmla="*/ 493137393 h 10000"/>
                <a:gd name="T16" fmla="*/ 2147483647 w 10656"/>
                <a:gd name="T17" fmla="*/ 713142569 h 10000"/>
                <a:gd name="T18" fmla="*/ 1676282941 w 10656"/>
                <a:gd name="T19" fmla="*/ 648867403 h 10000"/>
                <a:gd name="T20" fmla="*/ 466566938 w 10656"/>
                <a:gd name="T21" fmla="*/ 657516453 h 10000"/>
                <a:gd name="T22" fmla="*/ 0 w 10656"/>
                <a:gd name="T23" fmla="*/ 1554812506 h 10000"/>
                <a:gd name="T24" fmla="*/ 1152548622 w 10656"/>
                <a:gd name="T25" fmla="*/ 2147483647 h 10000"/>
                <a:gd name="T26" fmla="*/ 1491339657 w 10656"/>
                <a:gd name="T27" fmla="*/ 2147483647 h 10000"/>
                <a:gd name="T28" fmla="*/ 2147483647 w 10656"/>
                <a:gd name="T29" fmla="*/ 2147483647 h 10000"/>
                <a:gd name="T30" fmla="*/ 2147483647 w 10656"/>
                <a:gd name="T31" fmla="*/ 2147483647 h 10000"/>
                <a:gd name="T32" fmla="*/ 2147483647 w 10656"/>
                <a:gd name="T33" fmla="*/ 2147483647 h 10000"/>
                <a:gd name="T34" fmla="*/ 2147483647 w 10656"/>
                <a:gd name="T35" fmla="*/ 2147483647 h 10000"/>
                <a:gd name="T36" fmla="*/ 2147483647 w 10656"/>
                <a:gd name="T37" fmla="*/ 2147483647 h 10000"/>
                <a:gd name="T38" fmla="*/ 2147483647 w 10656"/>
                <a:gd name="T39" fmla="*/ 2147483647 h 10000"/>
                <a:gd name="T40" fmla="*/ 2147483647 w 10656"/>
                <a:gd name="T41" fmla="*/ 2147483647 h 10000"/>
                <a:gd name="T42" fmla="*/ 2147483647 w 10656"/>
                <a:gd name="T43" fmla="*/ 2147483647 h 10000"/>
                <a:gd name="T44" fmla="*/ 2147483647 w 10656"/>
                <a:gd name="T45" fmla="*/ 2147483647 h 10000"/>
                <a:gd name="T46" fmla="*/ 2147483647 w 10656"/>
                <a:gd name="T47" fmla="*/ 2147483647 h 10000"/>
                <a:gd name="T48" fmla="*/ 2147483647 w 10656"/>
                <a:gd name="T49" fmla="*/ 2147483647 h 10000"/>
                <a:gd name="T50" fmla="*/ 2147483647 w 10656"/>
                <a:gd name="T51" fmla="*/ 2147483647 h 10000"/>
                <a:gd name="T52" fmla="*/ 2147483647 w 10656"/>
                <a:gd name="T53" fmla="*/ 2147483647 h 10000"/>
                <a:gd name="T54" fmla="*/ 2147483647 w 10656"/>
                <a:gd name="T55" fmla="*/ 2147483647 h 10000"/>
                <a:gd name="T56" fmla="*/ 2147483647 w 10656"/>
                <a:gd name="T57" fmla="*/ 2147483647 h 10000"/>
                <a:gd name="T58" fmla="*/ 2147483647 w 10656"/>
                <a:gd name="T59" fmla="*/ 2147483647 h 10000"/>
                <a:gd name="T60" fmla="*/ 2147483647 w 10656"/>
                <a:gd name="T61" fmla="*/ 2147483647 h 10000"/>
                <a:gd name="T62" fmla="*/ 2147483647 w 10656"/>
                <a:gd name="T63" fmla="*/ 2147483647 h 10000"/>
                <a:gd name="T64" fmla="*/ 2147483647 w 10656"/>
                <a:gd name="T65" fmla="*/ 2147483647 h 10000"/>
                <a:gd name="T66" fmla="*/ 2147483647 w 10656"/>
                <a:gd name="T67" fmla="*/ 2147483647 h 10000"/>
                <a:gd name="T68" fmla="*/ 2147483647 w 10656"/>
                <a:gd name="T69" fmla="*/ 2147483647 h 10000"/>
                <a:gd name="T70" fmla="*/ 2147483647 w 10656"/>
                <a:gd name="T71" fmla="*/ 2147483647 h 10000"/>
                <a:gd name="T72" fmla="*/ 2147483647 w 10656"/>
                <a:gd name="T73" fmla="*/ 2147483647 h 10000"/>
                <a:gd name="T74" fmla="*/ 2147483647 w 10656"/>
                <a:gd name="T75" fmla="*/ 2147483647 h 10000"/>
                <a:gd name="T76" fmla="*/ 2147483647 w 10656"/>
                <a:gd name="T77" fmla="*/ 2147483647 h 10000"/>
                <a:gd name="T78" fmla="*/ 2147483647 w 10656"/>
                <a:gd name="T79" fmla="*/ 2147483647 h 10000"/>
                <a:gd name="T80" fmla="*/ 2147483647 w 10656"/>
                <a:gd name="T81" fmla="*/ 2147483647 h 10000"/>
                <a:gd name="T82" fmla="*/ 2147483647 w 10656"/>
                <a:gd name="T83" fmla="*/ 2147483647 h 10000"/>
                <a:gd name="T84" fmla="*/ 2147483647 w 10656"/>
                <a:gd name="T85" fmla="*/ 2147483647 h 10000"/>
                <a:gd name="T86" fmla="*/ 2147483647 w 10656"/>
                <a:gd name="T87" fmla="*/ 2147483647 h 10000"/>
                <a:gd name="T88" fmla="*/ 2147483647 w 10656"/>
                <a:gd name="T89" fmla="*/ 2147483647 h 10000"/>
                <a:gd name="T90" fmla="*/ 2147483647 w 10656"/>
                <a:gd name="T91" fmla="*/ 2147483647 h 10000"/>
                <a:gd name="T92" fmla="*/ 2147483647 w 10656"/>
                <a:gd name="T93" fmla="*/ 2147483647 h 10000"/>
                <a:gd name="T94" fmla="*/ 2147483647 w 10656"/>
                <a:gd name="T95" fmla="*/ 2147483647 h 10000"/>
                <a:gd name="T96" fmla="*/ 2147483647 w 10656"/>
                <a:gd name="T97" fmla="*/ 2147483647 h 10000"/>
                <a:gd name="T98" fmla="*/ 2147483647 w 10656"/>
                <a:gd name="T99" fmla="*/ 2147483647 h 10000"/>
                <a:gd name="T100" fmla="*/ 2147483647 w 10656"/>
                <a:gd name="T101" fmla="*/ 2147483647 h 10000"/>
                <a:gd name="T102" fmla="*/ 2147483647 w 10656"/>
                <a:gd name="T103" fmla="*/ 2147483647 h 10000"/>
                <a:gd name="T104" fmla="*/ 2147483647 w 10656"/>
                <a:gd name="T105" fmla="*/ 2147483647 h 10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0656" h="10000">
                  <a:moveTo>
                    <a:pt x="7629" y="2796"/>
                  </a:moveTo>
                  <a:cubicBezTo>
                    <a:pt x="7617" y="2519"/>
                    <a:pt x="7606" y="2244"/>
                    <a:pt x="7595" y="1967"/>
                  </a:cubicBezTo>
                  <a:lnTo>
                    <a:pt x="6416" y="0"/>
                  </a:lnTo>
                  <a:lnTo>
                    <a:pt x="6148" y="74"/>
                  </a:lnTo>
                  <a:lnTo>
                    <a:pt x="5812" y="29"/>
                  </a:lnTo>
                  <a:cubicBezTo>
                    <a:pt x="5711" y="15"/>
                    <a:pt x="5660" y="0"/>
                    <a:pt x="5576" y="0"/>
                  </a:cubicBezTo>
                  <a:cubicBezTo>
                    <a:pt x="5475" y="0"/>
                    <a:pt x="5341" y="0"/>
                    <a:pt x="5240" y="15"/>
                  </a:cubicBezTo>
                  <a:cubicBezTo>
                    <a:pt x="5138" y="15"/>
                    <a:pt x="5055" y="29"/>
                    <a:pt x="4971" y="45"/>
                  </a:cubicBezTo>
                  <a:cubicBezTo>
                    <a:pt x="4903" y="59"/>
                    <a:pt x="4853" y="59"/>
                    <a:pt x="4786" y="74"/>
                  </a:cubicBezTo>
                  <a:lnTo>
                    <a:pt x="4601" y="74"/>
                  </a:lnTo>
                  <a:cubicBezTo>
                    <a:pt x="4533" y="74"/>
                    <a:pt x="4500" y="74"/>
                    <a:pt x="4433" y="88"/>
                  </a:cubicBezTo>
                  <a:cubicBezTo>
                    <a:pt x="4348" y="88"/>
                    <a:pt x="4196" y="118"/>
                    <a:pt x="4113" y="148"/>
                  </a:cubicBezTo>
                  <a:cubicBezTo>
                    <a:pt x="4046" y="163"/>
                    <a:pt x="3995" y="192"/>
                    <a:pt x="3928" y="222"/>
                  </a:cubicBezTo>
                  <a:cubicBezTo>
                    <a:pt x="3861" y="237"/>
                    <a:pt x="3810" y="237"/>
                    <a:pt x="3726" y="251"/>
                  </a:cubicBezTo>
                  <a:cubicBezTo>
                    <a:pt x="3641" y="266"/>
                    <a:pt x="3524" y="282"/>
                    <a:pt x="3423" y="296"/>
                  </a:cubicBezTo>
                  <a:cubicBezTo>
                    <a:pt x="3339" y="325"/>
                    <a:pt x="3238" y="370"/>
                    <a:pt x="3171" y="399"/>
                  </a:cubicBezTo>
                  <a:cubicBezTo>
                    <a:pt x="3104" y="429"/>
                    <a:pt x="3087" y="474"/>
                    <a:pt x="3003" y="503"/>
                  </a:cubicBezTo>
                  <a:cubicBezTo>
                    <a:pt x="2919" y="533"/>
                    <a:pt x="2772" y="570"/>
                    <a:pt x="2683" y="577"/>
                  </a:cubicBezTo>
                  <a:cubicBezTo>
                    <a:pt x="2595" y="584"/>
                    <a:pt x="2588" y="557"/>
                    <a:pt x="2473" y="548"/>
                  </a:cubicBezTo>
                  <a:cubicBezTo>
                    <a:pt x="2358" y="539"/>
                    <a:pt x="2217" y="540"/>
                    <a:pt x="1994" y="525"/>
                  </a:cubicBezTo>
                  <a:lnTo>
                    <a:pt x="1135" y="465"/>
                  </a:lnTo>
                  <a:cubicBezTo>
                    <a:pt x="895" y="485"/>
                    <a:pt x="652" y="425"/>
                    <a:pt x="555" y="532"/>
                  </a:cubicBezTo>
                  <a:cubicBezTo>
                    <a:pt x="458" y="639"/>
                    <a:pt x="648" y="988"/>
                    <a:pt x="555" y="1109"/>
                  </a:cubicBezTo>
                  <a:cubicBezTo>
                    <a:pt x="463" y="1230"/>
                    <a:pt x="32" y="1008"/>
                    <a:pt x="0" y="1258"/>
                  </a:cubicBezTo>
                  <a:cubicBezTo>
                    <a:pt x="9" y="2149"/>
                    <a:pt x="1097" y="5967"/>
                    <a:pt x="1212" y="6812"/>
                  </a:cubicBezTo>
                  <a:lnTo>
                    <a:pt x="1371" y="6893"/>
                  </a:lnTo>
                  <a:cubicBezTo>
                    <a:pt x="1338" y="6978"/>
                    <a:pt x="1405" y="7061"/>
                    <a:pt x="1371" y="7145"/>
                  </a:cubicBezTo>
                  <a:cubicBezTo>
                    <a:pt x="1422" y="7204"/>
                    <a:pt x="1556" y="7218"/>
                    <a:pt x="1774" y="7278"/>
                  </a:cubicBezTo>
                  <a:cubicBezTo>
                    <a:pt x="1994" y="7337"/>
                    <a:pt x="2498" y="7455"/>
                    <a:pt x="2734" y="7529"/>
                  </a:cubicBezTo>
                  <a:cubicBezTo>
                    <a:pt x="2952" y="7604"/>
                    <a:pt x="2919" y="7574"/>
                    <a:pt x="3137" y="7737"/>
                  </a:cubicBezTo>
                  <a:cubicBezTo>
                    <a:pt x="3283" y="7830"/>
                    <a:pt x="3367" y="7993"/>
                    <a:pt x="3508" y="8114"/>
                  </a:cubicBezTo>
                  <a:cubicBezTo>
                    <a:pt x="3648" y="8235"/>
                    <a:pt x="3890" y="8370"/>
                    <a:pt x="3978" y="8461"/>
                  </a:cubicBezTo>
                  <a:cubicBezTo>
                    <a:pt x="4163" y="8610"/>
                    <a:pt x="4054" y="8536"/>
                    <a:pt x="4138" y="8639"/>
                  </a:cubicBezTo>
                  <a:cubicBezTo>
                    <a:pt x="4239" y="8743"/>
                    <a:pt x="4339" y="8960"/>
                    <a:pt x="4533" y="9113"/>
                  </a:cubicBezTo>
                  <a:cubicBezTo>
                    <a:pt x="4728" y="9265"/>
                    <a:pt x="5122" y="9438"/>
                    <a:pt x="5307" y="9556"/>
                  </a:cubicBezTo>
                  <a:cubicBezTo>
                    <a:pt x="5492" y="9660"/>
                    <a:pt x="5576" y="9718"/>
                    <a:pt x="5677" y="9793"/>
                  </a:cubicBezTo>
                  <a:lnTo>
                    <a:pt x="5930" y="10000"/>
                  </a:lnTo>
                  <a:lnTo>
                    <a:pt x="6115" y="9808"/>
                  </a:lnTo>
                  <a:lnTo>
                    <a:pt x="6552" y="9585"/>
                  </a:lnTo>
                  <a:lnTo>
                    <a:pt x="6955" y="9881"/>
                  </a:lnTo>
                  <a:lnTo>
                    <a:pt x="9007" y="9319"/>
                  </a:lnTo>
                  <a:cubicBezTo>
                    <a:pt x="8980" y="9279"/>
                    <a:pt x="9279" y="9196"/>
                    <a:pt x="9252" y="9157"/>
                  </a:cubicBezTo>
                  <a:cubicBezTo>
                    <a:pt x="9243" y="9140"/>
                    <a:pt x="9235" y="9122"/>
                    <a:pt x="9226" y="9105"/>
                  </a:cubicBezTo>
                  <a:cubicBezTo>
                    <a:pt x="9249" y="9036"/>
                    <a:pt x="9271" y="8966"/>
                    <a:pt x="9294" y="8897"/>
                  </a:cubicBezTo>
                  <a:cubicBezTo>
                    <a:pt x="9305" y="8685"/>
                    <a:pt x="9568" y="8674"/>
                    <a:pt x="9579" y="8461"/>
                  </a:cubicBezTo>
                  <a:lnTo>
                    <a:pt x="10185" y="8069"/>
                  </a:lnTo>
                  <a:cubicBezTo>
                    <a:pt x="10269" y="7907"/>
                    <a:pt x="10521" y="7870"/>
                    <a:pt x="10471" y="7766"/>
                  </a:cubicBezTo>
                  <a:lnTo>
                    <a:pt x="10084" y="7514"/>
                  </a:lnTo>
                  <a:lnTo>
                    <a:pt x="9007" y="6760"/>
                  </a:lnTo>
                  <a:lnTo>
                    <a:pt x="8806" y="6938"/>
                  </a:lnTo>
                  <a:lnTo>
                    <a:pt x="8671" y="7175"/>
                  </a:lnTo>
                  <a:cubicBezTo>
                    <a:pt x="8637" y="7322"/>
                    <a:pt x="8554" y="7647"/>
                    <a:pt x="8587" y="7899"/>
                  </a:cubicBezTo>
                  <a:cubicBezTo>
                    <a:pt x="8637" y="8150"/>
                    <a:pt x="8924" y="8520"/>
                    <a:pt x="8940" y="8669"/>
                  </a:cubicBezTo>
                  <a:lnTo>
                    <a:pt x="8637" y="8831"/>
                  </a:lnTo>
                  <a:lnTo>
                    <a:pt x="8873" y="9172"/>
                  </a:lnTo>
                  <a:lnTo>
                    <a:pt x="7057" y="9704"/>
                  </a:lnTo>
                  <a:lnTo>
                    <a:pt x="6687" y="9452"/>
                  </a:lnTo>
                  <a:lnTo>
                    <a:pt x="6485" y="9431"/>
                  </a:lnTo>
                  <a:lnTo>
                    <a:pt x="6106" y="9475"/>
                  </a:lnTo>
                  <a:cubicBezTo>
                    <a:pt x="5867" y="9198"/>
                    <a:pt x="5008" y="7946"/>
                    <a:pt x="4726" y="7596"/>
                  </a:cubicBezTo>
                  <a:lnTo>
                    <a:pt x="4466" y="7308"/>
                  </a:lnTo>
                  <a:lnTo>
                    <a:pt x="3802" y="6960"/>
                  </a:lnTo>
                  <a:cubicBezTo>
                    <a:pt x="3846" y="6615"/>
                    <a:pt x="3791" y="6314"/>
                    <a:pt x="3836" y="5968"/>
                  </a:cubicBezTo>
                  <a:cubicBezTo>
                    <a:pt x="3863" y="5899"/>
                    <a:pt x="3917" y="4743"/>
                    <a:pt x="3944" y="4674"/>
                  </a:cubicBezTo>
                  <a:lnTo>
                    <a:pt x="4567" y="2684"/>
                  </a:lnTo>
                  <a:lnTo>
                    <a:pt x="5055" y="2619"/>
                  </a:lnTo>
                  <a:lnTo>
                    <a:pt x="5879" y="5961"/>
                  </a:lnTo>
                  <a:lnTo>
                    <a:pt x="6198" y="7042"/>
                  </a:lnTo>
                  <a:lnTo>
                    <a:pt x="5812" y="7056"/>
                  </a:lnTo>
                  <a:lnTo>
                    <a:pt x="4214" y="7204"/>
                  </a:lnTo>
                  <a:lnTo>
                    <a:pt x="4365" y="7248"/>
                  </a:lnTo>
                  <a:lnTo>
                    <a:pt x="4500" y="7337"/>
                  </a:lnTo>
                  <a:lnTo>
                    <a:pt x="5560" y="7248"/>
                  </a:lnTo>
                  <a:lnTo>
                    <a:pt x="6333" y="7189"/>
                  </a:lnTo>
                  <a:lnTo>
                    <a:pt x="6989" y="7175"/>
                  </a:lnTo>
                  <a:lnTo>
                    <a:pt x="7679" y="7101"/>
                  </a:lnTo>
                  <a:cubicBezTo>
                    <a:pt x="7656" y="6416"/>
                    <a:pt x="7634" y="5730"/>
                    <a:pt x="7612" y="5045"/>
                  </a:cubicBezTo>
                  <a:cubicBezTo>
                    <a:pt x="7645" y="5024"/>
                    <a:pt x="7679" y="5005"/>
                    <a:pt x="7712" y="4985"/>
                  </a:cubicBezTo>
                  <a:cubicBezTo>
                    <a:pt x="7706" y="4758"/>
                    <a:pt x="7701" y="4532"/>
                    <a:pt x="7695" y="4305"/>
                  </a:cubicBezTo>
                  <a:lnTo>
                    <a:pt x="9041" y="4246"/>
                  </a:lnTo>
                  <a:cubicBezTo>
                    <a:pt x="9311" y="4246"/>
                    <a:pt x="9226" y="4260"/>
                    <a:pt x="9327" y="4290"/>
                  </a:cubicBezTo>
                  <a:cubicBezTo>
                    <a:pt x="9411" y="4305"/>
                    <a:pt x="9546" y="4364"/>
                    <a:pt x="9596" y="4393"/>
                  </a:cubicBezTo>
                  <a:cubicBezTo>
                    <a:pt x="9630" y="4443"/>
                    <a:pt x="9664" y="4492"/>
                    <a:pt x="9697" y="4542"/>
                  </a:cubicBezTo>
                  <a:lnTo>
                    <a:pt x="9866" y="4660"/>
                  </a:lnTo>
                  <a:cubicBezTo>
                    <a:pt x="9899" y="4689"/>
                    <a:pt x="9899" y="4630"/>
                    <a:pt x="9916" y="4689"/>
                  </a:cubicBezTo>
                  <a:cubicBezTo>
                    <a:pt x="9933" y="4748"/>
                    <a:pt x="9983" y="4926"/>
                    <a:pt x="10017" y="5014"/>
                  </a:cubicBezTo>
                  <a:cubicBezTo>
                    <a:pt x="10051" y="5104"/>
                    <a:pt x="10084" y="5192"/>
                    <a:pt x="10134" y="5251"/>
                  </a:cubicBezTo>
                  <a:cubicBezTo>
                    <a:pt x="10168" y="5325"/>
                    <a:pt x="10219" y="5370"/>
                    <a:pt x="10286" y="5429"/>
                  </a:cubicBezTo>
                  <a:cubicBezTo>
                    <a:pt x="10336" y="5474"/>
                    <a:pt x="10438" y="5533"/>
                    <a:pt x="10488" y="5548"/>
                  </a:cubicBezTo>
                  <a:cubicBezTo>
                    <a:pt x="10538" y="5562"/>
                    <a:pt x="10572" y="5548"/>
                    <a:pt x="10589" y="5503"/>
                  </a:cubicBezTo>
                  <a:cubicBezTo>
                    <a:pt x="10606" y="5458"/>
                    <a:pt x="10572" y="5370"/>
                    <a:pt x="10572" y="5296"/>
                  </a:cubicBezTo>
                  <a:cubicBezTo>
                    <a:pt x="10572" y="5237"/>
                    <a:pt x="10639" y="5148"/>
                    <a:pt x="10639" y="5104"/>
                  </a:cubicBezTo>
                  <a:cubicBezTo>
                    <a:pt x="10656" y="5045"/>
                    <a:pt x="10639" y="5029"/>
                    <a:pt x="10623" y="4971"/>
                  </a:cubicBezTo>
                  <a:cubicBezTo>
                    <a:pt x="10606" y="4912"/>
                    <a:pt x="10606" y="4822"/>
                    <a:pt x="10538" y="4748"/>
                  </a:cubicBezTo>
                  <a:cubicBezTo>
                    <a:pt x="10471" y="4689"/>
                    <a:pt x="10303" y="4630"/>
                    <a:pt x="10236" y="4585"/>
                  </a:cubicBezTo>
                  <a:cubicBezTo>
                    <a:pt x="10168" y="4542"/>
                    <a:pt x="10151" y="4512"/>
                    <a:pt x="10101" y="4482"/>
                  </a:cubicBezTo>
                  <a:cubicBezTo>
                    <a:pt x="10051" y="4438"/>
                    <a:pt x="10017" y="4393"/>
                    <a:pt x="9983" y="4349"/>
                  </a:cubicBezTo>
                  <a:cubicBezTo>
                    <a:pt x="9949" y="4305"/>
                    <a:pt x="9916" y="4260"/>
                    <a:pt x="9882" y="4201"/>
                  </a:cubicBezTo>
                  <a:cubicBezTo>
                    <a:pt x="9849" y="4142"/>
                    <a:pt x="9815" y="4098"/>
                    <a:pt x="9781" y="4039"/>
                  </a:cubicBezTo>
                  <a:cubicBezTo>
                    <a:pt x="9742" y="3964"/>
                    <a:pt x="9703" y="3890"/>
                    <a:pt x="9664" y="3816"/>
                  </a:cubicBezTo>
                  <a:cubicBezTo>
                    <a:pt x="9613" y="3757"/>
                    <a:pt x="9546" y="3698"/>
                    <a:pt x="9462" y="3653"/>
                  </a:cubicBezTo>
                  <a:cubicBezTo>
                    <a:pt x="9394" y="3595"/>
                    <a:pt x="9311" y="3550"/>
                    <a:pt x="9192" y="3536"/>
                  </a:cubicBezTo>
                  <a:lnTo>
                    <a:pt x="8772" y="3536"/>
                  </a:lnTo>
                  <a:lnTo>
                    <a:pt x="7965" y="3536"/>
                  </a:lnTo>
                  <a:lnTo>
                    <a:pt x="7965" y="2811"/>
                  </a:lnTo>
                  <a:lnTo>
                    <a:pt x="7662" y="2796"/>
                  </a:lnTo>
                </a:path>
              </a:pathLst>
            </a:custGeom>
            <a:solidFill>
              <a:srgbClr val="663300"/>
            </a:solidFill>
            <a:ln w="9525" cap="flat" cmpd="sng">
              <a:solidFill>
                <a:srgbClr val="663300"/>
              </a:solidFill>
              <a:prstDash val="solid"/>
              <a:round/>
              <a:headEnd type="none" w="med" len="med"/>
              <a:tailEnd type="none" w="med" len="med"/>
            </a:ln>
          </p:spPr>
          <p:txBody>
            <a:bodyPr lIns="0" tIns="0" rIns="0" bIns="0">
              <a:spAutoFit/>
            </a:bodyPr>
            <a:lstStyle/>
            <a:p>
              <a:endParaRPr lang="de-DE"/>
            </a:p>
          </p:txBody>
        </p:sp>
        <p:sp>
          <p:nvSpPr>
            <p:cNvPr id="17" name="Freeform 1109"/>
            <p:cNvSpPr>
              <a:spLocks/>
            </p:cNvSpPr>
            <p:nvPr/>
          </p:nvSpPr>
          <p:spPr bwMode="auto">
            <a:xfrm>
              <a:off x="3514725" y="2127328"/>
              <a:ext cx="88900" cy="104775"/>
            </a:xfrm>
            <a:custGeom>
              <a:avLst/>
              <a:gdLst>
                <a:gd name="T0" fmla="*/ 0 w 171"/>
                <a:gd name="T1" fmla="*/ 2147483647 h 201"/>
                <a:gd name="T2" fmla="*/ 2147483647 w 171"/>
                <a:gd name="T3" fmla="*/ 0 h 201"/>
                <a:gd name="T4" fmla="*/ 2147483647 w 171"/>
                <a:gd name="T5" fmla="*/ 2147483647 h 201"/>
                <a:gd name="T6" fmla="*/ 2147483647 w 171"/>
                <a:gd name="T7" fmla="*/ 2147483647 h 201"/>
                <a:gd name="T8" fmla="*/ 2147483647 w 171"/>
                <a:gd name="T9" fmla="*/ 2147483647 h 201"/>
                <a:gd name="T10" fmla="*/ 2147483647 w 171"/>
                <a:gd name="T11" fmla="*/ 2147483647 h 201"/>
                <a:gd name="T12" fmla="*/ 0 w 171"/>
                <a:gd name="T13" fmla="*/ 2147483647 h 201"/>
                <a:gd name="T14" fmla="*/ 0 60000 65536"/>
                <a:gd name="T15" fmla="*/ 0 60000 65536"/>
                <a:gd name="T16" fmla="*/ 0 60000 65536"/>
                <a:gd name="T17" fmla="*/ 0 60000 65536"/>
                <a:gd name="T18" fmla="*/ 0 60000 65536"/>
                <a:gd name="T19" fmla="*/ 0 60000 65536"/>
                <a:gd name="T20" fmla="*/ 0 60000 65536"/>
                <a:gd name="T21" fmla="*/ 0 w 171"/>
                <a:gd name="T22" fmla="*/ 0 h 201"/>
                <a:gd name="T23" fmla="*/ 171 w 171"/>
                <a:gd name="T24" fmla="*/ 201 h 2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1" h="201">
                  <a:moveTo>
                    <a:pt x="0" y="9"/>
                  </a:moveTo>
                  <a:lnTo>
                    <a:pt x="98" y="0"/>
                  </a:lnTo>
                  <a:lnTo>
                    <a:pt x="122" y="67"/>
                  </a:lnTo>
                  <a:lnTo>
                    <a:pt x="171" y="171"/>
                  </a:lnTo>
                  <a:lnTo>
                    <a:pt x="107" y="199"/>
                  </a:lnTo>
                  <a:lnTo>
                    <a:pt x="48" y="201"/>
                  </a:lnTo>
                  <a:lnTo>
                    <a:pt x="0" y="9"/>
                  </a:ln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8" name="Freeform 1110"/>
            <p:cNvSpPr>
              <a:spLocks/>
            </p:cNvSpPr>
            <p:nvPr/>
          </p:nvSpPr>
          <p:spPr bwMode="auto">
            <a:xfrm>
              <a:off x="3468688" y="1798716"/>
              <a:ext cx="244475" cy="239713"/>
            </a:xfrm>
            <a:custGeom>
              <a:avLst/>
              <a:gdLst>
                <a:gd name="T0" fmla="*/ 2147483647 w 472"/>
                <a:gd name="T1" fmla="*/ 2147483647 h 460"/>
                <a:gd name="T2" fmla="*/ 2147483647 w 472"/>
                <a:gd name="T3" fmla="*/ 2147483647 h 460"/>
                <a:gd name="T4" fmla="*/ 2147483647 w 472"/>
                <a:gd name="T5" fmla="*/ 2147483647 h 460"/>
                <a:gd name="T6" fmla="*/ 2147483647 w 472"/>
                <a:gd name="T7" fmla="*/ 2147483647 h 460"/>
                <a:gd name="T8" fmla="*/ 2147483647 w 472"/>
                <a:gd name="T9" fmla="*/ 2147483647 h 460"/>
                <a:gd name="T10" fmla="*/ 2147483647 w 472"/>
                <a:gd name="T11" fmla="*/ 2147483647 h 460"/>
                <a:gd name="T12" fmla="*/ 2147483647 w 472"/>
                <a:gd name="T13" fmla="*/ 2147483647 h 460"/>
                <a:gd name="T14" fmla="*/ 2147483647 w 472"/>
                <a:gd name="T15" fmla="*/ 2147483647 h 460"/>
                <a:gd name="T16" fmla="*/ 2147483647 w 472"/>
                <a:gd name="T17" fmla="*/ 2147483647 h 460"/>
                <a:gd name="T18" fmla="*/ 2147483647 w 472"/>
                <a:gd name="T19" fmla="*/ 2147483647 h 460"/>
                <a:gd name="T20" fmla="*/ 2147483647 w 472"/>
                <a:gd name="T21" fmla="*/ 2147483647 h 460"/>
                <a:gd name="T22" fmla="*/ 2147483647 w 472"/>
                <a:gd name="T23" fmla="*/ 2147483647 h 460"/>
                <a:gd name="T24" fmla="*/ 2147483647 w 472"/>
                <a:gd name="T25" fmla="*/ 2147483647 h 460"/>
                <a:gd name="T26" fmla="*/ 2147483647 w 472"/>
                <a:gd name="T27" fmla="*/ 2147483647 h 460"/>
                <a:gd name="T28" fmla="*/ 2147483647 w 472"/>
                <a:gd name="T29" fmla="*/ 2147483647 h 460"/>
                <a:gd name="T30" fmla="*/ 2147483647 w 472"/>
                <a:gd name="T31" fmla="*/ 2147483647 h 460"/>
                <a:gd name="T32" fmla="*/ 2147483647 w 472"/>
                <a:gd name="T33" fmla="*/ 2147483647 h 460"/>
                <a:gd name="T34" fmla="*/ 2147483647 w 472"/>
                <a:gd name="T35" fmla="*/ 2147483647 h 460"/>
                <a:gd name="T36" fmla="*/ 2147483647 w 472"/>
                <a:gd name="T37" fmla="*/ 2147483647 h 460"/>
                <a:gd name="T38" fmla="*/ 2147483647 w 472"/>
                <a:gd name="T39" fmla="*/ 2147483647 h 460"/>
                <a:gd name="T40" fmla="*/ 2147483647 w 472"/>
                <a:gd name="T41" fmla="*/ 2147483647 h 460"/>
                <a:gd name="T42" fmla="*/ 2147483647 w 472"/>
                <a:gd name="T43" fmla="*/ 2147483647 h 460"/>
                <a:gd name="T44" fmla="*/ 2147483647 w 472"/>
                <a:gd name="T45" fmla="*/ 2147483647 h 460"/>
                <a:gd name="T46" fmla="*/ 2147483647 w 472"/>
                <a:gd name="T47" fmla="*/ 2147483647 h 460"/>
                <a:gd name="T48" fmla="*/ 2147483647 w 472"/>
                <a:gd name="T49" fmla="*/ 2147483647 h 460"/>
                <a:gd name="T50" fmla="*/ 2147483647 w 472"/>
                <a:gd name="T51" fmla="*/ 2147483647 h 460"/>
                <a:gd name="T52" fmla="*/ 2147483647 w 472"/>
                <a:gd name="T53" fmla="*/ 2147483647 h 460"/>
                <a:gd name="T54" fmla="*/ 2147483647 w 472"/>
                <a:gd name="T55" fmla="*/ 2147483647 h 460"/>
                <a:gd name="T56" fmla="*/ 2147483647 w 472"/>
                <a:gd name="T57" fmla="*/ 2147483647 h 460"/>
                <a:gd name="T58" fmla="*/ 2147483647 w 472"/>
                <a:gd name="T59" fmla="*/ 2147483647 h 460"/>
                <a:gd name="T60" fmla="*/ 2147483647 w 472"/>
                <a:gd name="T61" fmla="*/ 2147483647 h 460"/>
                <a:gd name="T62" fmla="*/ 2147483647 w 472"/>
                <a:gd name="T63" fmla="*/ 2147483647 h 460"/>
                <a:gd name="T64" fmla="*/ 2147483647 w 472"/>
                <a:gd name="T65" fmla="*/ 2147483647 h 460"/>
                <a:gd name="T66" fmla="*/ 2147483647 w 472"/>
                <a:gd name="T67" fmla="*/ 2147483647 h 460"/>
                <a:gd name="T68" fmla="*/ 2147483647 w 472"/>
                <a:gd name="T69" fmla="*/ 2147483647 h 460"/>
                <a:gd name="T70" fmla="*/ 2147483647 w 472"/>
                <a:gd name="T71" fmla="*/ 2147483647 h 4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72"/>
                <a:gd name="T109" fmla="*/ 0 h 460"/>
                <a:gd name="T110" fmla="*/ 472 w 472"/>
                <a:gd name="T111" fmla="*/ 460 h 46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72" h="460">
                  <a:moveTo>
                    <a:pt x="108" y="378"/>
                  </a:moveTo>
                  <a:cubicBezTo>
                    <a:pt x="80" y="378"/>
                    <a:pt x="69" y="385"/>
                    <a:pt x="59" y="380"/>
                  </a:cubicBezTo>
                  <a:cubicBezTo>
                    <a:pt x="49" y="375"/>
                    <a:pt x="49" y="370"/>
                    <a:pt x="48" y="348"/>
                  </a:cubicBezTo>
                  <a:lnTo>
                    <a:pt x="50" y="248"/>
                  </a:lnTo>
                  <a:cubicBezTo>
                    <a:pt x="51" y="227"/>
                    <a:pt x="51" y="228"/>
                    <a:pt x="56" y="224"/>
                  </a:cubicBezTo>
                  <a:lnTo>
                    <a:pt x="78" y="225"/>
                  </a:lnTo>
                  <a:lnTo>
                    <a:pt x="83" y="363"/>
                  </a:lnTo>
                  <a:lnTo>
                    <a:pt x="108" y="363"/>
                  </a:lnTo>
                  <a:cubicBezTo>
                    <a:pt x="118" y="363"/>
                    <a:pt x="132" y="362"/>
                    <a:pt x="143" y="362"/>
                  </a:cubicBezTo>
                  <a:cubicBezTo>
                    <a:pt x="154" y="362"/>
                    <a:pt x="153" y="362"/>
                    <a:pt x="173" y="362"/>
                  </a:cubicBezTo>
                  <a:cubicBezTo>
                    <a:pt x="193" y="362"/>
                    <a:pt x="239" y="359"/>
                    <a:pt x="264" y="362"/>
                  </a:cubicBezTo>
                  <a:cubicBezTo>
                    <a:pt x="289" y="365"/>
                    <a:pt x="309" y="371"/>
                    <a:pt x="326" y="378"/>
                  </a:cubicBezTo>
                  <a:cubicBezTo>
                    <a:pt x="343" y="385"/>
                    <a:pt x="355" y="397"/>
                    <a:pt x="366" y="407"/>
                  </a:cubicBezTo>
                  <a:cubicBezTo>
                    <a:pt x="377" y="417"/>
                    <a:pt x="382" y="433"/>
                    <a:pt x="393" y="438"/>
                  </a:cubicBezTo>
                  <a:cubicBezTo>
                    <a:pt x="404" y="443"/>
                    <a:pt x="425" y="439"/>
                    <a:pt x="432" y="435"/>
                  </a:cubicBezTo>
                  <a:cubicBezTo>
                    <a:pt x="439" y="431"/>
                    <a:pt x="434" y="426"/>
                    <a:pt x="434" y="414"/>
                  </a:cubicBezTo>
                  <a:cubicBezTo>
                    <a:pt x="434" y="402"/>
                    <a:pt x="435" y="379"/>
                    <a:pt x="435" y="362"/>
                  </a:cubicBezTo>
                  <a:cubicBezTo>
                    <a:pt x="435" y="345"/>
                    <a:pt x="434" y="330"/>
                    <a:pt x="435" y="311"/>
                  </a:cubicBezTo>
                  <a:cubicBezTo>
                    <a:pt x="436" y="292"/>
                    <a:pt x="441" y="265"/>
                    <a:pt x="443" y="248"/>
                  </a:cubicBezTo>
                  <a:cubicBezTo>
                    <a:pt x="445" y="231"/>
                    <a:pt x="448" y="224"/>
                    <a:pt x="446" y="210"/>
                  </a:cubicBezTo>
                  <a:cubicBezTo>
                    <a:pt x="444" y="196"/>
                    <a:pt x="433" y="177"/>
                    <a:pt x="429" y="161"/>
                  </a:cubicBezTo>
                  <a:cubicBezTo>
                    <a:pt x="425" y="145"/>
                    <a:pt x="423" y="128"/>
                    <a:pt x="419" y="114"/>
                  </a:cubicBezTo>
                  <a:cubicBezTo>
                    <a:pt x="415" y="100"/>
                    <a:pt x="411" y="89"/>
                    <a:pt x="408" y="77"/>
                  </a:cubicBezTo>
                  <a:cubicBezTo>
                    <a:pt x="405" y="65"/>
                    <a:pt x="404" y="51"/>
                    <a:pt x="401" y="42"/>
                  </a:cubicBezTo>
                  <a:cubicBezTo>
                    <a:pt x="398" y="33"/>
                    <a:pt x="394" y="24"/>
                    <a:pt x="390" y="20"/>
                  </a:cubicBezTo>
                  <a:cubicBezTo>
                    <a:pt x="386" y="16"/>
                    <a:pt x="381" y="18"/>
                    <a:pt x="375" y="21"/>
                  </a:cubicBezTo>
                  <a:cubicBezTo>
                    <a:pt x="369" y="24"/>
                    <a:pt x="361" y="32"/>
                    <a:pt x="353" y="36"/>
                  </a:cubicBezTo>
                  <a:cubicBezTo>
                    <a:pt x="345" y="40"/>
                    <a:pt x="337" y="42"/>
                    <a:pt x="329" y="47"/>
                  </a:cubicBezTo>
                  <a:cubicBezTo>
                    <a:pt x="321" y="52"/>
                    <a:pt x="315" y="60"/>
                    <a:pt x="307" y="64"/>
                  </a:cubicBezTo>
                  <a:cubicBezTo>
                    <a:pt x="299" y="68"/>
                    <a:pt x="295" y="70"/>
                    <a:pt x="283" y="73"/>
                  </a:cubicBezTo>
                  <a:cubicBezTo>
                    <a:pt x="271" y="76"/>
                    <a:pt x="253" y="77"/>
                    <a:pt x="235" y="82"/>
                  </a:cubicBezTo>
                  <a:cubicBezTo>
                    <a:pt x="217" y="87"/>
                    <a:pt x="196" y="96"/>
                    <a:pt x="176" y="103"/>
                  </a:cubicBezTo>
                  <a:cubicBezTo>
                    <a:pt x="156" y="110"/>
                    <a:pt x="131" y="119"/>
                    <a:pt x="116" y="124"/>
                  </a:cubicBezTo>
                  <a:cubicBezTo>
                    <a:pt x="101" y="129"/>
                    <a:pt x="96" y="133"/>
                    <a:pt x="83" y="135"/>
                  </a:cubicBezTo>
                  <a:cubicBezTo>
                    <a:pt x="70" y="137"/>
                    <a:pt x="52" y="137"/>
                    <a:pt x="38" y="138"/>
                  </a:cubicBezTo>
                  <a:cubicBezTo>
                    <a:pt x="24" y="139"/>
                    <a:pt x="0" y="143"/>
                    <a:pt x="1" y="141"/>
                  </a:cubicBezTo>
                  <a:cubicBezTo>
                    <a:pt x="2" y="139"/>
                    <a:pt x="34" y="130"/>
                    <a:pt x="47" y="127"/>
                  </a:cubicBezTo>
                  <a:cubicBezTo>
                    <a:pt x="60" y="124"/>
                    <a:pt x="65" y="127"/>
                    <a:pt x="81" y="123"/>
                  </a:cubicBezTo>
                  <a:cubicBezTo>
                    <a:pt x="97" y="119"/>
                    <a:pt x="126" y="110"/>
                    <a:pt x="143" y="103"/>
                  </a:cubicBezTo>
                  <a:cubicBezTo>
                    <a:pt x="160" y="96"/>
                    <a:pt x="161" y="88"/>
                    <a:pt x="182" y="81"/>
                  </a:cubicBezTo>
                  <a:cubicBezTo>
                    <a:pt x="203" y="74"/>
                    <a:pt x="251" y="65"/>
                    <a:pt x="268" y="60"/>
                  </a:cubicBezTo>
                  <a:cubicBezTo>
                    <a:pt x="285" y="55"/>
                    <a:pt x="276" y="54"/>
                    <a:pt x="284" y="51"/>
                  </a:cubicBezTo>
                  <a:lnTo>
                    <a:pt x="314" y="42"/>
                  </a:lnTo>
                  <a:cubicBezTo>
                    <a:pt x="324" y="36"/>
                    <a:pt x="334" y="22"/>
                    <a:pt x="345" y="15"/>
                  </a:cubicBezTo>
                  <a:cubicBezTo>
                    <a:pt x="356" y="8"/>
                    <a:pt x="373" y="4"/>
                    <a:pt x="381" y="2"/>
                  </a:cubicBezTo>
                  <a:cubicBezTo>
                    <a:pt x="389" y="0"/>
                    <a:pt x="390" y="0"/>
                    <a:pt x="393" y="2"/>
                  </a:cubicBezTo>
                  <a:cubicBezTo>
                    <a:pt x="396" y="4"/>
                    <a:pt x="398" y="5"/>
                    <a:pt x="401" y="11"/>
                  </a:cubicBezTo>
                  <a:cubicBezTo>
                    <a:pt x="404" y="17"/>
                    <a:pt x="410" y="31"/>
                    <a:pt x="414" y="41"/>
                  </a:cubicBezTo>
                  <a:cubicBezTo>
                    <a:pt x="418" y="51"/>
                    <a:pt x="423" y="63"/>
                    <a:pt x="426" y="75"/>
                  </a:cubicBezTo>
                  <a:cubicBezTo>
                    <a:pt x="429" y="87"/>
                    <a:pt x="432" y="101"/>
                    <a:pt x="434" y="113"/>
                  </a:cubicBezTo>
                  <a:cubicBezTo>
                    <a:pt x="436" y="125"/>
                    <a:pt x="438" y="138"/>
                    <a:pt x="441" y="149"/>
                  </a:cubicBezTo>
                  <a:cubicBezTo>
                    <a:pt x="444" y="160"/>
                    <a:pt x="451" y="169"/>
                    <a:pt x="455" y="177"/>
                  </a:cubicBezTo>
                  <a:cubicBezTo>
                    <a:pt x="459" y="185"/>
                    <a:pt x="463" y="192"/>
                    <a:pt x="465" y="197"/>
                  </a:cubicBezTo>
                  <a:cubicBezTo>
                    <a:pt x="467" y="202"/>
                    <a:pt x="469" y="205"/>
                    <a:pt x="470" y="209"/>
                  </a:cubicBezTo>
                  <a:cubicBezTo>
                    <a:pt x="471" y="213"/>
                    <a:pt x="472" y="218"/>
                    <a:pt x="471" y="224"/>
                  </a:cubicBezTo>
                  <a:cubicBezTo>
                    <a:pt x="470" y="230"/>
                    <a:pt x="466" y="234"/>
                    <a:pt x="464" y="243"/>
                  </a:cubicBezTo>
                  <a:cubicBezTo>
                    <a:pt x="462" y="252"/>
                    <a:pt x="460" y="265"/>
                    <a:pt x="459" y="278"/>
                  </a:cubicBezTo>
                  <a:cubicBezTo>
                    <a:pt x="458" y="291"/>
                    <a:pt x="459" y="308"/>
                    <a:pt x="458" y="323"/>
                  </a:cubicBezTo>
                  <a:cubicBezTo>
                    <a:pt x="457" y="338"/>
                    <a:pt x="456" y="354"/>
                    <a:pt x="456" y="366"/>
                  </a:cubicBezTo>
                  <a:cubicBezTo>
                    <a:pt x="456" y="378"/>
                    <a:pt x="456" y="388"/>
                    <a:pt x="456" y="398"/>
                  </a:cubicBezTo>
                  <a:cubicBezTo>
                    <a:pt x="456" y="408"/>
                    <a:pt x="458" y="420"/>
                    <a:pt x="456" y="428"/>
                  </a:cubicBezTo>
                  <a:cubicBezTo>
                    <a:pt x="454" y="436"/>
                    <a:pt x="447" y="443"/>
                    <a:pt x="443" y="447"/>
                  </a:cubicBezTo>
                  <a:cubicBezTo>
                    <a:pt x="439" y="451"/>
                    <a:pt x="436" y="451"/>
                    <a:pt x="432" y="452"/>
                  </a:cubicBezTo>
                  <a:cubicBezTo>
                    <a:pt x="428" y="453"/>
                    <a:pt x="422" y="452"/>
                    <a:pt x="416" y="453"/>
                  </a:cubicBezTo>
                  <a:cubicBezTo>
                    <a:pt x="410" y="454"/>
                    <a:pt x="402" y="457"/>
                    <a:pt x="396" y="458"/>
                  </a:cubicBezTo>
                  <a:cubicBezTo>
                    <a:pt x="390" y="459"/>
                    <a:pt x="384" y="460"/>
                    <a:pt x="377" y="458"/>
                  </a:cubicBezTo>
                  <a:cubicBezTo>
                    <a:pt x="370" y="456"/>
                    <a:pt x="357" y="452"/>
                    <a:pt x="351" y="446"/>
                  </a:cubicBezTo>
                  <a:cubicBezTo>
                    <a:pt x="345" y="440"/>
                    <a:pt x="345" y="427"/>
                    <a:pt x="339" y="420"/>
                  </a:cubicBezTo>
                  <a:cubicBezTo>
                    <a:pt x="333" y="413"/>
                    <a:pt x="328" y="407"/>
                    <a:pt x="317" y="402"/>
                  </a:cubicBezTo>
                  <a:cubicBezTo>
                    <a:pt x="306" y="397"/>
                    <a:pt x="290" y="396"/>
                    <a:pt x="275" y="392"/>
                  </a:cubicBezTo>
                  <a:cubicBezTo>
                    <a:pt x="260" y="388"/>
                    <a:pt x="253" y="383"/>
                    <a:pt x="225" y="381"/>
                  </a:cubicBezTo>
                  <a:cubicBezTo>
                    <a:pt x="197" y="379"/>
                    <a:pt x="137" y="378"/>
                    <a:pt x="108" y="378"/>
                  </a:cubicBez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9" name="Freeform 1111"/>
            <p:cNvSpPr>
              <a:spLocks/>
            </p:cNvSpPr>
            <p:nvPr/>
          </p:nvSpPr>
          <p:spPr bwMode="auto">
            <a:xfrm>
              <a:off x="3600450" y="2262266"/>
              <a:ext cx="141288" cy="157163"/>
            </a:xfrm>
            <a:custGeom>
              <a:avLst/>
              <a:gdLst>
                <a:gd name="T0" fmla="*/ 2147483647 w 269"/>
                <a:gd name="T1" fmla="*/ 2147483647 h 303"/>
                <a:gd name="T2" fmla="*/ 2147483647 w 269"/>
                <a:gd name="T3" fmla="*/ 2147483647 h 303"/>
                <a:gd name="T4" fmla="*/ 0 w 269"/>
                <a:gd name="T5" fmla="*/ 2147483647 h 303"/>
                <a:gd name="T6" fmla="*/ 2147483647 w 269"/>
                <a:gd name="T7" fmla="*/ 2147483647 h 303"/>
                <a:gd name="T8" fmla="*/ 2147483647 w 269"/>
                <a:gd name="T9" fmla="*/ 2147483647 h 303"/>
                <a:gd name="T10" fmla="*/ 2147483647 w 269"/>
                <a:gd name="T11" fmla="*/ 2147483647 h 303"/>
                <a:gd name="T12" fmla="*/ 2147483647 w 269"/>
                <a:gd name="T13" fmla="*/ 2147483647 h 303"/>
                <a:gd name="T14" fmla="*/ 2147483647 w 269"/>
                <a:gd name="T15" fmla="*/ 2147483647 h 303"/>
                <a:gd name="T16" fmla="*/ 2147483647 w 269"/>
                <a:gd name="T17" fmla="*/ 2147483647 h 303"/>
                <a:gd name="T18" fmla="*/ 2147483647 w 269"/>
                <a:gd name="T19" fmla="*/ 0 h 303"/>
                <a:gd name="T20" fmla="*/ 2147483647 w 269"/>
                <a:gd name="T21" fmla="*/ 2147483647 h 303"/>
                <a:gd name="T22" fmla="*/ 2147483647 w 269"/>
                <a:gd name="T23" fmla="*/ 0 h 303"/>
                <a:gd name="T24" fmla="*/ 2147483647 w 269"/>
                <a:gd name="T25" fmla="*/ 2147483647 h 303"/>
                <a:gd name="T26" fmla="*/ 2147483647 w 269"/>
                <a:gd name="T27" fmla="*/ 2147483647 h 303"/>
                <a:gd name="T28" fmla="*/ 2147483647 w 269"/>
                <a:gd name="T29" fmla="*/ 2147483647 h 303"/>
                <a:gd name="T30" fmla="*/ 2147483647 w 269"/>
                <a:gd name="T31" fmla="*/ 2147483647 h 303"/>
                <a:gd name="T32" fmla="*/ 2147483647 w 269"/>
                <a:gd name="T33" fmla="*/ 2147483647 h 303"/>
                <a:gd name="T34" fmla="*/ 2147483647 w 269"/>
                <a:gd name="T35" fmla="*/ 2147483647 h 303"/>
                <a:gd name="T36" fmla="*/ 2147483647 w 269"/>
                <a:gd name="T37" fmla="*/ 2147483647 h 303"/>
                <a:gd name="T38" fmla="*/ 2147483647 w 269"/>
                <a:gd name="T39" fmla="*/ 2147483647 h 303"/>
                <a:gd name="T40" fmla="*/ 2147483647 w 269"/>
                <a:gd name="T41" fmla="*/ 2147483647 h 303"/>
                <a:gd name="T42" fmla="*/ 2147483647 w 269"/>
                <a:gd name="T43" fmla="*/ 2147483647 h 303"/>
                <a:gd name="T44" fmla="*/ 2147483647 w 269"/>
                <a:gd name="T45" fmla="*/ 2147483647 h 3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9"/>
                <a:gd name="T70" fmla="*/ 0 h 303"/>
                <a:gd name="T71" fmla="*/ 269 w 269"/>
                <a:gd name="T72" fmla="*/ 303 h 3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9" h="303">
                  <a:moveTo>
                    <a:pt x="216" y="303"/>
                  </a:moveTo>
                  <a:lnTo>
                    <a:pt x="60" y="184"/>
                  </a:lnTo>
                  <a:lnTo>
                    <a:pt x="0" y="138"/>
                  </a:lnTo>
                  <a:lnTo>
                    <a:pt x="15" y="126"/>
                  </a:lnTo>
                  <a:lnTo>
                    <a:pt x="15" y="88"/>
                  </a:lnTo>
                  <a:lnTo>
                    <a:pt x="41" y="78"/>
                  </a:lnTo>
                  <a:lnTo>
                    <a:pt x="65" y="49"/>
                  </a:lnTo>
                  <a:lnTo>
                    <a:pt x="93" y="19"/>
                  </a:lnTo>
                  <a:lnTo>
                    <a:pt x="114" y="1"/>
                  </a:lnTo>
                  <a:lnTo>
                    <a:pt x="153" y="0"/>
                  </a:lnTo>
                  <a:lnTo>
                    <a:pt x="206" y="1"/>
                  </a:lnTo>
                  <a:lnTo>
                    <a:pt x="243" y="0"/>
                  </a:lnTo>
                  <a:lnTo>
                    <a:pt x="242" y="12"/>
                  </a:lnTo>
                  <a:lnTo>
                    <a:pt x="234" y="52"/>
                  </a:lnTo>
                  <a:lnTo>
                    <a:pt x="222" y="90"/>
                  </a:lnTo>
                  <a:lnTo>
                    <a:pt x="213" y="120"/>
                  </a:lnTo>
                  <a:lnTo>
                    <a:pt x="204" y="142"/>
                  </a:lnTo>
                  <a:lnTo>
                    <a:pt x="212" y="165"/>
                  </a:lnTo>
                  <a:lnTo>
                    <a:pt x="237" y="193"/>
                  </a:lnTo>
                  <a:lnTo>
                    <a:pt x="266" y="214"/>
                  </a:lnTo>
                  <a:lnTo>
                    <a:pt x="269" y="226"/>
                  </a:lnTo>
                  <a:lnTo>
                    <a:pt x="255" y="249"/>
                  </a:lnTo>
                  <a:lnTo>
                    <a:pt x="216" y="303"/>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20" name="Freeform 1112"/>
            <p:cNvSpPr>
              <a:spLocks/>
            </p:cNvSpPr>
            <p:nvPr/>
          </p:nvSpPr>
          <p:spPr bwMode="auto">
            <a:xfrm>
              <a:off x="3698875" y="2665491"/>
              <a:ext cx="115888" cy="117475"/>
            </a:xfrm>
            <a:custGeom>
              <a:avLst/>
              <a:gdLst>
                <a:gd name="T0" fmla="*/ 2147483647 w 222"/>
                <a:gd name="T1" fmla="*/ 2147483647 h 224"/>
                <a:gd name="T2" fmla="*/ 2147483647 w 222"/>
                <a:gd name="T3" fmla="*/ 2147483647 h 224"/>
                <a:gd name="T4" fmla="*/ 2147483647 w 222"/>
                <a:gd name="T5" fmla="*/ 2147483647 h 224"/>
                <a:gd name="T6" fmla="*/ 2147483647 w 222"/>
                <a:gd name="T7" fmla="*/ 2147483647 h 224"/>
                <a:gd name="T8" fmla="*/ 2147483647 w 222"/>
                <a:gd name="T9" fmla="*/ 2147483647 h 224"/>
                <a:gd name="T10" fmla="*/ 2147483647 w 222"/>
                <a:gd name="T11" fmla="*/ 2147483647 h 224"/>
                <a:gd name="T12" fmla="*/ 2147483647 w 222"/>
                <a:gd name="T13" fmla="*/ 2147483647 h 224"/>
                <a:gd name="T14" fmla="*/ 2147483647 w 222"/>
                <a:gd name="T15" fmla="*/ 0 h 224"/>
                <a:gd name="T16" fmla="*/ 0 60000 65536"/>
                <a:gd name="T17" fmla="*/ 0 60000 65536"/>
                <a:gd name="T18" fmla="*/ 0 60000 65536"/>
                <a:gd name="T19" fmla="*/ 0 60000 65536"/>
                <a:gd name="T20" fmla="*/ 0 60000 65536"/>
                <a:gd name="T21" fmla="*/ 0 60000 65536"/>
                <a:gd name="T22" fmla="*/ 0 60000 65536"/>
                <a:gd name="T23" fmla="*/ 0 60000 65536"/>
                <a:gd name="T24" fmla="*/ 0 w 222"/>
                <a:gd name="T25" fmla="*/ 0 h 224"/>
                <a:gd name="T26" fmla="*/ 222 w 222"/>
                <a:gd name="T27" fmla="*/ 224 h 2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2" h="224">
                  <a:moveTo>
                    <a:pt x="10" y="224"/>
                  </a:moveTo>
                  <a:cubicBezTo>
                    <a:pt x="5" y="212"/>
                    <a:pt x="0" y="201"/>
                    <a:pt x="2" y="190"/>
                  </a:cubicBezTo>
                  <a:cubicBezTo>
                    <a:pt x="4" y="179"/>
                    <a:pt x="15" y="168"/>
                    <a:pt x="24" y="156"/>
                  </a:cubicBezTo>
                  <a:cubicBezTo>
                    <a:pt x="33" y="144"/>
                    <a:pt x="47" y="131"/>
                    <a:pt x="58" y="118"/>
                  </a:cubicBezTo>
                  <a:cubicBezTo>
                    <a:pt x="69" y="105"/>
                    <a:pt x="79" y="92"/>
                    <a:pt x="90" y="80"/>
                  </a:cubicBezTo>
                  <a:cubicBezTo>
                    <a:pt x="101" y="68"/>
                    <a:pt x="113" y="54"/>
                    <a:pt x="126" y="44"/>
                  </a:cubicBezTo>
                  <a:cubicBezTo>
                    <a:pt x="139" y="34"/>
                    <a:pt x="154" y="25"/>
                    <a:pt x="170" y="18"/>
                  </a:cubicBezTo>
                  <a:cubicBezTo>
                    <a:pt x="186" y="11"/>
                    <a:pt x="204" y="5"/>
                    <a:pt x="222" y="0"/>
                  </a:cubicBezTo>
                </a:path>
              </a:pathLst>
            </a:custGeom>
            <a:noFill/>
            <a:ln w="9525"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1" name="Freeform 1113"/>
            <p:cNvSpPr>
              <a:spLocks/>
            </p:cNvSpPr>
            <p:nvPr/>
          </p:nvSpPr>
          <p:spPr bwMode="auto">
            <a:xfrm>
              <a:off x="3719513" y="2727403"/>
              <a:ext cx="34925" cy="73025"/>
            </a:xfrm>
            <a:custGeom>
              <a:avLst/>
              <a:gdLst>
                <a:gd name="T0" fmla="*/ 2147483647 w 69"/>
                <a:gd name="T1" fmla="*/ 2147483647 h 140"/>
                <a:gd name="T2" fmla="*/ 0 w 69"/>
                <a:gd name="T3" fmla="*/ 2147483647 h 140"/>
                <a:gd name="T4" fmla="*/ 2147483647 w 69"/>
                <a:gd name="T5" fmla="*/ 2147483647 h 140"/>
                <a:gd name="T6" fmla="*/ 2147483647 w 69"/>
                <a:gd name="T7" fmla="*/ 2147483647 h 140"/>
                <a:gd name="T8" fmla="*/ 2147483647 w 69"/>
                <a:gd name="T9" fmla="*/ 2147483647 h 140"/>
                <a:gd name="T10" fmla="*/ 2147483647 w 69"/>
                <a:gd name="T11" fmla="*/ 2147483647 h 140"/>
                <a:gd name="T12" fmla="*/ 2147483647 w 69"/>
                <a:gd name="T13" fmla="*/ 2147483647 h 140"/>
                <a:gd name="T14" fmla="*/ 2147483647 w 69"/>
                <a:gd name="T15" fmla="*/ 2147483647 h 140"/>
                <a:gd name="T16" fmla="*/ 2147483647 w 69"/>
                <a:gd name="T17" fmla="*/ 2147483647 h 140"/>
                <a:gd name="T18" fmla="*/ 2147483647 w 69"/>
                <a:gd name="T19" fmla="*/ 2147483647 h 140"/>
                <a:gd name="T20" fmla="*/ 2147483647 w 69"/>
                <a:gd name="T21" fmla="*/ 2147483647 h 140"/>
                <a:gd name="T22" fmla="*/ 2147483647 w 69"/>
                <a:gd name="T23" fmla="*/ 2147483647 h 140"/>
                <a:gd name="T24" fmla="*/ 2147483647 w 69"/>
                <a:gd name="T25" fmla="*/ 2147483647 h 140"/>
                <a:gd name="T26" fmla="*/ 2147483647 w 69"/>
                <a:gd name="T27" fmla="*/ 2147483647 h 140"/>
                <a:gd name="T28" fmla="*/ 2147483647 w 69"/>
                <a:gd name="T29" fmla="*/ 2147483647 h 140"/>
                <a:gd name="T30" fmla="*/ 2147483647 w 69"/>
                <a:gd name="T31" fmla="*/ 2147483647 h 140"/>
                <a:gd name="T32" fmla="*/ 2147483647 w 69"/>
                <a:gd name="T33" fmla="*/ 2147483647 h 1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9"/>
                <a:gd name="T52" fmla="*/ 0 h 140"/>
                <a:gd name="T53" fmla="*/ 69 w 69"/>
                <a:gd name="T54" fmla="*/ 140 h 1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9" h="140">
                  <a:moveTo>
                    <a:pt x="12" y="97"/>
                  </a:moveTo>
                  <a:cubicBezTo>
                    <a:pt x="8" y="97"/>
                    <a:pt x="0" y="102"/>
                    <a:pt x="0" y="100"/>
                  </a:cubicBezTo>
                  <a:cubicBezTo>
                    <a:pt x="0" y="98"/>
                    <a:pt x="10" y="89"/>
                    <a:pt x="10" y="83"/>
                  </a:cubicBezTo>
                  <a:cubicBezTo>
                    <a:pt x="10" y="77"/>
                    <a:pt x="2" y="70"/>
                    <a:pt x="1" y="65"/>
                  </a:cubicBezTo>
                  <a:cubicBezTo>
                    <a:pt x="0" y="60"/>
                    <a:pt x="0" y="57"/>
                    <a:pt x="3" y="53"/>
                  </a:cubicBezTo>
                  <a:cubicBezTo>
                    <a:pt x="6" y="49"/>
                    <a:pt x="15" y="43"/>
                    <a:pt x="22" y="38"/>
                  </a:cubicBezTo>
                  <a:cubicBezTo>
                    <a:pt x="29" y="33"/>
                    <a:pt x="41" y="29"/>
                    <a:pt x="48" y="23"/>
                  </a:cubicBezTo>
                  <a:cubicBezTo>
                    <a:pt x="55" y="17"/>
                    <a:pt x="65" y="0"/>
                    <a:pt x="67" y="1"/>
                  </a:cubicBezTo>
                  <a:cubicBezTo>
                    <a:pt x="69" y="2"/>
                    <a:pt x="63" y="24"/>
                    <a:pt x="60" y="32"/>
                  </a:cubicBezTo>
                  <a:cubicBezTo>
                    <a:pt x="57" y="40"/>
                    <a:pt x="51" y="44"/>
                    <a:pt x="46" y="50"/>
                  </a:cubicBezTo>
                  <a:cubicBezTo>
                    <a:pt x="41" y="56"/>
                    <a:pt x="31" y="59"/>
                    <a:pt x="30" y="67"/>
                  </a:cubicBezTo>
                  <a:cubicBezTo>
                    <a:pt x="29" y="75"/>
                    <a:pt x="35" y="88"/>
                    <a:pt x="37" y="97"/>
                  </a:cubicBezTo>
                  <a:cubicBezTo>
                    <a:pt x="39" y="106"/>
                    <a:pt x="42" y="114"/>
                    <a:pt x="43" y="121"/>
                  </a:cubicBezTo>
                  <a:cubicBezTo>
                    <a:pt x="44" y="128"/>
                    <a:pt x="45" y="140"/>
                    <a:pt x="43" y="139"/>
                  </a:cubicBezTo>
                  <a:cubicBezTo>
                    <a:pt x="41" y="138"/>
                    <a:pt x="34" y="122"/>
                    <a:pt x="31" y="116"/>
                  </a:cubicBezTo>
                  <a:cubicBezTo>
                    <a:pt x="28" y="110"/>
                    <a:pt x="29" y="104"/>
                    <a:pt x="25" y="101"/>
                  </a:cubicBezTo>
                  <a:cubicBezTo>
                    <a:pt x="21" y="98"/>
                    <a:pt x="16" y="97"/>
                    <a:pt x="12" y="97"/>
                  </a:cubicBezTo>
                  <a:close/>
                </a:path>
              </a:pathLst>
            </a:custGeom>
            <a:solidFill>
              <a:srgbClr val="66FFFF">
                <a:alpha val="47842"/>
              </a:srgbClr>
            </a:solidFill>
            <a:ln w="9525" cap="flat" cmpd="sng">
              <a:solidFill>
                <a:srgbClr val="66FFFF"/>
              </a:solidFill>
              <a:prstDash val="solid"/>
              <a:round/>
              <a:headEnd type="none" w="med" len="med"/>
              <a:tailEnd type="none" w="med" len="med"/>
            </a:ln>
          </p:spPr>
          <p:txBody>
            <a:bodyPr wrap="none" lIns="0" tIns="0" rIns="0" bIns="0">
              <a:spAutoFit/>
            </a:bodyPr>
            <a:lstStyle/>
            <a:p>
              <a:endParaRPr lang="de-DE"/>
            </a:p>
          </p:txBody>
        </p:sp>
        <p:sp>
          <p:nvSpPr>
            <p:cNvPr id="22" name="Freeform 1114"/>
            <p:cNvSpPr>
              <a:spLocks/>
            </p:cNvSpPr>
            <p:nvPr/>
          </p:nvSpPr>
          <p:spPr bwMode="auto">
            <a:xfrm>
              <a:off x="3749675" y="2703591"/>
              <a:ext cx="3175" cy="28575"/>
            </a:xfrm>
            <a:custGeom>
              <a:avLst/>
              <a:gdLst>
                <a:gd name="T0" fmla="*/ 0 w 6"/>
                <a:gd name="T1" fmla="*/ 0 h 55"/>
                <a:gd name="T2" fmla="*/ 2147483647 w 6"/>
                <a:gd name="T3" fmla="*/ 2147483647 h 55"/>
                <a:gd name="T4" fmla="*/ 0 w 6"/>
                <a:gd name="T5" fmla="*/ 2147483647 h 55"/>
                <a:gd name="T6" fmla="*/ 0 60000 65536"/>
                <a:gd name="T7" fmla="*/ 0 60000 65536"/>
                <a:gd name="T8" fmla="*/ 0 60000 65536"/>
                <a:gd name="T9" fmla="*/ 0 w 6"/>
                <a:gd name="T10" fmla="*/ 0 h 55"/>
                <a:gd name="T11" fmla="*/ 6 w 6"/>
                <a:gd name="T12" fmla="*/ 55 h 55"/>
              </a:gdLst>
              <a:ahLst/>
              <a:cxnLst>
                <a:cxn ang="T6">
                  <a:pos x="T0" y="T1"/>
                </a:cxn>
                <a:cxn ang="T7">
                  <a:pos x="T2" y="T3"/>
                </a:cxn>
                <a:cxn ang="T8">
                  <a:pos x="T4" y="T5"/>
                </a:cxn>
              </a:cxnLst>
              <a:rect l="T9" t="T10" r="T11" b="T12"/>
              <a:pathLst>
                <a:path w="6" h="55">
                  <a:moveTo>
                    <a:pt x="0" y="0"/>
                  </a:moveTo>
                  <a:cubicBezTo>
                    <a:pt x="3" y="10"/>
                    <a:pt x="6" y="21"/>
                    <a:pt x="6" y="30"/>
                  </a:cubicBezTo>
                  <a:cubicBezTo>
                    <a:pt x="6" y="39"/>
                    <a:pt x="3" y="47"/>
                    <a:pt x="0" y="55"/>
                  </a:cubicBezTo>
                </a:path>
              </a:pathLst>
            </a:custGeom>
            <a:noFill/>
            <a:ln w="9525"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3" name="Freeform 1115"/>
            <p:cNvSpPr>
              <a:spLocks/>
            </p:cNvSpPr>
            <p:nvPr/>
          </p:nvSpPr>
          <p:spPr bwMode="auto">
            <a:xfrm>
              <a:off x="2870200" y="1671716"/>
              <a:ext cx="139700" cy="739775"/>
            </a:xfrm>
            <a:custGeom>
              <a:avLst/>
              <a:gdLst>
                <a:gd name="T0" fmla="*/ 2147483647 w 265"/>
                <a:gd name="T1" fmla="*/ 0 h 1408"/>
                <a:gd name="T2" fmla="*/ 2147483647 w 265"/>
                <a:gd name="T3" fmla="*/ 2147483647 h 1408"/>
                <a:gd name="T4" fmla="*/ 2147483647 w 265"/>
                <a:gd name="T5" fmla="*/ 2147483647 h 1408"/>
                <a:gd name="T6" fmla="*/ 2147483647 w 265"/>
                <a:gd name="T7" fmla="*/ 2147483647 h 1408"/>
                <a:gd name="T8" fmla="*/ 2147483647 w 265"/>
                <a:gd name="T9" fmla="*/ 2147483647 h 1408"/>
                <a:gd name="T10" fmla="*/ 2147483647 w 265"/>
                <a:gd name="T11" fmla="*/ 2147483647 h 1408"/>
                <a:gd name="T12" fmla="*/ 2147483647 w 265"/>
                <a:gd name="T13" fmla="*/ 2147483647 h 1408"/>
                <a:gd name="T14" fmla="*/ 2147483647 w 265"/>
                <a:gd name="T15" fmla="*/ 2147483647 h 1408"/>
                <a:gd name="T16" fmla="*/ 2147483647 w 265"/>
                <a:gd name="T17" fmla="*/ 2147483647 h 1408"/>
                <a:gd name="T18" fmla="*/ 2147483647 w 265"/>
                <a:gd name="T19" fmla="*/ 2147483647 h 1408"/>
                <a:gd name="T20" fmla="*/ 0 w 265"/>
                <a:gd name="T21" fmla="*/ 2147483647 h 14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5"/>
                <a:gd name="T34" fmla="*/ 0 h 1408"/>
                <a:gd name="T35" fmla="*/ 265 w 265"/>
                <a:gd name="T36" fmla="*/ 1408 h 14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5" h="1408">
                  <a:moveTo>
                    <a:pt x="264" y="0"/>
                  </a:moveTo>
                  <a:cubicBezTo>
                    <a:pt x="264" y="13"/>
                    <a:pt x="265" y="27"/>
                    <a:pt x="260" y="46"/>
                  </a:cubicBezTo>
                  <a:lnTo>
                    <a:pt x="234" y="114"/>
                  </a:lnTo>
                  <a:cubicBezTo>
                    <a:pt x="229" y="137"/>
                    <a:pt x="234" y="129"/>
                    <a:pt x="230" y="184"/>
                  </a:cubicBezTo>
                  <a:lnTo>
                    <a:pt x="212" y="446"/>
                  </a:lnTo>
                  <a:lnTo>
                    <a:pt x="200" y="602"/>
                  </a:lnTo>
                  <a:lnTo>
                    <a:pt x="82" y="890"/>
                  </a:lnTo>
                  <a:lnTo>
                    <a:pt x="56" y="980"/>
                  </a:lnTo>
                  <a:lnTo>
                    <a:pt x="24" y="1148"/>
                  </a:lnTo>
                  <a:lnTo>
                    <a:pt x="10" y="1274"/>
                  </a:lnTo>
                  <a:cubicBezTo>
                    <a:pt x="6" y="1317"/>
                    <a:pt x="2" y="1386"/>
                    <a:pt x="0" y="1408"/>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4" name="Freeform 1116"/>
            <p:cNvSpPr>
              <a:spLocks/>
            </p:cNvSpPr>
            <p:nvPr/>
          </p:nvSpPr>
          <p:spPr bwMode="auto">
            <a:xfrm>
              <a:off x="1728788" y="2411491"/>
              <a:ext cx="1130300" cy="1617663"/>
            </a:xfrm>
            <a:custGeom>
              <a:avLst/>
              <a:gdLst>
                <a:gd name="T0" fmla="*/ 0 w 712"/>
                <a:gd name="T1" fmla="*/ 2147483647 h 1019"/>
                <a:gd name="T2" fmla="*/ 2147483647 w 712"/>
                <a:gd name="T3" fmla="*/ 2147483647 h 1019"/>
                <a:gd name="T4" fmla="*/ 2147483647 w 712"/>
                <a:gd name="T5" fmla="*/ 2147483647 h 1019"/>
                <a:gd name="T6" fmla="*/ 2147483647 w 712"/>
                <a:gd name="T7" fmla="*/ 2147483647 h 1019"/>
                <a:gd name="T8" fmla="*/ 2147483647 w 712"/>
                <a:gd name="T9" fmla="*/ 2147483647 h 1019"/>
                <a:gd name="T10" fmla="*/ 2147483647 w 712"/>
                <a:gd name="T11" fmla="*/ 2147483647 h 1019"/>
                <a:gd name="T12" fmla="*/ 2147483647 w 712"/>
                <a:gd name="T13" fmla="*/ 2147483647 h 1019"/>
                <a:gd name="T14" fmla="*/ 2147483647 w 712"/>
                <a:gd name="T15" fmla="*/ 2147483647 h 1019"/>
                <a:gd name="T16" fmla="*/ 2147483647 w 712"/>
                <a:gd name="T17" fmla="*/ 2147483647 h 1019"/>
                <a:gd name="T18" fmla="*/ 2147483647 w 712"/>
                <a:gd name="T19" fmla="*/ 2147483647 h 1019"/>
                <a:gd name="T20" fmla="*/ 2147483647 w 712"/>
                <a:gd name="T21" fmla="*/ 2147483647 h 1019"/>
                <a:gd name="T22" fmla="*/ 2147483647 w 712"/>
                <a:gd name="T23" fmla="*/ 2147483647 h 1019"/>
                <a:gd name="T24" fmla="*/ 2147483647 w 712"/>
                <a:gd name="T25" fmla="*/ 2147483647 h 1019"/>
                <a:gd name="T26" fmla="*/ 2147483647 w 712"/>
                <a:gd name="T27" fmla="*/ 2147483647 h 1019"/>
                <a:gd name="T28" fmla="*/ 2147483647 w 712"/>
                <a:gd name="T29" fmla="*/ 2147483647 h 1019"/>
                <a:gd name="T30" fmla="*/ 2147483647 w 712"/>
                <a:gd name="T31" fmla="*/ 2147483647 h 1019"/>
                <a:gd name="T32" fmla="*/ 2147483647 w 712"/>
                <a:gd name="T33" fmla="*/ 0 h 10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12"/>
                <a:gd name="T52" fmla="*/ 0 h 1019"/>
                <a:gd name="T53" fmla="*/ 712 w 712"/>
                <a:gd name="T54" fmla="*/ 1019 h 10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12" h="1019">
                  <a:moveTo>
                    <a:pt x="0" y="1019"/>
                  </a:moveTo>
                  <a:cubicBezTo>
                    <a:pt x="14" y="983"/>
                    <a:pt x="44" y="892"/>
                    <a:pt x="87" y="801"/>
                  </a:cubicBezTo>
                  <a:cubicBezTo>
                    <a:pt x="130" y="710"/>
                    <a:pt x="229" y="532"/>
                    <a:pt x="260" y="473"/>
                  </a:cubicBezTo>
                  <a:cubicBezTo>
                    <a:pt x="291" y="414"/>
                    <a:pt x="258" y="474"/>
                    <a:pt x="276" y="446"/>
                  </a:cubicBezTo>
                  <a:cubicBezTo>
                    <a:pt x="294" y="418"/>
                    <a:pt x="337" y="338"/>
                    <a:pt x="368" y="303"/>
                  </a:cubicBezTo>
                  <a:cubicBezTo>
                    <a:pt x="399" y="268"/>
                    <a:pt x="440" y="250"/>
                    <a:pt x="462" y="234"/>
                  </a:cubicBezTo>
                  <a:cubicBezTo>
                    <a:pt x="484" y="218"/>
                    <a:pt x="487" y="218"/>
                    <a:pt x="501" y="209"/>
                  </a:cubicBezTo>
                  <a:cubicBezTo>
                    <a:pt x="515" y="200"/>
                    <a:pt x="533" y="190"/>
                    <a:pt x="545" y="182"/>
                  </a:cubicBezTo>
                  <a:cubicBezTo>
                    <a:pt x="558" y="175"/>
                    <a:pt x="566" y="169"/>
                    <a:pt x="574" y="163"/>
                  </a:cubicBezTo>
                  <a:cubicBezTo>
                    <a:pt x="583" y="156"/>
                    <a:pt x="589" y="151"/>
                    <a:pt x="597" y="145"/>
                  </a:cubicBezTo>
                  <a:cubicBezTo>
                    <a:pt x="606" y="139"/>
                    <a:pt x="617" y="131"/>
                    <a:pt x="626" y="125"/>
                  </a:cubicBezTo>
                  <a:cubicBezTo>
                    <a:pt x="635" y="118"/>
                    <a:pt x="644" y="111"/>
                    <a:pt x="651" y="105"/>
                  </a:cubicBezTo>
                  <a:cubicBezTo>
                    <a:pt x="658" y="100"/>
                    <a:pt x="664" y="95"/>
                    <a:pt x="669" y="91"/>
                  </a:cubicBezTo>
                  <a:cubicBezTo>
                    <a:pt x="673" y="86"/>
                    <a:pt x="675" y="84"/>
                    <a:pt x="680" y="76"/>
                  </a:cubicBezTo>
                  <a:cubicBezTo>
                    <a:pt x="684" y="69"/>
                    <a:pt x="693" y="53"/>
                    <a:pt x="697" y="45"/>
                  </a:cubicBezTo>
                  <a:cubicBezTo>
                    <a:pt x="701" y="36"/>
                    <a:pt x="702" y="33"/>
                    <a:pt x="704" y="26"/>
                  </a:cubicBezTo>
                  <a:cubicBezTo>
                    <a:pt x="706" y="18"/>
                    <a:pt x="711" y="4"/>
                    <a:pt x="712"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grpSp>
          <p:nvGrpSpPr>
            <p:cNvPr id="25" name="Group 1117"/>
            <p:cNvGrpSpPr>
              <a:grpSpLocks/>
            </p:cNvGrpSpPr>
            <p:nvPr/>
          </p:nvGrpSpPr>
          <p:grpSpPr bwMode="auto">
            <a:xfrm>
              <a:off x="1250950" y="3738641"/>
              <a:ext cx="4741863" cy="2100263"/>
              <a:chOff x="941" y="2511"/>
              <a:chExt cx="2987" cy="1323"/>
            </a:xfrm>
          </p:grpSpPr>
          <p:sp>
            <p:nvSpPr>
              <p:cNvPr id="932" name="Freeform 1118"/>
              <p:cNvSpPr>
                <a:spLocks/>
              </p:cNvSpPr>
              <p:nvPr/>
            </p:nvSpPr>
            <p:spPr bwMode="auto">
              <a:xfrm>
                <a:off x="941" y="2511"/>
                <a:ext cx="2987" cy="1323"/>
              </a:xfrm>
              <a:custGeom>
                <a:avLst/>
                <a:gdLst>
                  <a:gd name="T0" fmla="*/ 0 w 2987"/>
                  <a:gd name="T1" fmla="*/ 1225 h 1323"/>
                  <a:gd name="T2" fmla="*/ 213 w 2987"/>
                  <a:gd name="T3" fmla="*/ 1106 h 1323"/>
                  <a:gd name="T4" fmla="*/ 278 w 2987"/>
                  <a:gd name="T5" fmla="*/ 1090 h 1323"/>
                  <a:gd name="T6" fmla="*/ 344 w 2987"/>
                  <a:gd name="T7" fmla="*/ 1112 h 1323"/>
                  <a:gd name="T8" fmla="*/ 429 w 2987"/>
                  <a:gd name="T9" fmla="*/ 1139 h 1323"/>
                  <a:gd name="T10" fmla="*/ 581 w 2987"/>
                  <a:gd name="T11" fmla="*/ 1184 h 1323"/>
                  <a:gd name="T12" fmla="*/ 908 w 2987"/>
                  <a:gd name="T13" fmla="*/ 1298 h 1323"/>
                  <a:gd name="T14" fmla="*/ 1045 w 2987"/>
                  <a:gd name="T15" fmla="*/ 1308 h 1323"/>
                  <a:gd name="T16" fmla="*/ 1153 w 2987"/>
                  <a:gd name="T17" fmla="*/ 1206 h 1323"/>
                  <a:gd name="T18" fmla="*/ 1257 w 2987"/>
                  <a:gd name="T19" fmla="*/ 1006 h 1323"/>
                  <a:gd name="T20" fmla="*/ 1327 w 2987"/>
                  <a:gd name="T21" fmla="*/ 930 h 1323"/>
                  <a:gd name="T22" fmla="*/ 1479 w 2987"/>
                  <a:gd name="T23" fmla="*/ 842 h 1323"/>
                  <a:gd name="T24" fmla="*/ 1847 w 2987"/>
                  <a:gd name="T25" fmla="*/ 600 h 1323"/>
                  <a:gd name="T26" fmla="*/ 2043 w 2987"/>
                  <a:gd name="T27" fmla="*/ 474 h 1323"/>
                  <a:gd name="T28" fmla="*/ 2349 w 2987"/>
                  <a:gd name="T29" fmla="*/ 282 h 1323"/>
                  <a:gd name="T30" fmla="*/ 2575 w 2987"/>
                  <a:gd name="T31" fmla="*/ 140 h 1323"/>
                  <a:gd name="T32" fmla="*/ 2747 w 2987"/>
                  <a:gd name="T33" fmla="*/ 58 h 1323"/>
                  <a:gd name="T34" fmla="*/ 2987 w 2987"/>
                  <a:gd name="T35" fmla="*/ 0 h 13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87"/>
                  <a:gd name="T55" fmla="*/ 0 h 1323"/>
                  <a:gd name="T56" fmla="*/ 2987 w 2987"/>
                  <a:gd name="T57" fmla="*/ 1323 h 13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87" h="1323">
                    <a:moveTo>
                      <a:pt x="0" y="1225"/>
                    </a:moveTo>
                    <a:cubicBezTo>
                      <a:pt x="35" y="1205"/>
                      <a:pt x="167" y="1128"/>
                      <a:pt x="213" y="1106"/>
                    </a:cubicBezTo>
                    <a:cubicBezTo>
                      <a:pt x="259" y="1084"/>
                      <a:pt x="256" y="1089"/>
                      <a:pt x="278" y="1090"/>
                    </a:cubicBezTo>
                    <a:cubicBezTo>
                      <a:pt x="300" y="1091"/>
                      <a:pt x="319" y="1104"/>
                      <a:pt x="344" y="1112"/>
                    </a:cubicBezTo>
                    <a:cubicBezTo>
                      <a:pt x="369" y="1120"/>
                      <a:pt x="390" y="1127"/>
                      <a:pt x="429" y="1139"/>
                    </a:cubicBezTo>
                    <a:cubicBezTo>
                      <a:pt x="468" y="1151"/>
                      <a:pt x="501" y="1158"/>
                      <a:pt x="581" y="1184"/>
                    </a:cubicBezTo>
                    <a:cubicBezTo>
                      <a:pt x="661" y="1210"/>
                      <a:pt x="831" y="1277"/>
                      <a:pt x="908" y="1298"/>
                    </a:cubicBezTo>
                    <a:cubicBezTo>
                      <a:pt x="985" y="1319"/>
                      <a:pt x="1004" y="1323"/>
                      <a:pt x="1045" y="1308"/>
                    </a:cubicBezTo>
                    <a:cubicBezTo>
                      <a:pt x="1086" y="1293"/>
                      <a:pt x="1118" y="1256"/>
                      <a:pt x="1153" y="1206"/>
                    </a:cubicBezTo>
                    <a:cubicBezTo>
                      <a:pt x="1188" y="1156"/>
                      <a:pt x="1228" y="1052"/>
                      <a:pt x="1257" y="1006"/>
                    </a:cubicBezTo>
                    <a:cubicBezTo>
                      <a:pt x="1286" y="960"/>
                      <a:pt x="1290" y="957"/>
                      <a:pt x="1327" y="930"/>
                    </a:cubicBezTo>
                    <a:cubicBezTo>
                      <a:pt x="1364" y="903"/>
                      <a:pt x="1392" y="897"/>
                      <a:pt x="1479" y="842"/>
                    </a:cubicBezTo>
                    <a:cubicBezTo>
                      <a:pt x="1566" y="787"/>
                      <a:pt x="1753" y="661"/>
                      <a:pt x="1847" y="600"/>
                    </a:cubicBezTo>
                    <a:cubicBezTo>
                      <a:pt x="1941" y="539"/>
                      <a:pt x="1959" y="527"/>
                      <a:pt x="2043" y="474"/>
                    </a:cubicBezTo>
                    <a:cubicBezTo>
                      <a:pt x="2127" y="421"/>
                      <a:pt x="2260" y="338"/>
                      <a:pt x="2349" y="282"/>
                    </a:cubicBezTo>
                    <a:cubicBezTo>
                      <a:pt x="2438" y="226"/>
                      <a:pt x="2509" y="177"/>
                      <a:pt x="2575" y="140"/>
                    </a:cubicBezTo>
                    <a:cubicBezTo>
                      <a:pt x="2641" y="103"/>
                      <a:pt x="2678" y="81"/>
                      <a:pt x="2747" y="58"/>
                    </a:cubicBezTo>
                    <a:cubicBezTo>
                      <a:pt x="2816" y="35"/>
                      <a:pt x="2901" y="17"/>
                      <a:pt x="2987" y="0"/>
                    </a:cubicBezTo>
                  </a:path>
                </a:pathLst>
              </a:custGeom>
              <a:noFill/>
              <a:ln w="9525" cap="flat"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933" name="Freeform 1119"/>
              <p:cNvSpPr>
                <a:spLocks/>
              </p:cNvSpPr>
              <p:nvPr/>
            </p:nvSpPr>
            <p:spPr bwMode="auto">
              <a:xfrm>
                <a:off x="941" y="2511"/>
                <a:ext cx="2987" cy="1323"/>
              </a:xfrm>
              <a:custGeom>
                <a:avLst/>
                <a:gdLst>
                  <a:gd name="T0" fmla="*/ 0 w 2987"/>
                  <a:gd name="T1" fmla="*/ 1225 h 1323"/>
                  <a:gd name="T2" fmla="*/ 213 w 2987"/>
                  <a:gd name="T3" fmla="*/ 1106 h 1323"/>
                  <a:gd name="T4" fmla="*/ 278 w 2987"/>
                  <a:gd name="T5" fmla="*/ 1090 h 1323"/>
                  <a:gd name="T6" fmla="*/ 344 w 2987"/>
                  <a:gd name="T7" fmla="*/ 1112 h 1323"/>
                  <a:gd name="T8" fmla="*/ 429 w 2987"/>
                  <a:gd name="T9" fmla="*/ 1139 h 1323"/>
                  <a:gd name="T10" fmla="*/ 581 w 2987"/>
                  <a:gd name="T11" fmla="*/ 1184 h 1323"/>
                  <a:gd name="T12" fmla="*/ 908 w 2987"/>
                  <a:gd name="T13" fmla="*/ 1298 h 1323"/>
                  <a:gd name="T14" fmla="*/ 1045 w 2987"/>
                  <a:gd name="T15" fmla="*/ 1308 h 1323"/>
                  <a:gd name="T16" fmla="*/ 1153 w 2987"/>
                  <a:gd name="T17" fmla="*/ 1206 h 1323"/>
                  <a:gd name="T18" fmla="*/ 1257 w 2987"/>
                  <a:gd name="T19" fmla="*/ 1006 h 1323"/>
                  <a:gd name="T20" fmla="*/ 1327 w 2987"/>
                  <a:gd name="T21" fmla="*/ 930 h 1323"/>
                  <a:gd name="T22" fmla="*/ 1479 w 2987"/>
                  <a:gd name="T23" fmla="*/ 842 h 1323"/>
                  <a:gd name="T24" fmla="*/ 1847 w 2987"/>
                  <a:gd name="T25" fmla="*/ 600 h 1323"/>
                  <a:gd name="T26" fmla="*/ 2043 w 2987"/>
                  <a:gd name="T27" fmla="*/ 474 h 1323"/>
                  <a:gd name="T28" fmla="*/ 2349 w 2987"/>
                  <a:gd name="T29" fmla="*/ 282 h 1323"/>
                  <a:gd name="T30" fmla="*/ 2575 w 2987"/>
                  <a:gd name="T31" fmla="*/ 140 h 1323"/>
                  <a:gd name="T32" fmla="*/ 2747 w 2987"/>
                  <a:gd name="T33" fmla="*/ 58 h 1323"/>
                  <a:gd name="T34" fmla="*/ 2987 w 2987"/>
                  <a:gd name="T35" fmla="*/ 0 h 13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87"/>
                  <a:gd name="T55" fmla="*/ 0 h 1323"/>
                  <a:gd name="T56" fmla="*/ 2987 w 2987"/>
                  <a:gd name="T57" fmla="*/ 1323 h 13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87" h="1323">
                    <a:moveTo>
                      <a:pt x="0" y="1225"/>
                    </a:moveTo>
                    <a:cubicBezTo>
                      <a:pt x="35" y="1205"/>
                      <a:pt x="167" y="1128"/>
                      <a:pt x="213" y="1106"/>
                    </a:cubicBezTo>
                    <a:cubicBezTo>
                      <a:pt x="259" y="1084"/>
                      <a:pt x="256" y="1089"/>
                      <a:pt x="278" y="1090"/>
                    </a:cubicBezTo>
                    <a:cubicBezTo>
                      <a:pt x="300" y="1091"/>
                      <a:pt x="319" y="1104"/>
                      <a:pt x="344" y="1112"/>
                    </a:cubicBezTo>
                    <a:cubicBezTo>
                      <a:pt x="369" y="1120"/>
                      <a:pt x="390" y="1127"/>
                      <a:pt x="429" y="1139"/>
                    </a:cubicBezTo>
                    <a:cubicBezTo>
                      <a:pt x="468" y="1151"/>
                      <a:pt x="501" y="1158"/>
                      <a:pt x="581" y="1184"/>
                    </a:cubicBezTo>
                    <a:cubicBezTo>
                      <a:pt x="661" y="1210"/>
                      <a:pt x="831" y="1277"/>
                      <a:pt x="908" y="1298"/>
                    </a:cubicBezTo>
                    <a:cubicBezTo>
                      <a:pt x="985" y="1319"/>
                      <a:pt x="1004" y="1323"/>
                      <a:pt x="1045" y="1308"/>
                    </a:cubicBezTo>
                    <a:cubicBezTo>
                      <a:pt x="1086" y="1293"/>
                      <a:pt x="1118" y="1256"/>
                      <a:pt x="1153" y="1206"/>
                    </a:cubicBezTo>
                    <a:cubicBezTo>
                      <a:pt x="1188" y="1156"/>
                      <a:pt x="1228" y="1052"/>
                      <a:pt x="1257" y="1006"/>
                    </a:cubicBezTo>
                    <a:cubicBezTo>
                      <a:pt x="1286" y="960"/>
                      <a:pt x="1290" y="957"/>
                      <a:pt x="1327" y="930"/>
                    </a:cubicBezTo>
                    <a:cubicBezTo>
                      <a:pt x="1364" y="903"/>
                      <a:pt x="1392" y="897"/>
                      <a:pt x="1479" y="842"/>
                    </a:cubicBezTo>
                    <a:cubicBezTo>
                      <a:pt x="1566" y="787"/>
                      <a:pt x="1753" y="661"/>
                      <a:pt x="1847" y="600"/>
                    </a:cubicBezTo>
                    <a:cubicBezTo>
                      <a:pt x="1941" y="539"/>
                      <a:pt x="1959" y="527"/>
                      <a:pt x="2043" y="474"/>
                    </a:cubicBezTo>
                    <a:cubicBezTo>
                      <a:pt x="2127" y="421"/>
                      <a:pt x="2260" y="338"/>
                      <a:pt x="2349" y="282"/>
                    </a:cubicBezTo>
                    <a:cubicBezTo>
                      <a:pt x="2438" y="226"/>
                      <a:pt x="2509" y="177"/>
                      <a:pt x="2575" y="140"/>
                    </a:cubicBezTo>
                    <a:cubicBezTo>
                      <a:pt x="2641" y="103"/>
                      <a:pt x="2678" y="81"/>
                      <a:pt x="2747" y="58"/>
                    </a:cubicBezTo>
                    <a:cubicBezTo>
                      <a:pt x="2816" y="35"/>
                      <a:pt x="2901" y="17"/>
                      <a:pt x="2987" y="0"/>
                    </a:cubicBezTo>
                  </a:path>
                </a:pathLst>
              </a:custGeom>
              <a:noFill/>
              <a:ln w="9525" cap="flat" cmpd="sng">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grpSp>
        <p:sp>
          <p:nvSpPr>
            <p:cNvPr id="26" name="Freeform 1120"/>
            <p:cNvSpPr>
              <a:spLocks/>
            </p:cNvSpPr>
            <p:nvPr/>
          </p:nvSpPr>
          <p:spPr bwMode="auto">
            <a:xfrm>
              <a:off x="2752725" y="1158954"/>
              <a:ext cx="781059" cy="401258"/>
            </a:xfrm>
            <a:custGeom>
              <a:avLst/>
              <a:gdLst>
                <a:gd name="T0" fmla="*/ 2147483647 w 19070"/>
                <a:gd name="T1" fmla="*/ 2147483647 h 10665"/>
                <a:gd name="T2" fmla="*/ 2147483647 w 19070"/>
                <a:gd name="T3" fmla="*/ 2147483647 h 10665"/>
                <a:gd name="T4" fmla="*/ 2147483647 w 19070"/>
                <a:gd name="T5" fmla="*/ 2147483647 h 10665"/>
                <a:gd name="T6" fmla="*/ 2147483647 w 19070"/>
                <a:gd name="T7" fmla="*/ 2147483647 h 10665"/>
                <a:gd name="T8" fmla="*/ 2147483647 w 19070"/>
                <a:gd name="T9" fmla="*/ 2147483647 h 10665"/>
                <a:gd name="T10" fmla="*/ 2147483647 w 19070"/>
                <a:gd name="T11" fmla="*/ 2147483647 h 10665"/>
                <a:gd name="T12" fmla="*/ 2147483647 w 19070"/>
                <a:gd name="T13" fmla="*/ 2147483647 h 10665"/>
                <a:gd name="T14" fmla="*/ 2147483647 w 19070"/>
                <a:gd name="T15" fmla="*/ 2147483647 h 10665"/>
                <a:gd name="T16" fmla="*/ 2147483647 w 19070"/>
                <a:gd name="T17" fmla="*/ 2147483647 h 10665"/>
                <a:gd name="T18" fmla="*/ 2147483647 w 19070"/>
                <a:gd name="T19" fmla="*/ 2147483647 h 10665"/>
                <a:gd name="T20" fmla="*/ 2147483647 w 19070"/>
                <a:gd name="T21" fmla="*/ 2147483647 h 10665"/>
                <a:gd name="T22" fmla="*/ 2147483647 w 19070"/>
                <a:gd name="T23" fmla="*/ 2147483647 h 10665"/>
                <a:gd name="T24" fmla="*/ 2147483647 w 19070"/>
                <a:gd name="T25" fmla="*/ 2147483647 h 10665"/>
                <a:gd name="T26" fmla="*/ 0 w 19070"/>
                <a:gd name="T27" fmla="*/ 0 h 106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070" h="10665">
                  <a:moveTo>
                    <a:pt x="19070" y="9739"/>
                  </a:moveTo>
                  <a:lnTo>
                    <a:pt x="17500" y="9549"/>
                  </a:lnTo>
                  <a:lnTo>
                    <a:pt x="16977" y="9486"/>
                  </a:lnTo>
                  <a:lnTo>
                    <a:pt x="16570" y="9422"/>
                  </a:lnTo>
                  <a:lnTo>
                    <a:pt x="15756" y="9739"/>
                  </a:lnTo>
                  <a:lnTo>
                    <a:pt x="15000" y="10056"/>
                  </a:lnTo>
                  <a:lnTo>
                    <a:pt x="14390" y="10448"/>
                  </a:lnTo>
                  <a:cubicBezTo>
                    <a:pt x="13359" y="10665"/>
                    <a:pt x="13236" y="10353"/>
                    <a:pt x="12366" y="10163"/>
                  </a:cubicBezTo>
                  <a:cubicBezTo>
                    <a:pt x="11496" y="9974"/>
                    <a:pt x="9960" y="9593"/>
                    <a:pt x="9168" y="9311"/>
                  </a:cubicBezTo>
                  <a:cubicBezTo>
                    <a:pt x="8376" y="9029"/>
                    <a:pt x="8097" y="8801"/>
                    <a:pt x="7616" y="8473"/>
                  </a:cubicBezTo>
                  <a:cubicBezTo>
                    <a:pt x="7135" y="8145"/>
                    <a:pt x="6928" y="7868"/>
                    <a:pt x="6279" y="7342"/>
                  </a:cubicBezTo>
                  <a:cubicBezTo>
                    <a:pt x="5630" y="6816"/>
                    <a:pt x="4574" y="6118"/>
                    <a:pt x="3721" y="5316"/>
                  </a:cubicBezTo>
                  <a:cubicBezTo>
                    <a:pt x="2868" y="4515"/>
                    <a:pt x="1899" y="3291"/>
                    <a:pt x="1279" y="2405"/>
                  </a:cubicBezTo>
                  <a:cubicBezTo>
                    <a:pt x="659" y="1519"/>
                    <a:pt x="310" y="759"/>
                    <a:pt x="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7" name="Freeform 1121"/>
            <p:cNvSpPr>
              <a:spLocks/>
            </p:cNvSpPr>
            <p:nvPr/>
          </p:nvSpPr>
          <p:spPr bwMode="auto">
            <a:xfrm>
              <a:off x="3838575" y="3295728"/>
              <a:ext cx="1147763" cy="768350"/>
            </a:xfrm>
            <a:custGeom>
              <a:avLst/>
              <a:gdLst>
                <a:gd name="T0" fmla="*/ 2147483647 w 723"/>
                <a:gd name="T1" fmla="*/ 2147483647 h 484"/>
                <a:gd name="T2" fmla="*/ 2147483647 w 723"/>
                <a:gd name="T3" fmla="*/ 2147483647 h 484"/>
                <a:gd name="T4" fmla="*/ 2147483647 w 723"/>
                <a:gd name="T5" fmla="*/ 2147483647 h 484"/>
                <a:gd name="T6" fmla="*/ 2147483647 w 723"/>
                <a:gd name="T7" fmla="*/ 2147483647 h 484"/>
                <a:gd name="T8" fmla="*/ 2147483647 w 723"/>
                <a:gd name="T9" fmla="*/ 2147483647 h 484"/>
                <a:gd name="T10" fmla="*/ 2147483647 w 723"/>
                <a:gd name="T11" fmla="*/ 2147483647 h 484"/>
                <a:gd name="T12" fmla="*/ 0 w 723"/>
                <a:gd name="T13" fmla="*/ 0 h 484"/>
                <a:gd name="T14" fmla="*/ 0 60000 65536"/>
                <a:gd name="T15" fmla="*/ 0 60000 65536"/>
                <a:gd name="T16" fmla="*/ 0 60000 65536"/>
                <a:gd name="T17" fmla="*/ 0 60000 65536"/>
                <a:gd name="T18" fmla="*/ 0 60000 65536"/>
                <a:gd name="T19" fmla="*/ 0 60000 65536"/>
                <a:gd name="T20" fmla="*/ 0 60000 65536"/>
                <a:gd name="T21" fmla="*/ 0 w 723"/>
                <a:gd name="T22" fmla="*/ 0 h 484"/>
                <a:gd name="T23" fmla="*/ 723 w 723"/>
                <a:gd name="T24" fmla="*/ 484 h 4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23" h="484">
                  <a:moveTo>
                    <a:pt x="723" y="484"/>
                  </a:moveTo>
                  <a:cubicBezTo>
                    <a:pt x="718" y="463"/>
                    <a:pt x="714" y="443"/>
                    <a:pt x="705" y="427"/>
                  </a:cubicBezTo>
                  <a:cubicBezTo>
                    <a:pt x="696" y="411"/>
                    <a:pt x="683" y="396"/>
                    <a:pt x="669" y="385"/>
                  </a:cubicBezTo>
                  <a:cubicBezTo>
                    <a:pt x="655" y="374"/>
                    <a:pt x="639" y="373"/>
                    <a:pt x="621" y="358"/>
                  </a:cubicBezTo>
                  <a:cubicBezTo>
                    <a:pt x="603" y="343"/>
                    <a:pt x="631" y="330"/>
                    <a:pt x="558" y="292"/>
                  </a:cubicBezTo>
                  <a:cubicBezTo>
                    <a:pt x="485" y="254"/>
                    <a:pt x="276" y="176"/>
                    <a:pt x="183" y="127"/>
                  </a:cubicBezTo>
                  <a:cubicBezTo>
                    <a:pt x="90" y="78"/>
                    <a:pt x="38" y="26"/>
                    <a:pt x="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8" name="Freeform 1122"/>
            <p:cNvSpPr>
              <a:spLocks/>
            </p:cNvSpPr>
            <p:nvPr/>
          </p:nvSpPr>
          <p:spPr bwMode="auto">
            <a:xfrm>
              <a:off x="4732338" y="3225878"/>
              <a:ext cx="1268413" cy="615950"/>
            </a:xfrm>
            <a:custGeom>
              <a:avLst/>
              <a:gdLst>
                <a:gd name="T0" fmla="*/ 2147483647 w 799"/>
                <a:gd name="T1" fmla="*/ 2147483647 h 388"/>
                <a:gd name="T2" fmla="*/ 2147483647 w 799"/>
                <a:gd name="T3" fmla="*/ 2147483647 h 388"/>
                <a:gd name="T4" fmla="*/ 2147483647 w 799"/>
                <a:gd name="T5" fmla="*/ 2147483647 h 388"/>
                <a:gd name="T6" fmla="*/ 2147483647 w 799"/>
                <a:gd name="T7" fmla="*/ 2147483647 h 388"/>
                <a:gd name="T8" fmla="*/ 2147483647 w 799"/>
                <a:gd name="T9" fmla="*/ 2147483647 h 388"/>
                <a:gd name="T10" fmla="*/ 2147483647 w 799"/>
                <a:gd name="T11" fmla="*/ 2147483647 h 388"/>
                <a:gd name="T12" fmla="*/ 2147483647 w 799"/>
                <a:gd name="T13" fmla="*/ 2147483647 h 388"/>
                <a:gd name="T14" fmla="*/ 2147483647 w 799"/>
                <a:gd name="T15" fmla="*/ 2147483647 h 388"/>
                <a:gd name="T16" fmla="*/ 2147483647 w 799"/>
                <a:gd name="T17" fmla="*/ 2147483647 h 388"/>
                <a:gd name="T18" fmla="*/ 2147483647 w 799"/>
                <a:gd name="T19" fmla="*/ 2147483647 h 388"/>
                <a:gd name="T20" fmla="*/ 2147483647 w 799"/>
                <a:gd name="T21" fmla="*/ 2147483647 h 388"/>
                <a:gd name="T22" fmla="*/ 2147483647 w 799"/>
                <a:gd name="T23" fmla="*/ 2147483647 h 388"/>
                <a:gd name="T24" fmla="*/ 2147483647 w 799"/>
                <a:gd name="T25" fmla="*/ 2147483647 h 388"/>
                <a:gd name="T26" fmla="*/ 2147483647 w 799"/>
                <a:gd name="T27" fmla="*/ 2147483647 h 388"/>
                <a:gd name="T28" fmla="*/ 0 w 799"/>
                <a:gd name="T29" fmla="*/ 0 h 38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99"/>
                <a:gd name="T46" fmla="*/ 0 h 388"/>
                <a:gd name="T47" fmla="*/ 799 w 799"/>
                <a:gd name="T48" fmla="*/ 388 h 38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99" h="388">
                  <a:moveTo>
                    <a:pt x="799" y="359"/>
                  </a:moveTo>
                  <a:cubicBezTo>
                    <a:pt x="718" y="372"/>
                    <a:pt x="638" y="386"/>
                    <a:pt x="597" y="387"/>
                  </a:cubicBezTo>
                  <a:cubicBezTo>
                    <a:pt x="556" y="388"/>
                    <a:pt x="565" y="375"/>
                    <a:pt x="555" y="365"/>
                  </a:cubicBezTo>
                  <a:cubicBezTo>
                    <a:pt x="545" y="355"/>
                    <a:pt x="547" y="352"/>
                    <a:pt x="537" y="329"/>
                  </a:cubicBezTo>
                  <a:cubicBezTo>
                    <a:pt x="527" y="306"/>
                    <a:pt x="510" y="253"/>
                    <a:pt x="498" y="228"/>
                  </a:cubicBezTo>
                  <a:cubicBezTo>
                    <a:pt x="486" y="203"/>
                    <a:pt x="472" y="189"/>
                    <a:pt x="463" y="177"/>
                  </a:cubicBezTo>
                  <a:cubicBezTo>
                    <a:pt x="454" y="165"/>
                    <a:pt x="456" y="159"/>
                    <a:pt x="442" y="153"/>
                  </a:cubicBezTo>
                  <a:cubicBezTo>
                    <a:pt x="428" y="147"/>
                    <a:pt x="396" y="141"/>
                    <a:pt x="379" y="140"/>
                  </a:cubicBezTo>
                  <a:cubicBezTo>
                    <a:pt x="362" y="139"/>
                    <a:pt x="361" y="147"/>
                    <a:pt x="342" y="149"/>
                  </a:cubicBezTo>
                  <a:cubicBezTo>
                    <a:pt x="323" y="151"/>
                    <a:pt x="290" y="153"/>
                    <a:pt x="267" y="152"/>
                  </a:cubicBezTo>
                  <a:cubicBezTo>
                    <a:pt x="244" y="151"/>
                    <a:pt x="228" y="151"/>
                    <a:pt x="205" y="141"/>
                  </a:cubicBezTo>
                  <a:cubicBezTo>
                    <a:pt x="182" y="131"/>
                    <a:pt x="147" y="102"/>
                    <a:pt x="129" y="89"/>
                  </a:cubicBezTo>
                  <a:cubicBezTo>
                    <a:pt x="111" y="76"/>
                    <a:pt x="110" y="73"/>
                    <a:pt x="97" y="65"/>
                  </a:cubicBezTo>
                  <a:cubicBezTo>
                    <a:pt x="84" y="57"/>
                    <a:pt x="68" y="53"/>
                    <a:pt x="52" y="42"/>
                  </a:cubicBezTo>
                  <a:cubicBezTo>
                    <a:pt x="36" y="31"/>
                    <a:pt x="18" y="15"/>
                    <a:pt x="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9" name="Freeform 1123"/>
            <p:cNvSpPr>
              <a:spLocks/>
            </p:cNvSpPr>
            <p:nvPr/>
          </p:nvSpPr>
          <p:spPr bwMode="auto">
            <a:xfrm>
              <a:off x="6227763" y="4519691"/>
              <a:ext cx="476250" cy="328613"/>
            </a:xfrm>
            <a:custGeom>
              <a:avLst/>
              <a:gdLst>
                <a:gd name="T0" fmla="*/ 2147483647 w 300"/>
                <a:gd name="T1" fmla="*/ 2147483647 h 207"/>
                <a:gd name="T2" fmla="*/ 2147483647 w 300"/>
                <a:gd name="T3" fmla="*/ 2147483647 h 207"/>
                <a:gd name="T4" fmla="*/ 2147483647 w 300"/>
                <a:gd name="T5" fmla="*/ 2147483647 h 207"/>
                <a:gd name="T6" fmla="*/ 0 w 300"/>
                <a:gd name="T7" fmla="*/ 2147483647 h 207"/>
                <a:gd name="T8" fmla="*/ 2147483647 w 300"/>
                <a:gd name="T9" fmla="*/ 2147483647 h 207"/>
                <a:gd name="T10" fmla="*/ 2147483647 w 300"/>
                <a:gd name="T11" fmla="*/ 2147483647 h 207"/>
                <a:gd name="T12" fmla="*/ 2147483647 w 300"/>
                <a:gd name="T13" fmla="*/ 2147483647 h 207"/>
                <a:gd name="T14" fmla="*/ 2147483647 w 300"/>
                <a:gd name="T15" fmla="*/ 2147483647 h 207"/>
                <a:gd name="T16" fmla="*/ 2147483647 w 300"/>
                <a:gd name="T17" fmla="*/ 2147483647 h 207"/>
                <a:gd name="T18" fmla="*/ 2147483647 w 300"/>
                <a:gd name="T19" fmla="*/ 2147483647 h 207"/>
                <a:gd name="T20" fmla="*/ 2147483647 w 300"/>
                <a:gd name="T21" fmla="*/ 2147483647 h 207"/>
                <a:gd name="T22" fmla="*/ 2147483647 w 300"/>
                <a:gd name="T23" fmla="*/ 0 h 207"/>
                <a:gd name="T24" fmla="*/ 2147483647 w 300"/>
                <a:gd name="T25" fmla="*/ 2147483647 h 207"/>
                <a:gd name="T26" fmla="*/ 2147483647 w 300"/>
                <a:gd name="T27" fmla="*/ 2147483647 h 207"/>
                <a:gd name="T28" fmla="*/ 2147483647 w 300"/>
                <a:gd name="T29" fmla="*/ 2147483647 h 207"/>
                <a:gd name="T30" fmla="*/ 2147483647 w 300"/>
                <a:gd name="T31" fmla="*/ 2147483647 h 207"/>
                <a:gd name="T32" fmla="*/ 2147483647 w 300"/>
                <a:gd name="T33" fmla="*/ 2147483647 h 207"/>
                <a:gd name="T34" fmla="*/ 2147483647 w 300"/>
                <a:gd name="T35" fmla="*/ 2147483647 h 207"/>
                <a:gd name="T36" fmla="*/ 2147483647 w 300"/>
                <a:gd name="T37" fmla="*/ 2147483647 h 207"/>
                <a:gd name="T38" fmla="*/ 2147483647 w 300"/>
                <a:gd name="T39" fmla="*/ 2147483647 h 207"/>
                <a:gd name="T40" fmla="*/ 2147483647 w 300"/>
                <a:gd name="T41" fmla="*/ 2147483647 h 207"/>
                <a:gd name="T42" fmla="*/ 2147483647 w 300"/>
                <a:gd name="T43" fmla="*/ 2147483647 h 20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0"/>
                <a:gd name="T67" fmla="*/ 0 h 207"/>
                <a:gd name="T68" fmla="*/ 300 w 300"/>
                <a:gd name="T69" fmla="*/ 207 h 20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0" h="207">
                  <a:moveTo>
                    <a:pt x="124" y="81"/>
                  </a:moveTo>
                  <a:lnTo>
                    <a:pt x="28" y="96"/>
                  </a:lnTo>
                  <a:lnTo>
                    <a:pt x="18" y="96"/>
                  </a:lnTo>
                  <a:lnTo>
                    <a:pt x="0" y="82"/>
                  </a:lnTo>
                  <a:lnTo>
                    <a:pt x="1" y="60"/>
                  </a:lnTo>
                  <a:lnTo>
                    <a:pt x="34" y="51"/>
                  </a:lnTo>
                  <a:lnTo>
                    <a:pt x="60" y="34"/>
                  </a:lnTo>
                  <a:lnTo>
                    <a:pt x="84" y="58"/>
                  </a:lnTo>
                  <a:lnTo>
                    <a:pt x="106" y="61"/>
                  </a:lnTo>
                  <a:lnTo>
                    <a:pt x="160" y="16"/>
                  </a:lnTo>
                  <a:lnTo>
                    <a:pt x="204" y="33"/>
                  </a:lnTo>
                  <a:lnTo>
                    <a:pt x="222" y="0"/>
                  </a:lnTo>
                  <a:lnTo>
                    <a:pt x="265" y="21"/>
                  </a:lnTo>
                  <a:lnTo>
                    <a:pt x="265" y="69"/>
                  </a:lnTo>
                  <a:lnTo>
                    <a:pt x="300" y="73"/>
                  </a:lnTo>
                  <a:lnTo>
                    <a:pt x="238" y="133"/>
                  </a:lnTo>
                  <a:lnTo>
                    <a:pt x="144" y="133"/>
                  </a:lnTo>
                  <a:lnTo>
                    <a:pt x="102" y="207"/>
                  </a:lnTo>
                  <a:lnTo>
                    <a:pt x="78" y="196"/>
                  </a:lnTo>
                  <a:lnTo>
                    <a:pt x="91" y="141"/>
                  </a:lnTo>
                  <a:lnTo>
                    <a:pt x="138" y="123"/>
                  </a:lnTo>
                  <a:lnTo>
                    <a:pt x="124" y="81"/>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30" name="Freeform 1124"/>
            <p:cNvSpPr>
              <a:spLocks/>
            </p:cNvSpPr>
            <p:nvPr/>
          </p:nvSpPr>
          <p:spPr bwMode="auto">
            <a:xfrm>
              <a:off x="5089525" y="4121228"/>
              <a:ext cx="1360488" cy="1198563"/>
            </a:xfrm>
            <a:custGeom>
              <a:avLst/>
              <a:gdLst>
                <a:gd name="T0" fmla="*/ 2147483647 w 857"/>
                <a:gd name="T1" fmla="*/ 2147483647 h 755"/>
                <a:gd name="T2" fmla="*/ 2147483647 w 857"/>
                <a:gd name="T3" fmla="*/ 2147483647 h 755"/>
                <a:gd name="T4" fmla="*/ 2147483647 w 857"/>
                <a:gd name="T5" fmla="*/ 2147483647 h 755"/>
                <a:gd name="T6" fmla="*/ 2147483647 w 857"/>
                <a:gd name="T7" fmla="*/ 2147483647 h 755"/>
                <a:gd name="T8" fmla="*/ 2147483647 w 857"/>
                <a:gd name="T9" fmla="*/ 2147483647 h 755"/>
                <a:gd name="T10" fmla="*/ 2147483647 w 857"/>
                <a:gd name="T11" fmla="*/ 2147483647 h 755"/>
                <a:gd name="T12" fmla="*/ 2147483647 w 857"/>
                <a:gd name="T13" fmla="*/ 2147483647 h 755"/>
                <a:gd name="T14" fmla="*/ 2147483647 w 857"/>
                <a:gd name="T15" fmla="*/ 2147483647 h 755"/>
                <a:gd name="T16" fmla="*/ 2147483647 w 857"/>
                <a:gd name="T17" fmla="*/ 2147483647 h 755"/>
                <a:gd name="T18" fmla="*/ 2147483647 w 857"/>
                <a:gd name="T19" fmla="*/ 2147483647 h 755"/>
                <a:gd name="T20" fmla="*/ 2147483647 w 857"/>
                <a:gd name="T21" fmla="*/ 2147483647 h 755"/>
                <a:gd name="T22" fmla="*/ 2147483647 w 857"/>
                <a:gd name="T23" fmla="*/ 2147483647 h 755"/>
                <a:gd name="T24" fmla="*/ 2147483647 w 857"/>
                <a:gd name="T25" fmla="*/ 2147483647 h 755"/>
                <a:gd name="T26" fmla="*/ 2147483647 w 857"/>
                <a:gd name="T27" fmla="*/ 2147483647 h 755"/>
                <a:gd name="T28" fmla="*/ 2147483647 w 857"/>
                <a:gd name="T29" fmla="*/ 2147483647 h 755"/>
                <a:gd name="T30" fmla="*/ 2147483647 w 857"/>
                <a:gd name="T31" fmla="*/ 2147483647 h 755"/>
                <a:gd name="T32" fmla="*/ 2147483647 w 857"/>
                <a:gd name="T33" fmla="*/ 2147483647 h 755"/>
                <a:gd name="T34" fmla="*/ 2147483647 w 857"/>
                <a:gd name="T35" fmla="*/ 2147483647 h 755"/>
                <a:gd name="T36" fmla="*/ 2147483647 w 857"/>
                <a:gd name="T37" fmla="*/ 2147483647 h 755"/>
                <a:gd name="T38" fmla="*/ 0 w 857"/>
                <a:gd name="T39" fmla="*/ 2147483647 h 755"/>
                <a:gd name="T40" fmla="*/ 2147483647 w 857"/>
                <a:gd name="T41" fmla="*/ 2147483647 h 755"/>
                <a:gd name="T42" fmla="*/ 2147483647 w 857"/>
                <a:gd name="T43" fmla="*/ 2147483647 h 755"/>
                <a:gd name="T44" fmla="*/ 2147483647 w 857"/>
                <a:gd name="T45" fmla="*/ 2147483647 h 755"/>
                <a:gd name="T46" fmla="*/ 2147483647 w 857"/>
                <a:gd name="T47" fmla="*/ 2147483647 h 755"/>
                <a:gd name="T48" fmla="*/ 2147483647 w 857"/>
                <a:gd name="T49" fmla="*/ 2147483647 h 755"/>
                <a:gd name="T50" fmla="*/ 2147483647 w 857"/>
                <a:gd name="T51" fmla="*/ 2147483647 h 755"/>
                <a:gd name="T52" fmla="*/ 2147483647 w 857"/>
                <a:gd name="T53" fmla="*/ 2147483647 h 755"/>
                <a:gd name="T54" fmla="*/ 2147483647 w 857"/>
                <a:gd name="T55" fmla="*/ 2147483647 h 755"/>
                <a:gd name="T56" fmla="*/ 2147483647 w 857"/>
                <a:gd name="T57" fmla="*/ 2147483647 h 755"/>
                <a:gd name="T58" fmla="*/ 2147483647 w 857"/>
                <a:gd name="T59" fmla="*/ 2147483647 h 755"/>
                <a:gd name="T60" fmla="*/ 2147483647 w 857"/>
                <a:gd name="T61" fmla="*/ 2147483647 h 755"/>
                <a:gd name="T62" fmla="*/ 2147483647 w 857"/>
                <a:gd name="T63" fmla="*/ 2147483647 h 755"/>
                <a:gd name="T64" fmla="*/ 2147483647 w 857"/>
                <a:gd name="T65" fmla="*/ 2147483647 h 755"/>
                <a:gd name="T66" fmla="*/ 2147483647 w 857"/>
                <a:gd name="T67" fmla="*/ 2147483647 h 755"/>
                <a:gd name="T68" fmla="*/ 2147483647 w 857"/>
                <a:gd name="T69" fmla="*/ 2147483647 h 755"/>
                <a:gd name="T70" fmla="*/ 2147483647 w 857"/>
                <a:gd name="T71" fmla="*/ 2147483647 h 755"/>
                <a:gd name="T72" fmla="*/ 2147483647 w 857"/>
                <a:gd name="T73" fmla="*/ 2147483647 h 755"/>
                <a:gd name="T74" fmla="*/ 2147483647 w 857"/>
                <a:gd name="T75" fmla="*/ 2147483647 h 755"/>
                <a:gd name="T76" fmla="*/ 2147483647 w 857"/>
                <a:gd name="T77" fmla="*/ 2147483647 h 755"/>
                <a:gd name="T78" fmla="*/ 2147483647 w 857"/>
                <a:gd name="T79" fmla="*/ 2147483647 h 755"/>
                <a:gd name="T80" fmla="*/ 2147483647 w 857"/>
                <a:gd name="T81" fmla="*/ 2147483647 h 755"/>
                <a:gd name="T82" fmla="*/ 2147483647 w 857"/>
                <a:gd name="T83" fmla="*/ 2147483647 h 755"/>
                <a:gd name="T84" fmla="*/ 2147483647 w 857"/>
                <a:gd name="T85" fmla="*/ 2147483647 h 755"/>
                <a:gd name="T86" fmla="*/ 2147483647 w 857"/>
                <a:gd name="T87" fmla="*/ 2147483647 h 755"/>
                <a:gd name="T88" fmla="*/ 2147483647 w 857"/>
                <a:gd name="T89" fmla="*/ 2147483647 h 755"/>
                <a:gd name="T90" fmla="*/ 2147483647 w 857"/>
                <a:gd name="T91" fmla="*/ 2147483647 h 755"/>
                <a:gd name="T92" fmla="*/ 2147483647 w 857"/>
                <a:gd name="T93" fmla="*/ 2147483647 h 755"/>
                <a:gd name="T94" fmla="*/ 2147483647 w 857"/>
                <a:gd name="T95" fmla="*/ 2147483647 h 755"/>
                <a:gd name="T96" fmla="*/ 2147483647 w 857"/>
                <a:gd name="T97" fmla="*/ 2147483647 h 755"/>
                <a:gd name="T98" fmla="*/ 2147483647 w 857"/>
                <a:gd name="T99" fmla="*/ 2147483647 h 7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7"/>
                <a:gd name="T151" fmla="*/ 0 h 755"/>
                <a:gd name="T152" fmla="*/ 857 w 857"/>
                <a:gd name="T153" fmla="*/ 755 h 75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7" h="755">
                  <a:moveTo>
                    <a:pt x="478" y="624"/>
                  </a:moveTo>
                  <a:cubicBezTo>
                    <a:pt x="475" y="631"/>
                    <a:pt x="511" y="663"/>
                    <a:pt x="522" y="680"/>
                  </a:cubicBezTo>
                  <a:cubicBezTo>
                    <a:pt x="533" y="697"/>
                    <a:pt x="542" y="714"/>
                    <a:pt x="544" y="725"/>
                  </a:cubicBezTo>
                  <a:cubicBezTo>
                    <a:pt x="546" y="736"/>
                    <a:pt x="538" y="745"/>
                    <a:pt x="532" y="749"/>
                  </a:cubicBezTo>
                  <a:cubicBezTo>
                    <a:pt x="526" y="753"/>
                    <a:pt x="516" y="755"/>
                    <a:pt x="510" y="752"/>
                  </a:cubicBezTo>
                  <a:cubicBezTo>
                    <a:pt x="504" y="749"/>
                    <a:pt x="501" y="737"/>
                    <a:pt x="496" y="731"/>
                  </a:cubicBezTo>
                  <a:cubicBezTo>
                    <a:pt x="491" y="725"/>
                    <a:pt x="485" y="720"/>
                    <a:pt x="478" y="714"/>
                  </a:cubicBezTo>
                  <a:cubicBezTo>
                    <a:pt x="471" y="708"/>
                    <a:pt x="462" y="700"/>
                    <a:pt x="457" y="695"/>
                  </a:cubicBezTo>
                  <a:cubicBezTo>
                    <a:pt x="452" y="690"/>
                    <a:pt x="450" y="686"/>
                    <a:pt x="445" y="683"/>
                  </a:cubicBezTo>
                  <a:cubicBezTo>
                    <a:pt x="440" y="680"/>
                    <a:pt x="429" y="680"/>
                    <a:pt x="424" y="675"/>
                  </a:cubicBezTo>
                  <a:cubicBezTo>
                    <a:pt x="419" y="670"/>
                    <a:pt x="420" y="656"/>
                    <a:pt x="417" y="651"/>
                  </a:cubicBezTo>
                  <a:cubicBezTo>
                    <a:pt x="414" y="646"/>
                    <a:pt x="412" y="647"/>
                    <a:pt x="409" y="645"/>
                  </a:cubicBezTo>
                  <a:cubicBezTo>
                    <a:pt x="406" y="643"/>
                    <a:pt x="407" y="643"/>
                    <a:pt x="400" y="641"/>
                  </a:cubicBezTo>
                  <a:cubicBezTo>
                    <a:pt x="393" y="639"/>
                    <a:pt x="378" y="638"/>
                    <a:pt x="366" y="632"/>
                  </a:cubicBezTo>
                  <a:cubicBezTo>
                    <a:pt x="354" y="626"/>
                    <a:pt x="337" y="612"/>
                    <a:pt x="328" y="606"/>
                  </a:cubicBezTo>
                  <a:cubicBezTo>
                    <a:pt x="319" y="600"/>
                    <a:pt x="316" y="602"/>
                    <a:pt x="309" y="597"/>
                  </a:cubicBezTo>
                  <a:cubicBezTo>
                    <a:pt x="302" y="592"/>
                    <a:pt x="296" y="587"/>
                    <a:pt x="289" y="578"/>
                  </a:cubicBezTo>
                  <a:cubicBezTo>
                    <a:pt x="282" y="569"/>
                    <a:pt x="273" y="555"/>
                    <a:pt x="267" y="545"/>
                  </a:cubicBezTo>
                  <a:cubicBezTo>
                    <a:pt x="261" y="535"/>
                    <a:pt x="258" y="526"/>
                    <a:pt x="252" y="521"/>
                  </a:cubicBezTo>
                  <a:cubicBezTo>
                    <a:pt x="246" y="516"/>
                    <a:pt x="237" y="517"/>
                    <a:pt x="229" y="512"/>
                  </a:cubicBezTo>
                  <a:cubicBezTo>
                    <a:pt x="221" y="507"/>
                    <a:pt x="209" y="499"/>
                    <a:pt x="204" y="492"/>
                  </a:cubicBezTo>
                  <a:cubicBezTo>
                    <a:pt x="199" y="485"/>
                    <a:pt x="197" y="475"/>
                    <a:pt x="198" y="468"/>
                  </a:cubicBezTo>
                  <a:cubicBezTo>
                    <a:pt x="199" y="461"/>
                    <a:pt x="207" y="452"/>
                    <a:pt x="211" y="447"/>
                  </a:cubicBezTo>
                  <a:cubicBezTo>
                    <a:pt x="215" y="442"/>
                    <a:pt x="222" y="440"/>
                    <a:pt x="223" y="437"/>
                  </a:cubicBezTo>
                  <a:cubicBezTo>
                    <a:pt x="224" y="434"/>
                    <a:pt x="222" y="430"/>
                    <a:pt x="219" y="426"/>
                  </a:cubicBezTo>
                  <a:cubicBezTo>
                    <a:pt x="216" y="422"/>
                    <a:pt x="211" y="416"/>
                    <a:pt x="205" y="413"/>
                  </a:cubicBezTo>
                  <a:cubicBezTo>
                    <a:pt x="199" y="410"/>
                    <a:pt x="191" y="408"/>
                    <a:pt x="184" y="405"/>
                  </a:cubicBezTo>
                  <a:cubicBezTo>
                    <a:pt x="177" y="402"/>
                    <a:pt x="170" y="397"/>
                    <a:pt x="163" y="396"/>
                  </a:cubicBezTo>
                  <a:cubicBezTo>
                    <a:pt x="156" y="395"/>
                    <a:pt x="146" y="399"/>
                    <a:pt x="139" y="401"/>
                  </a:cubicBezTo>
                  <a:cubicBezTo>
                    <a:pt x="132" y="403"/>
                    <a:pt x="124" y="410"/>
                    <a:pt x="118" y="410"/>
                  </a:cubicBezTo>
                  <a:cubicBezTo>
                    <a:pt x="112" y="410"/>
                    <a:pt x="109" y="406"/>
                    <a:pt x="103" y="402"/>
                  </a:cubicBezTo>
                  <a:cubicBezTo>
                    <a:pt x="97" y="398"/>
                    <a:pt x="91" y="390"/>
                    <a:pt x="84" y="384"/>
                  </a:cubicBezTo>
                  <a:cubicBezTo>
                    <a:pt x="77" y="378"/>
                    <a:pt x="67" y="368"/>
                    <a:pt x="63" y="363"/>
                  </a:cubicBezTo>
                  <a:cubicBezTo>
                    <a:pt x="59" y="358"/>
                    <a:pt x="59" y="361"/>
                    <a:pt x="58" y="353"/>
                  </a:cubicBezTo>
                  <a:cubicBezTo>
                    <a:pt x="57" y="345"/>
                    <a:pt x="56" y="328"/>
                    <a:pt x="54" y="317"/>
                  </a:cubicBezTo>
                  <a:cubicBezTo>
                    <a:pt x="52" y="306"/>
                    <a:pt x="49" y="297"/>
                    <a:pt x="46" y="288"/>
                  </a:cubicBezTo>
                  <a:cubicBezTo>
                    <a:pt x="43" y="279"/>
                    <a:pt x="38" y="266"/>
                    <a:pt x="34" y="261"/>
                  </a:cubicBezTo>
                  <a:cubicBezTo>
                    <a:pt x="30" y="256"/>
                    <a:pt x="25" y="268"/>
                    <a:pt x="21" y="260"/>
                  </a:cubicBezTo>
                  <a:cubicBezTo>
                    <a:pt x="17" y="252"/>
                    <a:pt x="13" y="230"/>
                    <a:pt x="10" y="215"/>
                  </a:cubicBezTo>
                  <a:cubicBezTo>
                    <a:pt x="7" y="200"/>
                    <a:pt x="0" y="178"/>
                    <a:pt x="0" y="167"/>
                  </a:cubicBezTo>
                  <a:cubicBezTo>
                    <a:pt x="0" y="156"/>
                    <a:pt x="2" y="149"/>
                    <a:pt x="7" y="146"/>
                  </a:cubicBezTo>
                  <a:cubicBezTo>
                    <a:pt x="12" y="143"/>
                    <a:pt x="19" y="151"/>
                    <a:pt x="28" y="146"/>
                  </a:cubicBezTo>
                  <a:cubicBezTo>
                    <a:pt x="37" y="141"/>
                    <a:pt x="52" y="125"/>
                    <a:pt x="63" y="116"/>
                  </a:cubicBezTo>
                  <a:cubicBezTo>
                    <a:pt x="74" y="107"/>
                    <a:pt x="87" y="99"/>
                    <a:pt x="97" y="90"/>
                  </a:cubicBezTo>
                  <a:cubicBezTo>
                    <a:pt x="107" y="81"/>
                    <a:pt x="115" y="72"/>
                    <a:pt x="123" y="63"/>
                  </a:cubicBezTo>
                  <a:cubicBezTo>
                    <a:pt x="131" y="54"/>
                    <a:pt x="137" y="44"/>
                    <a:pt x="144" y="35"/>
                  </a:cubicBezTo>
                  <a:cubicBezTo>
                    <a:pt x="151" y="26"/>
                    <a:pt x="157" y="16"/>
                    <a:pt x="166" y="11"/>
                  </a:cubicBezTo>
                  <a:cubicBezTo>
                    <a:pt x="175" y="6"/>
                    <a:pt x="189" y="4"/>
                    <a:pt x="196" y="3"/>
                  </a:cubicBezTo>
                  <a:cubicBezTo>
                    <a:pt x="203" y="2"/>
                    <a:pt x="207" y="0"/>
                    <a:pt x="211" y="2"/>
                  </a:cubicBezTo>
                  <a:cubicBezTo>
                    <a:pt x="215" y="4"/>
                    <a:pt x="214" y="13"/>
                    <a:pt x="217" y="17"/>
                  </a:cubicBezTo>
                  <a:cubicBezTo>
                    <a:pt x="220" y="21"/>
                    <a:pt x="226" y="24"/>
                    <a:pt x="228" y="29"/>
                  </a:cubicBezTo>
                  <a:cubicBezTo>
                    <a:pt x="230" y="34"/>
                    <a:pt x="228" y="41"/>
                    <a:pt x="229" y="47"/>
                  </a:cubicBezTo>
                  <a:cubicBezTo>
                    <a:pt x="230" y="53"/>
                    <a:pt x="228" y="59"/>
                    <a:pt x="231" y="63"/>
                  </a:cubicBezTo>
                  <a:cubicBezTo>
                    <a:pt x="234" y="67"/>
                    <a:pt x="228" y="70"/>
                    <a:pt x="244" y="72"/>
                  </a:cubicBezTo>
                  <a:cubicBezTo>
                    <a:pt x="260" y="74"/>
                    <a:pt x="313" y="75"/>
                    <a:pt x="330" y="75"/>
                  </a:cubicBezTo>
                  <a:cubicBezTo>
                    <a:pt x="347" y="75"/>
                    <a:pt x="343" y="74"/>
                    <a:pt x="348" y="71"/>
                  </a:cubicBezTo>
                  <a:cubicBezTo>
                    <a:pt x="353" y="68"/>
                    <a:pt x="358" y="55"/>
                    <a:pt x="363" y="54"/>
                  </a:cubicBezTo>
                  <a:cubicBezTo>
                    <a:pt x="368" y="53"/>
                    <a:pt x="373" y="56"/>
                    <a:pt x="379" y="63"/>
                  </a:cubicBezTo>
                  <a:cubicBezTo>
                    <a:pt x="385" y="70"/>
                    <a:pt x="388" y="94"/>
                    <a:pt x="400" y="99"/>
                  </a:cubicBezTo>
                  <a:cubicBezTo>
                    <a:pt x="412" y="104"/>
                    <a:pt x="435" y="94"/>
                    <a:pt x="451" y="92"/>
                  </a:cubicBezTo>
                  <a:cubicBezTo>
                    <a:pt x="467" y="90"/>
                    <a:pt x="484" y="80"/>
                    <a:pt x="496" y="86"/>
                  </a:cubicBezTo>
                  <a:cubicBezTo>
                    <a:pt x="508" y="92"/>
                    <a:pt x="515" y="115"/>
                    <a:pt x="522" y="129"/>
                  </a:cubicBezTo>
                  <a:cubicBezTo>
                    <a:pt x="529" y="143"/>
                    <a:pt x="532" y="154"/>
                    <a:pt x="540" y="173"/>
                  </a:cubicBezTo>
                  <a:cubicBezTo>
                    <a:pt x="548" y="192"/>
                    <a:pt x="565" y="230"/>
                    <a:pt x="571" y="246"/>
                  </a:cubicBezTo>
                  <a:cubicBezTo>
                    <a:pt x="577" y="262"/>
                    <a:pt x="576" y="261"/>
                    <a:pt x="577" y="267"/>
                  </a:cubicBezTo>
                  <a:cubicBezTo>
                    <a:pt x="578" y="273"/>
                    <a:pt x="576" y="279"/>
                    <a:pt x="576" y="285"/>
                  </a:cubicBezTo>
                  <a:cubicBezTo>
                    <a:pt x="576" y="291"/>
                    <a:pt x="576" y="300"/>
                    <a:pt x="579" y="302"/>
                  </a:cubicBezTo>
                  <a:cubicBezTo>
                    <a:pt x="582" y="304"/>
                    <a:pt x="589" y="300"/>
                    <a:pt x="595" y="297"/>
                  </a:cubicBezTo>
                  <a:cubicBezTo>
                    <a:pt x="601" y="294"/>
                    <a:pt x="610" y="289"/>
                    <a:pt x="616" y="285"/>
                  </a:cubicBezTo>
                  <a:cubicBezTo>
                    <a:pt x="622" y="281"/>
                    <a:pt x="625" y="275"/>
                    <a:pt x="630" y="275"/>
                  </a:cubicBezTo>
                  <a:cubicBezTo>
                    <a:pt x="635" y="275"/>
                    <a:pt x="639" y="281"/>
                    <a:pt x="645" y="287"/>
                  </a:cubicBezTo>
                  <a:cubicBezTo>
                    <a:pt x="651" y="293"/>
                    <a:pt x="658" y="307"/>
                    <a:pt x="667" y="311"/>
                  </a:cubicBezTo>
                  <a:cubicBezTo>
                    <a:pt x="676" y="315"/>
                    <a:pt x="689" y="309"/>
                    <a:pt x="697" y="312"/>
                  </a:cubicBezTo>
                  <a:cubicBezTo>
                    <a:pt x="705" y="315"/>
                    <a:pt x="710" y="324"/>
                    <a:pt x="717" y="330"/>
                  </a:cubicBezTo>
                  <a:cubicBezTo>
                    <a:pt x="724" y="336"/>
                    <a:pt x="725" y="347"/>
                    <a:pt x="739" y="348"/>
                  </a:cubicBezTo>
                  <a:cubicBezTo>
                    <a:pt x="753" y="349"/>
                    <a:pt x="782" y="340"/>
                    <a:pt x="799" y="338"/>
                  </a:cubicBezTo>
                  <a:cubicBezTo>
                    <a:pt x="816" y="336"/>
                    <a:pt x="835" y="330"/>
                    <a:pt x="844" y="335"/>
                  </a:cubicBezTo>
                  <a:cubicBezTo>
                    <a:pt x="853" y="340"/>
                    <a:pt x="857" y="360"/>
                    <a:pt x="855" y="368"/>
                  </a:cubicBezTo>
                  <a:cubicBezTo>
                    <a:pt x="853" y="376"/>
                    <a:pt x="842" y="377"/>
                    <a:pt x="834" y="381"/>
                  </a:cubicBezTo>
                  <a:cubicBezTo>
                    <a:pt x="826" y="385"/>
                    <a:pt x="818" y="388"/>
                    <a:pt x="808" y="393"/>
                  </a:cubicBezTo>
                  <a:cubicBezTo>
                    <a:pt x="798" y="398"/>
                    <a:pt x="784" y="408"/>
                    <a:pt x="774" y="414"/>
                  </a:cubicBezTo>
                  <a:cubicBezTo>
                    <a:pt x="764" y="420"/>
                    <a:pt x="753" y="424"/>
                    <a:pt x="745" y="428"/>
                  </a:cubicBezTo>
                  <a:cubicBezTo>
                    <a:pt x="737" y="432"/>
                    <a:pt x="730" y="436"/>
                    <a:pt x="724" y="441"/>
                  </a:cubicBezTo>
                  <a:cubicBezTo>
                    <a:pt x="718" y="446"/>
                    <a:pt x="714" y="456"/>
                    <a:pt x="708" y="459"/>
                  </a:cubicBezTo>
                  <a:cubicBezTo>
                    <a:pt x="702" y="462"/>
                    <a:pt x="696" y="459"/>
                    <a:pt x="687" y="458"/>
                  </a:cubicBezTo>
                  <a:cubicBezTo>
                    <a:pt x="678" y="457"/>
                    <a:pt x="669" y="456"/>
                    <a:pt x="655" y="453"/>
                  </a:cubicBezTo>
                  <a:cubicBezTo>
                    <a:pt x="641" y="450"/>
                    <a:pt x="613" y="443"/>
                    <a:pt x="601" y="441"/>
                  </a:cubicBezTo>
                  <a:cubicBezTo>
                    <a:pt x="589" y="439"/>
                    <a:pt x="590" y="443"/>
                    <a:pt x="585" y="444"/>
                  </a:cubicBezTo>
                  <a:cubicBezTo>
                    <a:pt x="580" y="445"/>
                    <a:pt x="580" y="450"/>
                    <a:pt x="573" y="449"/>
                  </a:cubicBezTo>
                  <a:cubicBezTo>
                    <a:pt x="566" y="448"/>
                    <a:pt x="552" y="438"/>
                    <a:pt x="544" y="438"/>
                  </a:cubicBezTo>
                  <a:cubicBezTo>
                    <a:pt x="536" y="438"/>
                    <a:pt x="525" y="443"/>
                    <a:pt x="523" y="447"/>
                  </a:cubicBezTo>
                  <a:cubicBezTo>
                    <a:pt x="521" y="451"/>
                    <a:pt x="528" y="460"/>
                    <a:pt x="531" y="465"/>
                  </a:cubicBezTo>
                  <a:cubicBezTo>
                    <a:pt x="534" y="470"/>
                    <a:pt x="540" y="473"/>
                    <a:pt x="544" y="477"/>
                  </a:cubicBezTo>
                  <a:cubicBezTo>
                    <a:pt x="548" y="481"/>
                    <a:pt x="552" y="485"/>
                    <a:pt x="556" y="489"/>
                  </a:cubicBezTo>
                  <a:cubicBezTo>
                    <a:pt x="560" y="493"/>
                    <a:pt x="564" y="495"/>
                    <a:pt x="570" y="501"/>
                  </a:cubicBezTo>
                  <a:cubicBezTo>
                    <a:pt x="576" y="507"/>
                    <a:pt x="587" y="515"/>
                    <a:pt x="592" y="525"/>
                  </a:cubicBezTo>
                  <a:cubicBezTo>
                    <a:pt x="597" y="535"/>
                    <a:pt x="605" y="547"/>
                    <a:pt x="601" y="560"/>
                  </a:cubicBezTo>
                  <a:cubicBezTo>
                    <a:pt x="597" y="573"/>
                    <a:pt x="581" y="589"/>
                    <a:pt x="570" y="602"/>
                  </a:cubicBezTo>
                  <a:cubicBezTo>
                    <a:pt x="559" y="615"/>
                    <a:pt x="553" y="631"/>
                    <a:pt x="538" y="635"/>
                  </a:cubicBezTo>
                  <a:cubicBezTo>
                    <a:pt x="523" y="639"/>
                    <a:pt x="481" y="617"/>
                    <a:pt x="478" y="624"/>
                  </a:cubicBezTo>
                  <a:close/>
                </a:path>
              </a:pathLst>
            </a:custGeom>
            <a:solidFill>
              <a:srgbClr val="009900"/>
            </a:solidFill>
            <a:ln w="317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31" name="Freeform 1125"/>
            <p:cNvSpPr>
              <a:spLocks/>
            </p:cNvSpPr>
            <p:nvPr/>
          </p:nvSpPr>
          <p:spPr bwMode="auto">
            <a:xfrm>
              <a:off x="5094288" y="4302203"/>
              <a:ext cx="409575" cy="331788"/>
            </a:xfrm>
            <a:custGeom>
              <a:avLst/>
              <a:gdLst>
                <a:gd name="T0" fmla="*/ 2147483647 w 258"/>
                <a:gd name="T1" fmla="*/ 2147483647 h 209"/>
                <a:gd name="T2" fmla="*/ 2147483647 w 258"/>
                <a:gd name="T3" fmla="*/ 2147483647 h 209"/>
                <a:gd name="T4" fmla="*/ 2147483647 w 258"/>
                <a:gd name="T5" fmla="*/ 2147483647 h 209"/>
                <a:gd name="T6" fmla="*/ 2147483647 w 258"/>
                <a:gd name="T7" fmla="*/ 2147483647 h 209"/>
                <a:gd name="T8" fmla="*/ 2147483647 w 258"/>
                <a:gd name="T9" fmla="*/ 2147483647 h 209"/>
                <a:gd name="T10" fmla="*/ 2147483647 w 258"/>
                <a:gd name="T11" fmla="*/ 2147483647 h 209"/>
                <a:gd name="T12" fmla="*/ 2147483647 w 258"/>
                <a:gd name="T13" fmla="*/ 2147483647 h 209"/>
                <a:gd name="T14" fmla="*/ 2147483647 w 258"/>
                <a:gd name="T15" fmla="*/ 2147483647 h 209"/>
                <a:gd name="T16" fmla="*/ 2147483647 w 258"/>
                <a:gd name="T17" fmla="*/ 2147483647 h 209"/>
                <a:gd name="T18" fmla="*/ 2147483647 w 258"/>
                <a:gd name="T19" fmla="*/ 2147483647 h 209"/>
                <a:gd name="T20" fmla="*/ 2147483647 w 258"/>
                <a:gd name="T21" fmla="*/ 2147483647 h 209"/>
                <a:gd name="T22" fmla="*/ 2147483647 w 258"/>
                <a:gd name="T23" fmla="*/ 0 h 209"/>
                <a:gd name="T24" fmla="*/ 2147483647 w 258"/>
                <a:gd name="T25" fmla="*/ 2147483647 h 209"/>
                <a:gd name="T26" fmla="*/ 2147483647 w 258"/>
                <a:gd name="T27" fmla="*/ 2147483647 h 209"/>
                <a:gd name="T28" fmla="*/ 2147483647 w 258"/>
                <a:gd name="T29" fmla="*/ 2147483647 h 209"/>
                <a:gd name="T30" fmla="*/ 2147483647 w 258"/>
                <a:gd name="T31" fmla="*/ 2147483647 h 209"/>
                <a:gd name="T32" fmla="*/ 0 w 258"/>
                <a:gd name="T33" fmla="*/ 2147483647 h 209"/>
                <a:gd name="T34" fmla="*/ 2147483647 w 258"/>
                <a:gd name="T35" fmla="*/ 2147483647 h 209"/>
                <a:gd name="T36" fmla="*/ 2147483647 w 258"/>
                <a:gd name="T37" fmla="*/ 2147483647 h 209"/>
                <a:gd name="T38" fmla="*/ 2147483647 w 258"/>
                <a:gd name="T39" fmla="*/ 2147483647 h 209"/>
                <a:gd name="T40" fmla="*/ 2147483647 w 258"/>
                <a:gd name="T41" fmla="*/ 2147483647 h 209"/>
                <a:gd name="T42" fmla="*/ 2147483647 w 258"/>
                <a:gd name="T43" fmla="*/ 2147483647 h 209"/>
                <a:gd name="T44" fmla="*/ 2147483647 w 258"/>
                <a:gd name="T45" fmla="*/ 2147483647 h 209"/>
                <a:gd name="T46" fmla="*/ 2147483647 w 258"/>
                <a:gd name="T47" fmla="*/ 2147483647 h 20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8"/>
                <a:gd name="T73" fmla="*/ 0 h 209"/>
                <a:gd name="T74" fmla="*/ 258 w 258"/>
                <a:gd name="T75" fmla="*/ 209 h 20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8" h="209">
                  <a:moveTo>
                    <a:pt x="103" y="150"/>
                  </a:moveTo>
                  <a:lnTo>
                    <a:pt x="141" y="156"/>
                  </a:lnTo>
                  <a:lnTo>
                    <a:pt x="187" y="209"/>
                  </a:lnTo>
                  <a:lnTo>
                    <a:pt x="223" y="194"/>
                  </a:lnTo>
                  <a:lnTo>
                    <a:pt x="258" y="168"/>
                  </a:lnTo>
                  <a:lnTo>
                    <a:pt x="231" y="116"/>
                  </a:lnTo>
                  <a:lnTo>
                    <a:pt x="195" y="138"/>
                  </a:lnTo>
                  <a:lnTo>
                    <a:pt x="181" y="111"/>
                  </a:lnTo>
                  <a:lnTo>
                    <a:pt x="156" y="62"/>
                  </a:lnTo>
                  <a:lnTo>
                    <a:pt x="139" y="42"/>
                  </a:lnTo>
                  <a:lnTo>
                    <a:pt x="106" y="17"/>
                  </a:lnTo>
                  <a:lnTo>
                    <a:pt x="88" y="0"/>
                  </a:lnTo>
                  <a:lnTo>
                    <a:pt x="45" y="17"/>
                  </a:lnTo>
                  <a:lnTo>
                    <a:pt x="30" y="29"/>
                  </a:lnTo>
                  <a:lnTo>
                    <a:pt x="9" y="29"/>
                  </a:lnTo>
                  <a:lnTo>
                    <a:pt x="1" y="35"/>
                  </a:lnTo>
                  <a:lnTo>
                    <a:pt x="0" y="57"/>
                  </a:lnTo>
                  <a:lnTo>
                    <a:pt x="3" y="72"/>
                  </a:lnTo>
                  <a:lnTo>
                    <a:pt x="25" y="74"/>
                  </a:lnTo>
                  <a:lnTo>
                    <a:pt x="57" y="63"/>
                  </a:lnTo>
                  <a:lnTo>
                    <a:pt x="72" y="59"/>
                  </a:lnTo>
                  <a:lnTo>
                    <a:pt x="91" y="87"/>
                  </a:lnTo>
                  <a:lnTo>
                    <a:pt x="93" y="110"/>
                  </a:lnTo>
                  <a:lnTo>
                    <a:pt x="103" y="150"/>
                  </a:lnTo>
                  <a:close/>
                </a:path>
              </a:pathLst>
            </a:custGeom>
            <a:solidFill>
              <a:srgbClr val="FFFF00"/>
            </a:soli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spAutoFit/>
            </a:bodyPr>
            <a:lstStyle/>
            <a:p>
              <a:endParaRPr lang="de-DE"/>
            </a:p>
          </p:txBody>
        </p:sp>
        <p:sp>
          <p:nvSpPr>
            <p:cNvPr id="32" name="Freeform 1126"/>
            <p:cNvSpPr>
              <a:spLocks/>
            </p:cNvSpPr>
            <p:nvPr/>
          </p:nvSpPr>
          <p:spPr bwMode="auto">
            <a:xfrm>
              <a:off x="5165725" y="4559378"/>
              <a:ext cx="385763" cy="241300"/>
            </a:xfrm>
            <a:custGeom>
              <a:avLst/>
              <a:gdLst>
                <a:gd name="T0" fmla="*/ 2147483647 w 243"/>
                <a:gd name="T1" fmla="*/ 0 h 152"/>
                <a:gd name="T2" fmla="*/ 2147483647 w 243"/>
                <a:gd name="T3" fmla="*/ 2147483647 h 152"/>
                <a:gd name="T4" fmla="*/ 2147483647 w 243"/>
                <a:gd name="T5" fmla="*/ 2147483647 h 152"/>
                <a:gd name="T6" fmla="*/ 2147483647 w 243"/>
                <a:gd name="T7" fmla="*/ 2147483647 h 152"/>
                <a:gd name="T8" fmla="*/ 2147483647 w 243"/>
                <a:gd name="T9" fmla="*/ 2147483647 h 152"/>
                <a:gd name="T10" fmla="*/ 2147483647 w 243"/>
                <a:gd name="T11" fmla="*/ 2147483647 h 152"/>
                <a:gd name="T12" fmla="*/ 2147483647 w 243"/>
                <a:gd name="T13" fmla="*/ 2147483647 h 152"/>
                <a:gd name="T14" fmla="*/ 2147483647 w 243"/>
                <a:gd name="T15" fmla="*/ 2147483647 h 152"/>
                <a:gd name="T16" fmla="*/ 2147483647 w 243"/>
                <a:gd name="T17" fmla="*/ 2147483647 h 152"/>
                <a:gd name="T18" fmla="*/ 2147483647 w 243"/>
                <a:gd name="T19" fmla="*/ 2147483647 h 152"/>
                <a:gd name="T20" fmla="*/ 2147483647 w 243"/>
                <a:gd name="T21" fmla="*/ 2147483647 h 152"/>
                <a:gd name="T22" fmla="*/ 2147483647 w 243"/>
                <a:gd name="T23" fmla="*/ 2147483647 h 152"/>
                <a:gd name="T24" fmla="*/ 2147483647 w 243"/>
                <a:gd name="T25" fmla="*/ 2147483647 h 152"/>
                <a:gd name="T26" fmla="*/ 2147483647 w 243"/>
                <a:gd name="T27" fmla="*/ 2147483647 h 152"/>
                <a:gd name="T28" fmla="*/ 2147483647 w 243"/>
                <a:gd name="T29" fmla="*/ 2147483647 h 152"/>
                <a:gd name="T30" fmla="*/ 0 w 243"/>
                <a:gd name="T31" fmla="*/ 2147483647 h 152"/>
                <a:gd name="T32" fmla="*/ 2147483647 w 243"/>
                <a:gd name="T33" fmla="*/ 2147483647 h 152"/>
                <a:gd name="T34" fmla="*/ 2147483647 w 243"/>
                <a:gd name="T35" fmla="*/ 0 h 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3"/>
                <a:gd name="T55" fmla="*/ 0 h 152"/>
                <a:gd name="T56" fmla="*/ 243 w 243"/>
                <a:gd name="T57" fmla="*/ 152 h 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3" h="152">
                  <a:moveTo>
                    <a:pt x="51" y="0"/>
                  </a:moveTo>
                  <a:lnTo>
                    <a:pt x="88" y="8"/>
                  </a:lnTo>
                  <a:lnTo>
                    <a:pt x="142" y="62"/>
                  </a:lnTo>
                  <a:lnTo>
                    <a:pt x="198" y="36"/>
                  </a:lnTo>
                  <a:lnTo>
                    <a:pt x="243" y="123"/>
                  </a:lnTo>
                  <a:lnTo>
                    <a:pt x="214" y="134"/>
                  </a:lnTo>
                  <a:lnTo>
                    <a:pt x="184" y="152"/>
                  </a:lnTo>
                  <a:lnTo>
                    <a:pt x="168" y="144"/>
                  </a:lnTo>
                  <a:lnTo>
                    <a:pt x="127" y="126"/>
                  </a:lnTo>
                  <a:lnTo>
                    <a:pt x="100" y="122"/>
                  </a:lnTo>
                  <a:lnTo>
                    <a:pt x="84" y="132"/>
                  </a:lnTo>
                  <a:lnTo>
                    <a:pt x="63" y="131"/>
                  </a:lnTo>
                  <a:lnTo>
                    <a:pt x="25" y="98"/>
                  </a:lnTo>
                  <a:lnTo>
                    <a:pt x="12" y="81"/>
                  </a:lnTo>
                  <a:lnTo>
                    <a:pt x="3" y="47"/>
                  </a:lnTo>
                  <a:lnTo>
                    <a:pt x="0" y="20"/>
                  </a:lnTo>
                  <a:lnTo>
                    <a:pt x="28" y="12"/>
                  </a:lnTo>
                  <a:lnTo>
                    <a:pt x="51" y="0"/>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33" name="Freeform 1127"/>
            <p:cNvSpPr>
              <a:spLocks/>
            </p:cNvSpPr>
            <p:nvPr/>
          </p:nvSpPr>
          <p:spPr bwMode="auto">
            <a:xfrm>
              <a:off x="5099050" y="4418091"/>
              <a:ext cx="41275" cy="112713"/>
            </a:xfrm>
            <a:custGeom>
              <a:avLst/>
              <a:gdLst>
                <a:gd name="T0" fmla="*/ 2147483647 w 26"/>
                <a:gd name="T1" fmla="*/ 2147483647 h 71"/>
                <a:gd name="T2" fmla="*/ 0 w 26"/>
                <a:gd name="T3" fmla="*/ 2147483647 h 71"/>
                <a:gd name="T4" fmla="*/ 2147483647 w 26"/>
                <a:gd name="T5" fmla="*/ 2147483647 h 71"/>
                <a:gd name="T6" fmla="*/ 2147483647 w 26"/>
                <a:gd name="T7" fmla="*/ 2147483647 h 71"/>
                <a:gd name="T8" fmla="*/ 2147483647 w 26"/>
                <a:gd name="T9" fmla="*/ 2147483647 h 71"/>
                <a:gd name="T10" fmla="*/ 2147483647 w 26"/>
                <a:gd name="T11" fmla="*/ 2147483647 h 71"/>
                <a:gd name="T12" fmla="*/ 0 60000 65536"/>
                <a:gd name="T13" fmla="*/ 0 60000 65536"/>
                <a:gd name="T14" fmla="*/ 0 60000 65536"/>
                <a:gd name="T15" fmla="*/ 0 60000 65536"/>
                <a:gd name="T16" fmla="*/ 0 60000 65536"/>
                <a:gd name="T17" fmla="*/ 0 60000 65536"/>
                <a:gd name="T18" fmla="*/ 0 w 26"/>
                <a:gd name="T19" fmla="*/ 0 h 71"/>
                <a:gd name="T20" fmla="*/ 26 w 26"/>
                <a:gd name="T21" fmla="*/ 71 h 71"/>
              </a:gdLst>
              <a:ahLst/>
              <a:cxnLst>
                <a:cxn ang="T12">
                  <a:pos x="T0" y="T1"/>
                </a:cxn>
                <a:cxn ang="T13">
                  <a:pos x="T2" y="T3"/>
                </a:cxn>
                <a:cxn ang="T14">
                  <a:pos x="T4" y="T5"/>
                </a:cxn>
                <a:cxn ang="T15">
                  <a:pos x="T6" y="T7"/>
                </a:cxn>
                <a:cxn ang="T16">
                  <a:pos x="T8" y="T9"/>
                </a:cxn>
                <a:cxn ang="T17">
                  <a:pos x="T10" y="T11"/>
                </a:cxn>
              </a:cxnLst>
              <a:rect l="T18" t="T19" r="T20" b="T21"/>
              <a:pathLst>
                <a:path w="26" h="71">
                  <a:moveTo>
                    <a:pt x="12" y="64"/>
                  </a:moveTo>
                  <a:cubicBezTo>
                    <a:pt x="8" y="57"/>
                    <a:pt x="0" y="16"/>
                    <a:pt x="0" y="8"/>
                  </a:cubicBezTo>
                  <a:cubicBezTo>
                    <a:pt x="0" y="0"/>
                    <a:pt x="8" y="10"/>
                    <a:pt x="12" y="13"/>
                  </a:cubicBezTo>
                  <a:cubicBezTo>
                    <a:pt x="16" y="16"/>
                    <a:pt x="22" y="20"/>
                    <a:pt x="24" y="26"/>
                  </a:cubicBezTo>
                  <a:cubicBezTo>
                    <a:pt x="26" y="32"/>
                    <a:pt x="26" y="44"/>
                    <a:pt x="25" y="50"/>
                  </a:cubicBezTo>
                  <a:cubicBezTo>
                    <a:pt x="24" y="56"/>
                    <a:pt x="16" y="71"/>
                    <a:pt x="12" y="64"/>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34" name="Freeform 1128"/>
            <p:cNvSpPr>
              <a:spLocks/>
            </p:cNvSpPr>
            <p:nvPr/>
          </p:nvSpPr>
          <p:spPr bwMode="auto">
            <a:xfrm>
              <a:off x="5303838" y="4321253"/>
              <a:ext cx="153988" cy="188913"/>
            </a:xfrm>
            <a:custGeom>
              <a:avLst/>
              <a:gdLst>
                <a:gd name="T0" fmla="*/ 2147483647 w 97"/>
                <a:gd name="T1" fmla="*/ 2147483647 h 119"/>
                <a:gd name="T2" fmla="*/ 2147483647 w 97"/>
                <a:gd name="T3" fmla="*/ 2147483647 h 119"/>
                <a:gd name="T4" fmla="*/ 2147483647 w 97"/>
                <a:gd name="T5" fmla="*/ 2147483647 h 119"/>
                <a:gd name="T6" fmla="*/ 2147483647 w 97"/>
                <a:gd name="T7" fmla="*/ 2147483647 h 119"/>
                <a:gd name="T8" fmla="*/ 0 w 97"/>
                <a:gd name="T9" fmla="*/ 2147483647 h 119"/>
                <a:gd name="T10" fmla="*/ 2147483647 w 97"/>
                <a:gd name="T11" fmla="*/ 0 h 119"/>
                <a:gd name="T12" fmla="*/ 2147483647 w 97"/>
                <a:gd name="T13" fmla="*/ 2147483647 h 119"/>
                <a:gd name="T14" fmla="*/ 2147483647 w 97"/>
                <a:gd name="T15" fmla="*/ 2147483647 h 119"/>
                <a:gd name="T16" fmla="*/ 2147483647 w 97"/>
                <a:gd name="T17" fmla="*/ 2147483647 h 1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119"/>
                <a:gd name="T29" fmla="*/ 97 w 97"/>
                <a:gd name="T30" fmla="*/ 119 h 1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119">
                  <a:moveTo>
                    <a:pt x="97" y="108"/>
                  </a:moveTo>
                  <a:lnTo>
                    <a:pt x="72" y="119"/>
                  </a:lnTo>
                  <a:lnTo>
                    <a:pt x="52" y="80"/>
                  </a:lnTo>
                  <a:lnTo>
                    <a:pt x="42" y="62"/>
                  </a:lnTo>
                  <a:lnTo>
                    <a:pt x="0" y="5"/>
                  </a:lnTo>
                  <a:lnTo>
                    <a:pt x="15" y="0"/>
                  </a:lnTo>
                  <a:lnTo>
                    <a:pt x="64" y="60"/>
                  </a:lnTo>
                  <a:lnTo>
                    <a:pt x="90" y="62"/>
                  </a:lnTo>
                  <a:lnTo>
                    <a:pt x="97" y="108"/>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35" name="Freeform 1129"/>
            <p:cNvSpPr>
              <a:spLocks/>
            </p:cNvSpPr>
            <p:nvPr/>
          </p:nvSpPr>
          <p:spPr bwMode="auto">
            <a:xfrm>
              <a:off x="5270500" y="4181553"/>
              <a:ext cx="57150" cy="92075"/>
            </a:xfrm>
            <a:custGeom>
              <a:avLst/>
              <a:gdLst>
                <a:gd name="T0" fmla="*/ 2147483647 w 36"/>
                <a:gd name="T1" fmla="*/ 2147483647 h 58"/>
                <a:gd name="T2" fmla="*/ 0 w 36"/>
                <a:gd name="T3" fmla="*/ 2147483647 h 58"/>
                <a:gd name="T4" fmla="*/ 2147483647 w 36"/>
                <a:gd name="T5" fmla="*/ 0 h 58"/>
                <a:gd name="T6" fmla="*/ 2147483647 w 36"/>
                <a:gd name="T7" fmla="*/ 2147483647 h 58"/>
                <a:gd name="T8" fmla="*/ 0 60000 65536"/>
                <a:gd name="T9" fmla="*/ 0 60000 65536"/>
                <a:gd name="T10" fmla="*/ 0 60000 65536"/>
                <a:gd name="T11" fmla="*/ 0 60000 65536"/>
                <a:gd name="T12" fmla="*/ 0 w 36"/>
                <a:gd name="T13" fmla="*/ 0 h 58"/>
                <a:gd name="T14" fmla="*/ 36 w 36"/>
                <a:gd name="T15" fmla="*/ 58 h 58"/>
              </a:gdLst>
              <a:ahLst/>
              <a:cxnLst>
                <a:cxn ang="T8">
                  <a:pos x="T0" y="T1"/>
                </a:cxn>
                <a:cxn ang="T9">
                  <a:pos x="T2" y="T3"/>
                </a:cxn>
                <a:cxn ang="T10">
                  <a:pos x="T4" y="T5"/>
                </a:cxn>
                <a:cxn ang="T11">
                  <a:pos x="T6" y="T7"/>
                </a:cxn>
              </a:cxnLst>
              <a:rect l="T12" t="T13" r="T14" b="T15"/>
              <a:pathLst>
                <a:path w="36" h="58">
                  <a:moveTo>
                    <a:pt x="36" y="58"/>
                  </a:moveTo>
                  <a:lnTo>
                    <a:pt x="0" y="34"/>
                  </a:lnTo>
                  <a:lnTo>
                    <a:pt x="30" y="0"/>
                  </a:lnTo>
                  <a:lnTo>
                    <a:pt x="36" y="58"/>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36" name="Freeform 1130"/>
            <p:cNvSpPr>
              <a:spLocks/>
            </p:cNvSpPr>
            <p:nvPr/>
          </p:nvSpPr>
          <p:spPr bwMode="auto">
            <a:xfrm>
              <a:off x="5456238" y="4230766"/>
              <a:ext cx="168275" cy="223838"/>
            </a:xfrm>
            <a:custGeom>
              <a:avLst/>
              <a:gdLst>
                <a:gd name="T0" fmla="*/ 2147483647 w 106"/>
                <a:gd name="T1" fmla="*/ 0 h 141"/>
                <a:gd name="T2" fmla="*/ 2147483647 w 106"/>
                <a:gd name="T3" fmla="*/ 2147483647 h 141"/>
                <a:gd name="T4" fmla="*/ 0 w 106"/>
                <a:gd name="T5" fmla="*/ 2147483647 h 141"/>
                <a:gd name="T6" fmla="*/ 2147483647 w 106"/>
                <a:gd name="T7" fmla="*/ 2147483647 h 141"/>
                <a:gd name="T8" fmla="*/ 2147483647 w 106"/>
                <a:gd name="T9" fmla="*/ 2147483647 h 141"/>
                <a:gd name="T10" fmla="*/ 2147483647 w 106"/>
                <a:gd name="T11" fmla="*/ 2147483647 h 141"/>
                <a:gd name="T12" fmla="*/ 2147483647 w 106"/>
                <a:gd name="T13" fmla="*/ 0 h 141"/>
                <a:gd name="T14" fmla="*/ 0 60000 65536"/>
                <a:gd name="T15" fmla="*/ 0 60000 65536"/>
                <a:gd name="T16" fmla="*/ 0 60000 65536"/>
                <a:gd name="T17" fmla="*/ 0 60000 65536"/>
                <a:gd name="T18" fmla="*/ 0 60000 65536"/>
                <a:gd name="T19" fmla="*/ 0 60000 65536"/>
                <a:gd name="T20" fmla="*/ 0 60000 65536"/>
                <a:gd name="T21" fmla="*/ 0 w 106"/>
                <a:gd name="T22" fmla="*/ 0 h 141"/>
                <a:gd name="T23" fmla="*/ 106 w 106"/>
                <a:gd name="T24" fmla="*/ 141 h 1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141">
                  <a:moveTo>
                    <a:pt x="10" y="0"/>
                  </a:moveTo>
                  <a:lnTo>
                    <a:pt x="57" y="56"/>
                  </a:lnTo>
                  <a:lnTo>
                    <a:pt x="0" y="104"/>
                  </a:lnTo>
                  <a:lnTo>
                    <a:pt x="61" y="141"/>
                  </a:lnTo>
                  <a:lnTo>
                    <a:pt x="106" y="78"/>
                  </a:lnTo>
                  <a:lnTo>
                    <a:pt x="55" y="3"/>
                  </a:lnTo>
                  <a:lnTo>
                    <a:pt x="10" y="0"/>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37" name="Freeform 1131"/>
            <p:cNvSpPr>
              <a:spLocks/>
            </p:cNvSpPr>
            <p:nvPr/>
          </p:nvSpPr>
          <p:spPr bwMode="auto">
            <a:xfrm>
              <a:off x="5953125" y="4564141"/>
              <a:ext cx="176213" cy="119063"/>
            </a:xfrm>
            <a:custGeom>
              <a:avLst/>
              <a:gdLst>
                <a:gd name="T0" fmla="*/ 2147483647 w 111"/>
                <a:gd name="T1" fmla="*/ 2147483647 h 75"/>
                <a:gd name="T2" fmla="*/ 2147483647 w 111"/>
                <a:gd name="T3" fmla="*/ 2147483647 h 75"/>
                <a:gd name="T4" fmla="*/ 2147483647 w 111"/>
                <a:gd name="T5" fmla="*/ 2147483647 h 75"/>
                <a:gd name="T6" fmla="*/ 2147483647 w 111"/>
                <a:gd name="T7" fmla="*/ 2147483647 h 75"/>
                <a:gd name="T8" fmla="*/ 0 w 111"/>
                <a:gd name="T9" fmla="*/ 2147483647 h 75"/>
                <a:gd name="T10" fmla="*/ 2147483647 w 111"/>
                <a:gd name="T11" fmla="*/ 2147483647 h 75"/>
                <a:gd name="T12" fmla="*/ 2147483647 w 111"/>
                <a:gd name="T13" fmla="*/ 2147483647 h 75"/>
                <a:gd name="T14" fmla="*/ 2147483647 w 111"/>
                <a:gd name="T15" fmla="*/ 2147483647 h 75"/>
                <a:gd name="T16" fmla="*/ 2147483647 w 111"/>
                <a:gd name="T17" fmla="*/ 0 h 75"/>
                <a:gd name="T18" fmla="*/ 2147483647 w 111"/>
                <a:gd name="T19" fmla="*/ 2147483647 h 7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75"/>
                <a:gd name="T32" fmla="*/ 111 w 111"/>
                <a:gd name="T33" fmla="*/ 75 h 7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75">
                  <a:moveTo>
                    <a:pt x="111" y="21"/>
                  </a:moveTo>
                  <a:lnTo>
                    <a:pt x="39" y="48"/>
                  </a:lnTo>
                  <a:lnTo>
                    <a:pt x="21" y="60"/>
                  </a:lnTo>
                  <a:lnTo>
                    <a:pt x="9" y="75"/>
                  </a:lnTo>
                  <a:lnTo>
                    <a:pt x="0" y="63"/>
                  </a:lnTo>
                  <a:lnTo>
                    <a:pt x="8" y="47"/>
                  </a:lnTo>
                  <a:lnTo>
                    <a:pt x="36" y="24"/>
                  </a:lnTo>
                  <a:lnTo>
                    <a:pt x="71" y="11"/>
                  </a:lnTo>
                  <a:lnTo>
                    <a:pt x="84" y="0"/>
                  </a:lnTo>
                  <a:lnTo>
                    <a:pt x="111" y="21"/>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38" name="Freeform 1132"/>
            <p:cNvSpPr>
              <a:spLocks/>
            </p:cNvSpPr>
            <p:nvPr/>
          </p:nvSpPr>
          <p:spPr bwMode="auto">
            <a:xfrm>
              <a:off x="5718175" y="5095953"/>
              <a:ext cx="114300" cy="103188"/>
            </a:xfrm>
            <a:custGeom>
              <a:avLst/>
              <a:gdLst>
                <a:gd name="T0" fmla="*/ 2147483647 w 72"/>
                <a:gd name="T1" fmla="*/ 2147483647 h 65"/>
                <a:gd name="T2" fmla="*/ 2147483647 w 72"/>
                <a:gd name="T3" fmla="*/ 2147483647 h 65"/>
                <a:gd name="T4" fmla="*/ 2147483647 w 72"/>
                <a:gd name="T5" fmla="*/ 2147483647 h 65"/>
                <a:gd name="T6" fmla="*/ 2147483647 w 72"/>
                <a:gd name="T7" fmla="*/ 2147483647 h 65"/>
                <a:gd name="T8" fmla="*/ 2147483647 w 72"/>
                <a:gd name="T9" fmla="*/ 2147483647 h 65"/>
                <a:gd name="T10" fmla="*/ 2147483647 w 72"/>
                <a:gd name="T11" fmla="*/ 2147483647 h 65"/>
                <a:gd name="T12" fmla="*/ 2147483647 w 72"/>
                <a:gd name="T13" fmla="*/ 2147483647 h 65"/>
                <a:gd name="T14" fmla="*/ 2147483647 w 72"/>
                <a:gd name="T15" fmla="*/ 2147483647 h 65"/>
                <a:gd name="T16" fmla="*/ 2147483647 w 72"/>
                <a:gd name="T17" fmla="*/ 2147483647 h 65"/>
                <a:gd name="T18" fmla="*/ 2147483647 w 72"/>
                <a:gd name="T19" fmla="*/ 2147483647 h 65"/>
                <a:gd name="T20" fmla="*/ 2147483647 w 72"/>
                <a:gd name="T21" fmla="*/ 2147483647 h 65"/>
                <a:gd name="T22" fmla="*/ 2147483647 w 72"/>
                <a:gd name="T23" fmla="*/ 2147483647 h 65"/>
                <a:gd name="T24" fmla="*/ 2147483647 w 72"/>
                <a:gd name="T25" fmla="*/ 2147483647 h 65"/>
                <a:gd name="T26" fmla="*/ 2147483647 w 72"/>
                <a:gd name="T27" fmla="*/ 2147483647 h 65"/>
                <a:gd name="T28" fmla="*/ 2147483647 w 72"/>
                <a:gd name="T29" fmla="*/ 2147483647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65"/>
                <a:gd name="T47" fmla="*/ 72 w 7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65">
                  <a:moveTo>
                    <a:pt x="69" y="1"/>
                  </a:moveTo>
                  <a:cubicBezTo>
                    <a:pt x="66" y="0"/>
                    <a:pt x="52" y="5"/>
                    <a:pt x="45" y="7"/>
                  </a:cubicBezTo>
                  <a:cubicBezTo>
                    <a:pt x="38" y="9"/>
                    <a:pt x="34" y="11"/>
                    <a:pt x="28" y="13"/>
                  </a:cubicBezTo>
                  <a:cubicBezTo>
                    <a:pt x="22" y="15"/>
                    <a:pt x="14" y="17"/>
                    <a:pt x="10" y="19"/>
                  </a:cubicBezTo>
                  <a:cubicBezTo>
                    <a:pt x="6" y="21"/>
                    <a:pt x="0" y="25"/>
                    <a:pt x="1" y="27"/>
                  </a:cubicBezTo>
                  <a:cubicBezTo>
                    <a:pt x="2" y="29"/>
                    <a:pt x="13" y="29"/>
                    <a:pt x="16" y="31"/>
                  </a:cubicBezTo>
                  <a:cubicBezTo>
                    <a:pt x="19" y="33"/>
                    <a:pt x="20" y="36"/>
                    <a:pt x="21" y="40"/>
                  </a:cubicBezTo>
                  <a:cubicBezTo>
                    <a:pt x="22" y="44"/>
                    <a:pt x="22" y="50"/>
                    <a:pt x="25" y="54"/>
                  </a:cubicBezTo>
                  <a:cubicBezTo>
                    <a:pt x="28" y="58"/>
                    <a:pt x="38" y="62"/>
                    <a:pt x="42" y="63"/>
                  </a:cubicBezTo>
                  <a:cubicBezTo>
                    <a:pt x="46" y="64"/>
                    <a:pt x="50" y="65"/>
                    <a:pt x="52" y="63"/>
                  </a:cubicBezTo>
                  <a:cubicBezTo>
                    <a:pt x="54" y="61"/>
                    <a:pt x="55" y="53"/>
                    <a:pt x="54" y="49"/>
                  </a:cubicBezTo>
                  <a:cubicBezTo>
                    <a:pt x="53" y="45"/>
                    <a:pt x="44" y="44"/>
                    <a:pt x="45" y="40"/>
                  </a:cubicBezTo>
                  <a:cubicBezTo>
                    <a:pt x="46" y="36"/>
                    <a:pt x="55" y="26"/>
                    <a:pt x="58" y="22"/>
                  </a:cubicBezTo>
                  <a:cubicBezTo>
                    <a:pt x="61" y="18"/>
                    <a:pt x="65" y="16"/>
                    <a:pt x="66" y="13"/>
                  </a:cubicBezTo>
                  <a:cubicBezTo>
                    <a:pt x="67" y="10"/>
                    <a:pt x="72" y="2"/>
                    <a:pt x="69" y="1"/>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39" name="Freeform 1133"/>
            <p:cNvSpPr>
              <a:spLocks/>
            </p:cNvSpPr>
            <p:nvPr/>
          </p:nvSpPr>
          <p:spPr bwMode="auto">
            <a:xfrm>
              <a:off x="6270625" y="4673678"/>
              <a:ext cx="109538" cy="112713"/>
            </a:xfrm>
            <a:custGeom>
              <a:avLst/>
              <a:gdLst>
                <a:gd name="T0" fmla="*/ 0 w 69"/>
                <a:gd name="T1" fmla="*/ 2147483647 h 71"/>
                <a:gd name="T2" fmla="*/ 2147483647 w 69"/>
                <a:gd name="T3" fmla="*/ 0 h 71"/>
                <a:gd name="T4" fmla="*/ 2147483647 w 69"/>
                <a:gd name="T5" fmla="*/ 2147483647 h 71"/>
                <a:gd name="T6" fmla="*/ 2147483647 w 69"/>
                <a:gd name="T7" fmla="*/ 2147483647 h 71"/>
                <a:gd name="T8" fmla="*/ 0 w 69"/>
                <a:gd name="T9" fmla="*/ 2147483647 h 71"/>
                <a:gd name="T10" fmla="*/ 0 60000 65536"/>
                <a:gd name="T11" fmla="*/ 0 60000 65536"/>
                <a:gd name="T12" fmla="*/ 0 60000 65536"/>
                <a:gd name="T13" fmla="*/ 0 60000 65536"/>
                <a:gd name="T14" fmla="*/ 0 60000 65536"/>
                <a:gd name="T15" fmla="*/ 0 w 69"/>
                <a:gd name="T16" fmla="*/ 0 h 71"/>
                <a:gd name="T17" fmla="*/ 69 w 69"/>
                <a:gd name="T18" fmla="*/ 71 h 71"/>
              </a:gdLst>
              <a:ahLst/>
              <a:cxnLst>
                <a:cxn ang="T10">
                  <a:pos x="T0" y="T1"/>
                </a:cxn>
                <a:cxn ang="T11">
                  <a:pos x="T2" y="T3"/>
                </a:cxn>
                <a:cxn ang="T12">
                  <a:pos x="T4" y="T5"/>
                </a:cxn>
                <a:cxn ang="T13">
                  <a:pos x="T6" y="T7"/>
                </a:cxn>
                <a:cxn ang="T14">
                  <a:pos x="T8" y="T9"/>
                </a:cxn>
              </a:cxnLst>
              <a:rect l="T15" t="T16" r="T17" b="T18"/>
              <a:pathLst>
                <a:path w="69" h="71">
                  <a:moveTo>
                    <a:pt x="0" y="12"/>
                  </a:moveTo>
                  <a:lnTo>
                    <a:pt x="66" y="0"/>
                  </a:lnTo>
                  <a:lnTo>
                    <a:pt x="69" y="42"/>
                  </a:lnTo>
                  <a:lnTo>
                    <a:pt x="19" y="71"/>
                  </a:lnTo>
                  <a:lnTo>
                    <a:pt x="0" y="12"/>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40" name="Freeform 1134"/>
            <p:cNvSpPr>
              <a:spLocks/>
            </p:cNvSpPr>
            <p:nvPr/>
          </p:nvSpPr>
          <p:spPr bwMode="auto">
            <a:xfrm>
              <a:off x="5545138" y="4638753"/>
              <a:ext cx="465138" cy="473075"/>
            </a:xfrm>
            <a:custGeom>
              <a:avLst/>
              <a:gdLst>
                <a:gd name="T0" fmla="*/ 2147483647 w 293"/>
                <a:gd name="T1" fmla="*/ 2147483647 h 298"/>
                <a:gd name="T2" fmla="*/ 2147483647 w 293"/>
                <a:gd name="T3" fmla="*/ 2147483647 h 298"/>
                <a:gd name="T4" fmla="*/ 2147483647 w 293"/>
                <a:gd name="T5" fmla="*/ 2147483647 h 298"/>
                <a:gd name="T6" fmla="*/ 2147483647 w 293"/>
                <a:gd name="T7" fmla="*/ 2147483647 h 298"/>
                <a:gd name="T8" fmla="*/ 2147483647 w 293"/>
                <a:gd name="T9" fmla="*/ 2147483647 h 298"/>
                <a:gd name="T10" fmla="*/ 2147483647 w 293"/>
                <a:gd name="T11" fmla="*/ 2147483647 h 298"/>
                <a:gd name="T12" fmla="*/ 2147483647 w 293"/>
                <a:gd name="T13" fmla="*/ 2147483647 h 298"/>
                <a:gd name="T14" fmla="*/ 2147483647 w 293"/>
                <a:gd name="T15" fmla="*/ 2147483647 h 298"/>
                <a:gd name="T16" fmla="*/ 2147483647 w 293"/>
                <a:gd name="T17" fmla="*/ 2147483647 h 298"/>
                <a:gd name="T18" fmla="*/ 2147483647 w 293"/>
                <a:gd name="T19" fmla="*/ 2147483647 h 298"/>
                <a:gd name="T20" fmla="*/ 2147483647 w 293"/>
                <a:gd name="T21" fmla="*/ 2147483647 h 298"/>
                <a:gd name="T22" fmla="*/ 2147483647 w 293"/>
                <a:gd name="T23" fmla="*/ 2147483647 h 298"/>
                <a:gd name="T24" fmla="*/ 2147483647 w 293"/>
                <a:gd name="T25" fmla="*/ 2147483647 h 298"/>
                <a:gd name="T26" fmla="*/ 2147483647 w 293"/>
                <a:gd name="T27" fmla="*/ 2147483647 h 298"/>
                <a:gd name="T28" fmla="*/ 2147483647 w 293"/>
                <a:gd name="T29" fmla="*/ 2147483647 h 298"/>
                <a:gd name="T30" fmla="*/ 2147483647 w 293"/>
                <a:gd name="T31" fmla="*/ 2147483647 h 298"/>
                <a:gd name="T32" fmla="*/ 2147483647 w 293"/>
                <a:gd name="T33" fmla="*/ 2147483647 h 298"/>
                <a:gd name="T34" fmla="*/ 2147483647 w 293"/>
                <a:gd name="T35" fmla="*/ 2147483647 h 298"/>
                <a:gd name="T36" fmla="*/ 2147483647 w 293"/>
                <a:gd name="T37" fmla="*/ 2147483647 h 298"/>
                <a:gd name="T38" fmla="*/ 2147483647 w 293"/>
                <a:gd name="T39" fmla="*/ 2147483647 h 298"/>
                <a:gd name="T40" fmla="*/ 2147483647 w 293"/>
                <a:gd name="T41" fmla="*/ 2147483647 h 298"/>
                <a:gd name="T42" fmla="*/ 2147483647 w 293"/>
                <a:gd name="T43" fmla="*/ 2147483647 h 298"/>
                <a:gd name="T44" fmla="*/ 2147483647 w 293"/>
                <a:gd name="T45" fmla="*/ 2147483647 h 298"/>
                <a:gd name="T46" fmla="*/ 2147483647 w 293"/>
                <a:gd name="T47" fmla="*/ 2147483647 h 298"/>
                <a:gd name="T48" fmla="*/ 2147483647 w 293"/>
                <a:gd name="T49" fmla="*/ 2147483647 h 298"/>
                <a:gd name="T50" fmla="*/ 2147483647 w 293"/>
                <a:gd name="T51" fmla="*/ 2147483647 h 298"/>
                <a:gd name="T52" fmla="*/ 2147483647 w 293"/>
                <a:gd name="T53" fmla="*/ 2147483647 h 298"/>
                <a:gd name="T54" fmla="*/ 2147483647 w 293"/>
                <a:gd name="T55" fmla="*/ 2147483647 h 298"/>
                <a:gd name="T56" fmla="*/ 2147483647 w 293"/>
                <a:gd name="T57" fmla="*/ 2147483647 h 298"/>
                <a:gd name="T58" fmla="*/ 2147483647 w 293"/>
                <a:gd name="T59" fmla="*/ 2147483647 h 298"/>
                <a:gd name="T60" fmla="*/ 2147483647 w 293"/>
                <a:gd name="T61" fmla="*/ 2147483647 h 298"/>
                <a:gd name="T62" fmla="*/ 2147483647 w 293"/>
                <a:gd name="T63" fmla="*/ 2147483647 h 298"/>
                <a:gd name="T64" fmla="*/ 2147483647 w 293"/>
                <a:gd name="T65" fmla="*/ 2147483647 h 298"/>
                <a:gd name="T66" fmla="*/ 2147483647 w 293"/>
                <a:gd name="T67" fmla="*/ 2147483647 h 298"/>
                <a:gd name="T68" fmla="*/ 2147483647 w 293"/>
                <a:gd name="T69" fmla="*/ 2147483647 h 298"/>
                <a:gd name="T70" fmla="*/ 2147483647 w 293"/>
                <a:gd name="T71" fmla="*/ 2147483647 h 298"/>
                <a:gd name="T72" fmla="*/ 2147483647 w 293"/>
                <a:gd name="T73" fmla="*/ 2147483647 h 298"/>
                <a:gd name="T74" fmla="*/ 2147483647 w 293"/>
                <a:gd name="T75" fmla="*/ 2147483647 h 298"/>
                <a:gd name="T76" fmla="*/ 2147483647 w 293"/>
                <a:gd name="T77" fmla="*/ 2147483647 h 29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93"/>
                <a:gd name="T118" fmla="*/ 0 h 298"/>
                <a:gd name="T119" fmla="*/ 293 w 293"/>
                <a:gd name="T120" fmla="*/ 298 h 29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93" h="298">
                  <a:moveTo>
                    <a:pt x="148" y="285"/>
                  </a:moveTo>
                  <a:cubicBezTo>
                    <a:pt x="108" y="284"/>
                    <a:pt x="68" y="283"/>
                    <a:pt x="52" y="277"/>
                  </a:cubicBezTo>
                  <a:cubicBezTo>
                    <a:pt x="36" y="271"/>
                    <a:pt x="54" y="257"/>
                    <a:pt x="53" y="249"/>
                  </a:cubicBezTo>
                  <a:cubicBezTo>
                    <a:pt x="52" y="241"/>
                    <a:pt x="52" y="235"/>
                    <a:pt x="47" y="226"/>
                  </a:cubicBezTo>
                  <a:cubicBezTo>
                    <a:pt x="42" y="217"/>
                    <a:pt x="32" y="204"/>
                    <a:pt x="25" y="196"/>
                  </a:cubicBezTo>
                  <a:cubicBezTo>
                    <a:pt x="18" y="188"/>
                    <a:pt x="9" y="182"/>
                    <a:pt x="5" y="175"/>
                  </a:cubicBezTo>
                  <a:cubicBezTo>
                    <a:pt x="1" y="168"/>
                    <a:pt x="0" y="159"/>
                    <a:pt x="2" y="154"/>
                  </a:cubicBezTo>
                  <a:cubicBezTo>
                    <a:pt x="4" y="149"/>
                    <a:pt x="10" y="146"/>
                    <a:pt x="16" y="144"/>
                  </a:cubicBezTo>
                  <a:cubicBezTo>
                    <a:pt x="22" y="142"/>
                    <a:pt x="32" y="144"/>
                    <a:pt x="38" y="144"/>
                  </a:cubicBezTo>
                  <a:cubicBezTo>
                    <a:pt x="44" y="144"/>
                    <a:pt x="58" y="146"/>
                    <a:pt x="53" y="141"/>
                  </a:cubicBezTo>
                  <a:cubicBezTo>
                    <a:pt x="48" y="136"/>
                    <a:pt x="13" y="127"/>
                    <a:pt x="10" y="114"/>
                  </a:cubicBezTo>
                  <a:cubicBezTo>
                    <a:pt x="7" y="101"/>
                    <a:pt x="27" y="74"/>
                    <a:pt x="32" y="63"/>
                  </a:cubicBezTo>
                  <a:cubicBezTo>
                    <a:pt x="37" y="52"/>
                    <a:pt x="33" y="53"/>
                    <a:pt x="38" y="46"/>
                  </a:cubicBezTo>
                  <a:cubicBezTo>
                    <a:pt x="43" y="39"/>
                    <a:pt x="57" y="29"/>
                    <a:pt x="64" y="22"/>
                  </a:cubicBezTo>
                  <a:cubicBezTo>
                    <a:pt x="71" y="15"/>
                    <a:pt x="75" y="7"/>
                    <a:pt x="83" y="4"/>
                  </a:cubicBezTo>
                  <a:cubicBezTo>
                    <a:pt x="91" y="1"/>
                    <a:pt x="105" y="0"/>
                    <a:pt x="113" y="1"/>
                  </a:cubicBezTo>
                  <a:cubicBezTo>
                    <a:pt x="121" y="2"/>
                    <a:pt x="130" y="8"/>
                    <a:pt x="131" y="12"/>
                  </a:cubicBezTo>
                  <a:cubicBezTo>
                    <a:pt x="132" y="16"/>
                    <a:pt x="126" y="24"/>
                    <a:pt x="122" y="28"/>
                  </a:cubicBezTo>
                  <a:cubicBezTo>
                    <a:pt x="118" y="32"/>
                    <a:pt x="111" y="35"/>
                    <a:pt x="109" y="39"/>
                  </a:cubicBezTo>
                  <a:cubicBezTo>
                    <a:pt x="107" y="43"/>
                    <a:pt x="109" y="50"/>
                    <a:pt x="112" y="51"/>
                  </a:cubicBezTo>
                  <a:cubicBezTo>
                    <a:pt x="115" y="52"/>
                    <a:pt x="117" y="42"/>
                    <a:pt x="128" y="48"/>
                  </a:cubicBezTo>
                  <a:cubicBezTo>
                    <a:pt x="139" y="54"/>
                    <a:pt x="166" y="82"/>
                    <a:pt x="176" y="87"/>
                  </a:cubicBezTo>
                  <a:cubicBezTo>
                    <a:pt x="186" y="92"/>
                    <a:pt x="184" y="83"/>
                    <a:pt x="187" y="79"/>
                  </a:cubicBezTo>
                  <a:cubicBezTo>
                    <a:pt x="190" y="75"/>
                    <a:pt x="186" y="58"/>
                    <a:pt x="194" y="61"/>
                  </a:cubicBezTo>
                  <a:cubicBezTo>
                    <a:pt x="202" y="64"/>
                    <a:pt x="226" y="89"/>
                    <a:pt x="233" y="99"/>
                  </a:cubicBezTo>
                  <a:cubicBezTo>
                    <a:pt x="240" y="109"/>
                    <a:pt x="235" y="115"/>
                    <a:pt x="236" y="121"/>
                  </a:cubicBezTo>
                  <a:cubicBezTo>
                    <a:pt x="237" y="127"/>
                    <a:pt x="236" y="133"/>
                    <a:pt x="239" y="138"/>
                  </a:cubicBezTo>
                  <a:cubicBezTo>
                    <a:pt x="242" y="143"/>
                    <a:pt x="248" y="148"/>
                    <a:pt x="253" y="154"/>
                  </a:cubicBezTo>
                  <a:cubicBezTo>
                    <a:pt x="258" y="160"/>
                    <a:pt x="261" y="167"/>
                    <a:pt x="268" y="175"/>
                  </a:cubicBezTo>
                  <a:cubicBezTo>
                    <a:pt x="275" y="183"/>
                    <a:pt x="291" y="194"/>
                    <a:pt x="292" y="202"/>
                  </a:cubicBezTo>
                  <a:cubicBezTo>
                    <a:pt x="293" y="210"/>
                    <a:pt x="278" y="215"/>
                    <a:pt x="272" y="222"/>
                  </a:cubicBezTo>
                  <a:cubicBezTo>
                    <a:pt x="266" y="229"/>
                    <a:pt x="259" y="235"/>
                    <a:pt x="256" y="243"/>
                  </a:cubicBezTo>
                  <a:cubicBezTo>
                    <a:pt x="253" y="251"/>
                    <a:pt x="255" y="265"/>
                    <a:pt x="254" y="273"/>
                  </a:cubicBezTo>
                  <a:cubicBezTo>
                    <a:pt x="253" y="281"/>
                    <a:pt x="251" y="290"/>
                    <a:pt x="248" y="294"/>
                  </a:cubicBezTo>
                  <a:cubicBezTo>
                    <a:pt x="245" y="298"/>
                    <a:pt x="242" y="295"/>
                    <a:pt x="235" y="295"/>
                  </a:cubicBezTo>
                  <a:cubicBezTo>
                    <a:pt x="228" y="295"/>
                    <a:pt x="217" y="295"/>
                    <a:pt x="206" y="294"/>
                  </a:cubicBezTo>
                  <a:cubicBezTo>
                    <a:pt x="195" y="293"/>
                    <a:pt x="183" y="290"/>
                    <a:pt x="167" y="288"/>
                  </a:cubicBezTo>
                  <a:cubicBezTo>
                    <a:pt x="151" y="286"/>
                    <a:pt x="122" y="284"/>
                    <a:pt x="109" y="283"/>
                  </a:cubicBezTo>
                  <a:cubicBezTo>
                    <a:pt x="96" y="282"/>
                    <a:pt x="92" y="283"/>
                    <a:pt x="89" y="283"/>
                  </a:cubicBezTo>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41" name="Freeform 1135"/>
            <p:cNvSpPr>
              <a:spLocks/>
            </p:cNvSpPr>
            <p:nvPr/>
          </p:nvSpPr>
          <p:spPr bwMode="auto">
            <a:xfrm>
              <a:off x="5778500" y="4889578"/>
              <a:ext cx="806450" cy="1019175"/>
            </a:xfrm>
            <a:custGeom>
              <a:avLst/>
              <a:gdLst>
                <a:gd name="T0" fmla="*/ 2147483647 w 508"/>
                <a:gd name="T1" fmla="*/ 2147483647 h 642"/>
                <a:gd name="T2" fmla="*/ 2147483647 w 508"/>
                <a:gd name="T3" fmla="*/ 2147483647 h 642"/>
                <a:gd name="T4" fmla="*/ 2147483647 w 508"/>
                <a:gd name="T5" fmla="*/ 2147483647 h 642"/>
                <a:gd name="T6" fmla="*/ 2147483647 w 508"/>
                <a:gd name="T7" fmla="*/ 2147483647 h 642"/>
                <a:gd name="T8" fmla="*/ 2147483647 w 508"/>
                <a:gd name="T9" fmla="*/ 2147483647 h 642"/>
                <a:gd name="T10" fmla="*/ 2147483647 w 508"/>
                <a:gd name="T11" fmla="*/ 2147483647 h 642"/>
                <a:gd name="T12" fmla="*/ 2147483647 w 508"/>
                <a:gd name="T13" fmla="*/ 2147483647 h 642"/>
                <a:gd name="T14" fmla="*/ 2147483647 w 508"/>
                <a:gd name="T15" fmla="*/ 2147483647 h 642"/>
                <a:gd name="T16" fmla="*/ 2147483647 w 508"/>
                <a:gd name="T17" fmla="*/ 2147483647 h 642"/>
                <a:gd name="T18" fmla="*/ 2147483647 w 508"/>
                <a:gd name="T19" fmla="*/ 2147483647 h 642"/>
                <a:gd name="T20" fmla="*/ 2147483647 w 508"/>
                <a:gd name="T21" fmla="*/ 2147483647 h 642"/>
                <a:gd name="T22" fmla="*/ 2147483647 w 508"/>
                <a:gd name="T23" fmla="*/ 2147483647 h 642"/>
                <a:gd name="T24" fmla="*/ 2147483647 w 508"/>
                <a:gd name="T25" fmla="*/ 2147483647 h 642"/>
                <a:gd name="T26" fmla="*/ 2147483647 w 508"/>
                <a:gd name="T27" fmla="*/ 2147483647 h 642"/>
                <a:gd name="T28" fmla="*/ 2147483647 w 508"/>
                <a:gd name="T29" fmla="*/ 2147483647 h 642"/>
                <a:gd name="T30" fmla="*/ 2147483647 w 508"/>
                <a:gd name="T31" fmla="*/ 2147483647 h 642"/>
                <a:gd name="T32" fmla="*/ 2147483647 w 508"/>
                <a:gd name="T33" fmla="*/ 2147483647 h 642"/>
                <a:gd name="T34" fmla="*/ 2147483647 w 508"/>
                <a:gd name="T35" fmla="*/ 2147483647 h 642"/>
                <a:gd name="T36" fmla="*/ 2147483647 w 508"/>
                <a:gd name="T37" fmla="*/ 2147483647 h 642"/>
                <a:gd name="T38" fmla="*/ 2147483647 w 508"/>
                <a:gd name="T39" fmla="*/ 2147483647 h 642"/>
                <a:gd name="T40" fmla="*/ 2147483647 w 508"/>
                <a:gd name="T41" fmla="*/ 2147483647 h 642"/>
                <a:gd name="T42" fmla="*/ 2147483647 w 508"/>
                <a:gd name="T43" fmla="*/ 2147483647 h 642"/>
                <a:gd name="T44" fmla="*/ 2147483647 w 508"/>
                <a:gd name="T45" fmla="*/ 2147483647 h 642"/>
                <a:gd name="T46" fmla="*/ 2147483647 w 508"/>
                <a:gd name="T47" fmla="*/ 2147483647 h 642"/>
                <a:gd name="T48" fmla="*/ 2147483647 w 508"/>
                <a:gd name="T49" fmla="*/ 2147483647 h 642"/>
                <a:gd name="T50" fmla="*/ 2147483647 w 508"/>
                <a:gd name="T51" fmla="*/ 2147483647 h 642"/>
                <a:gd name="T52" fmla="*/ 2147483647 w 508"/>
                <a:gd name="T53" fmla="*/ 2147483647 h 642"/>
                <a:gd name="T54" fmla="*/ 2147483647 w 508"/>
                <a:gd name="T55" fmla="*/ 2147483647 h 642"/>
                <a:gd name="T56" fmla="*/ 2147483647 w 508"/>
                <a:gd name="T57" fmla="*/ 2147483647 h 642"/>
                <a:gd name="T58" fmla="*/ 2147483647 w 508"/>
                <a:gd name="T59" fmla="*/ 2147483647 h 642"/>
                <a:gd name="T60" fmla="*/ 2147483647 w 508"/>
                <a:gd name="T61" fmla="*/ 2147483647 h 642"/>
                <a:gd name="T62" fmla="*/ 2147483647 w 508"/>
                <a:gd name="T63" fmla="*/ 2147483647 h 642"/>
                <a:gd name="T64" fmla="*/ 2147483647 w 508"/>
                <a:gd name="T65" fmla="*/ 2147483647 h 642"/>
                <a:gd name="T66" fmla="*/ 2147483647 w 508"/>
                <a:gd name="T67" fmla="*/ 2147483647 h 642"/>
                <a:gd name="T68" fmla="*/ 2147483647 w 508"/>
                <a:gd name="T69" fmla="*/ 2147483647 h 642"/>
                <a:gd name="T70" fmla="*/ 2147483647 w 508"/>
                <a:gd name="T71" fmla="*/ 2147483647 h 642"/>
                <a:gd name="T72" fmla="*/ 2147483647 w 508"/>
                <a:gd name="T73" fmla="*/ 2147483647 h 642"/>
                <a:gd name="T74" fmla="*/ 2147483647 w 508"/>
                <a:gd name="T75" fmla="*/ 2147483647 h 642"/>
                <a:gd name="T76" fmla="*/ 2147483647 w 508"/>
                <a:gd name="T77" fmla="*/ 2147483647 h 642"/>
                <a:gd name="T78" fmla="*/ 2147483647 w 508"/>
                <a:gd name="T79" fmla="*/ 2147483647 h 642"/>
                <a:gd name="T80" fmla="*/ 2147483647 w 508"/>
                <a:gd name="T81" fmla="*/ 2147483647 h 642"/>
                <a:gd name="T82" fmla="*/ 2147483647 w 508"/>
                <a:gd name="T83" fmla="*/ 2147483647 h 642"/>
                <a:gd name="T84" fmla="*/ 2147483647 w 508"/>
                <a:gd name="T85" fmla="*/ 2147483647 h 642"/>
                <a:gd name="T86" fmla="*/ 2147483647 w 508"/>
                <a:gd name="T87" fmla="*/ 2147483647 h 642"/>
                <a:gd name="T88" fmla="*/ 2147483647 w 508"/>
                <a:gd name="T89" fmla="*/ 2147483647 h 642"/>
                <a:gd name="T90" fmla="*/ 2147483647 w 508"/>
                <a:gd name="T91" fmla="*/ 2147483647 h 642"/>
                <a:gd name="T92" fmla="*/ 2147483647 w 508"/>
                <a:gd name="T93" fmla="*/ 2147483647 h 642"/>
                <a:gd name="T94" fmla="*/ 2147483647 w 508"/>
                <a:gd name="T95" fmla="*/ 2147483647 h 642"/>
                <a:gd name="T96" fmla="*/ 2147483647 w 508"/>
                <a:gd name="T97" fmla="*/ 2147483647 h 642"/>
                <a:gd name="T98" fmla="*/ 2147483647 w 508"/>
                <a:gd name="T99" fmla="*/ 2147483647 h 642"/>
                <a:gd name="T100" fmla="*/ 2147483647 w 508"/>
                <a:gd name="T101" fmla="*/ 2147483647 h 642"/>
                <a:gd name="T102" fmla="*/ 2147483647 w 508"/>
                <a:gd name="T103" fmla="*/ 2147483647 h 642"/>
                <a:gd name="T104" fmla="*/ 2147483647 w 508"/>
                <a:gd name="T105" fmla="*/ 2147483647 h 642"/>
                <a:gd name="T106" fmla="*/ 2147483647 w 508"/>
                <a:gd name="T107" fmla="*/ 2147483647 h 64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08"/>
                <a:gd name="T163" fmla="*/ 0 h 642"/>
                <a:gd name="T164" fmla="*/ 508 w 508"/>
                <a:gd name="T165" fmla="*/ 642 h 64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08" h="642">
                  <a:moveTo>
                    <a:pt x="38" y="209"/>
                  </a:moveTo>
                  <a:cubicBezTo>
                    <a:pt x="32" y="204"/>
                    <a:pt x="24" y="195"/>
                    <a:pt x="19" y="190"/>
                  </a:cubicBezTo>
                  <a:cubicBezTo>
                    <a:pt x="14" y="185"/>
                    <a:pt x="8" y="183"/>
                    <a:pt x="5" y="178"/>
                  </a:cubicBezTo>
                  <a:cubicBezTo>
                    <a:pt x="2" y="173"/>
                    <a:pt x="0" y="163"/>
                    <a:pt x="2" y="158"/>
                  </a:cubicBezTo>
                  <a:cubicBezTo>
                    <a:pt x="4" y="153"/>
                    <a:pt x="14" y="149"/>
                    <a:pt x="20" y="145"/>
                  </a:cubicBezTo>
                  <a:cubicBezTo>
                    <a:pt x="26" y="141"/>
                    <a:pt x="25" y="134"/>
                    <a:pt x="38" y="133"/>
                  </a:cubicBezTo>
                  <a:cubicBezTo>
                    <a:pt x="51" y="132"/>
                    <a:pt x="87" y="140"/>
                    <a:pt x="98" y="137"/>
                  </a:cubicBezTo>
                  <a:cubicBezTo>
                    <a:pt x="109" y="134"/>
                    <a:pt x="101" y="123"/>
                    <a:pt x="103" y="113"/>
                  </a:cubicBezTo>
                  <a:cubicBezTo>
                    <a:pt x="105" y="103"/>
                    <a:pt x="105" y="89"/>
                    <a:pt x="112" y="77"/>
                  </a:cubicBezTo>
                  <a:cubicBezTo>
                    <a:pt x="119" y="65"/>
                    <a:pt x="145" y="54"/>
                    <a:pt x="146" y="43"/>
                  </a:cubicBezTo>
                  <a:cubicBezTo>
                    <a:pt x="147" y="32"/>
                    <a:pt x="120" y="16"/>
                    <a:pt x="118" y="11"/>
                  </a:cubicBezTo>
                  <a:cubicBezTo>
                    <a:pt x="116" y="6"/>
                    <a:pt x="125" y="12"/>
                    <a:pt x="131" y="11"/>
                  </a:cubicBezTo>
                  <a:cubicBezTo>
                    <a:pt x="137" y="10"/>
                    <a:pt x="141" y="0"/>
                    <a:pt x="152" y="4"/>
                  </a:cubicBezTo>
                  <a:cubicBezTo>
                    <a:pt x="163" y="8"/>
                    <a:pt x="186" y="25"/>
                    <a:pt x="199" y="37"/>
                  </a:cubicBezTo>
                  <a:cubicBezTo>
                    <a:pt x="212" y="49"/>
                    <a:pt x="224" y="66"/>
                    <a:pt x="232" y="74"/>
                  </a:cubicBezTo>
                  <a:cubicBezTo>
                    <a:pt x="240" y="82"/>
                    <a:pt x="239" y="82"/>
                    <a:pt x="247" y="83"/>
                  </a:cubicBezTo>
                  <a:cubicBezTo>
                    <a:pt x="255" y="84"/>
                    <a:pt x="267" y="82"/>
                    <a:pt x="281" y="79"/>
                  </a:cubicBezTo>
                  <a:cubicBezTo>
                    <a:pt x="295" y="76"/>
                    <a:pt x="320" y="70"/>
                    <a:pt x="331" y="65"/>
                  </a:cubicBezTo>
                  <a:cubicBezTo>
                    <a:pt x="342" y="60"/>
                    <a:pt x="342" y="54"/>
                    <a:pt x="346" y="50"/>
                  </a:cubicBezTo>
                  <a:cubicBezTo>
                    <a:pt x="350" y="46"/>
                    <a:pt x="351" y="39"/>
                    <a:pt x="355" y="40"/>
                  </a:cubicBezTo>
                  <a:cubicBezTo>
                    <a:pt x="359" y="41"/>
                    <a:pt x="360" y="55"/>
                    <a:pt x="370" y="59"/>
                  </a:cubicBezTo>
                  <a:cubicBezTo>
                    <a:pt x="380" y="63"/>
                    <a:pt x="404" y="62"/>
                    <a:pt x="413" y="62"/>
                  </a:cubicBezTo>
                  <a:cubicBezTo>
                    <a:pt x="422" y="62"/>
                    <a:pt x="423" y="61"/>
                    <a:pt x="427" y="62"/>
                  </a:cubicBezTo>
                  <a:cubicBezTo>
                    <a:pt x="431" y="63"/>
                    <a:pt x="437" y="71"/>
                    <a:pt x="439" y="68"/>
                  </a:cubicBezTo>
                  <a:cubicBezTo>
                    <a:pt x="441" y="65"/>
                    <a:pt x="435" y="47"/>
                    <a:pt x="439" y="43"/>
                  </a:cubicBezTo>
                  <a:cubicBezTo>
                    <a:pt x="443" y="39"/>
                    <a:pt x="456" y="42"/>
                    <a:pt x="463" y="46"/>
                  </a:cubicBezTo>
                  <a:cubicBezTo>
                    <a:pt x="470" y="50"/>
                    <a:pt x="474" y="63"/>
                    <a:pt x="479" y="70"/>
                  </a:cubicBezTo>
                  <a:cubicBezTo>
                    <a:pt x="484" y="77"/>
                    <a:pt x="491" y="84"/>
                    <a:pt x="494" y="91"/>
                  </a:cubicBezTo>
                  <a:cubicBezTo>
                    <a:pt x="497" y="98"/>
                    <a:pt x="499" y="104"/>
                    <a:pt x="500" y="112"/>
                  </a:cubicBezTo>
                  <a:cubicBezTo>
                    <a:pt x="501" y="120"/>
                    <a:pt x="502" y="130"/>
                    <a:pt x="502" y="139"/>
                  </a:cubicBezTo>
                  <a:cubicBezTo>
                    <a:pt x="502" y="148"/>
                    <a:pt x="501" y="159"/>
                    <a:pt x="500" y="166"/>
                  </a:cubicBezTo>
                  <a:cubicBezTo>
                    <a:pt x="499" y="173"/>
                    <a:pt x="497" y="179"/>
                    <a:pt x="493" y="182"/>
                  </a:cubicBezTo>
                  <a:cubicBezTo>
                    <a:pt x="489" y="185"/>
                    <a:pt x="479" y="182"/>
                    <a:pt x="476" y="187"/>
                  </a:cubicBezTo>
                  <a:cubicBezTo>
                    <a:pt x="473" y="192"/>
                    <a:pt x="479" y="206"/>
                    <a:pt x="475" y="211"/>
                  </a:cubicBezTo>
                  <a:cubicBezTo>
                    <a:pt x="471" y="216"/>
                    <a:pt x="460" y="220"/>
                    <a:pt x="451" y="220"/>
                  </a:cubicBezTo>
                  <a:cubicBezTo>
                    <a:pt x="442" y="220"/>
                    <a:pt x="426" y="213"/>
                    <a:pt x="419" y="211"/>
                  </a:cubicBezTo>
                  <a:cubicBezTo>
                    <a:pt x="412" y="209"/>
                    <a:pt x="410" y="205"/>
                    <a:pt x="407" y="206"/>
                  </a:cubicBezTo>
                  <a:cubicBezTo>
                    <a:pt x="404" y="207"/>
                    <a:pt x="399" y="211"/>
                    <a:pt x="398" y="215"/>
                  </a:cubicBezTo>
                  <a:cubicBezTo>
                    <a:pt x="397" y="219"/>
                    <a:pt x="397" y="221"/>
                    <a:pt x="398" y="230"/>
                  </a:cubicBezTo>
                  <a:cubicBezTo>
                    <a:pt x="399" y="239"/>
                    <a:pt x="401" y="265"/>
                    <a:pt x="404" y="272"/>
                  </a:cubicBezTo>
                  <a:cubicBezTo>
                    <a:pt x="407" y="279"/>
                    <a:pt x="410" y="272"/>
                    <a:pt x="415" y="272"/>
                  </a:cubicBezTo>
                  <a:cubicBezTo>
                    <a:pt x="420" y="272"/>
                    <a:pt x="431" y="270"/>
                    <a:pt x="436" y="272"/>
                  </a:cubicBezTo>
                  <a:cubicBezTo>
                    <a:pt x="441" y="274"/>
                    <a:pt x="447" y="281"/>
                    <a:pt x="448" y="287"/>
                  </a:cubicBezTo>
                  <a:cubicBezTo>
                    <a:pt x="449" y="293"/>
                    <a:pt x="445" y="304"/>
                    <a:pt x="445" y="311"/>
                  </a:cubicBezTo>
                  <a:cubicBezTo>
                    <a:pt x="445" y="318"/>
                    <a:pt x="445" y="327"/>
                    <a:pt x="448" y="331"/>
                  </a:cubicBezTo>
                  <a:cubicBezTo>
                    <a:pt x="451" y="335"/>
                    <a:pt x="460" y="333"/>
                    <a:pt x="463" y="335"/>
                  </a:cubicBezTo>
                  <a:cubicBezTo>
                    <a:pt x="466" y="337"/>
                    <a:pt x="468" y="339"/>
                    <a:pt x="469" y="343"/>
                  </a:cubicBezTo>
                  <a:cubicBezTo>
                    <a:pt x="470" y="347"/>
                    <a:pt x="466" y="356"/>
                    <a:pt x="467" y="361"/>
                  </a:cubicBezTo>
                  <a:cubicBezTo>
                    <a:pt x="468" y="366"/>
                    <a:pt x="472" y="370"/>
                    <a:pt x="473" y="374"/>
                  </a:cubicBezTo>
                  <a:cubicBezTo>
                    <a:pt x="474" y="378"/>
                    <a:pt x="476" y="378"/>
                    <a:pt x="475" y="385"/>
                  </a:cubicBezTo>
                  <a:cubicBezTo>
                    <a:pt x="474" y="392"/>
                    <a:pt x="470" y="413"/>
                    <a:pt x="466" y="419"/>
                  </a:cubicBezTo>
                  <a:cubicBezTo>
                    <a:pt x="462" y="425"/>
                    <a:pt x="455" y="424"/>
                    <a:pt x="451" y="424"/>
                  </a:cubicBezTo>
                  <a:cubicBezTo>
                    <a:pt x="447" y="424"/>
                    <a:pt x="441" y="417"/>
                    <a:pt x="439" y="419"/>
                  </a:cubicBezTo>
                  <a:cubicBezTo>
                    <a:pt x="437" y="421"/>
                    <a:pt x="435" y="429"/>
                    <a:pt x="436" y="434"/>
                  </a:cubicBezTo>
                  <a:cubicBezTo>
                    <a:pt x="437" y="439"/>
                    <a:pt x="441" y="449"/>
                    <a:pt x="443" y="452"/>
                  </a:cubicBezTo>
                  <a:cubicBezTo>
                    <a:pt x="445" y="455"/>
                    <a:pt x="446" y="449"/>
                    <a:pt x="446" y="451"/>
                  </a:cubicBezTo>
                  <a:cubicBezTo>
                    <a:pt x="446" y="453"/>
                    <a:pt x="446" y="464"/>
                    <a:pt x="443" y="467"/>
                  </a:cubicBezTo>
                  <a:cubicBezTo>
                    <a:pt x="440" y="470"/>
                    <a:pt x="432" y="463"/>
                    <a:pt x="427" y="467"/>
                  </a:cubicBezTo>
                  <a:cubicBezTo>
                    <a:pt x="422" y="471"/>
                    <a:pt x="409" y="487"/>
                    <a:pt x="410" y="494"/>
                  </a:cubicBezTo>
                  <a:cubicBezTo>
                    <a:pt x="411" y="501"/>
                    <a:pt x="434" y="503"/>
                    <a:pt x="436" y="508"/>
                  </a:cubicBezTo>
                  <a:cubicBezTo>
                    <a:pt x="438" y="513"/>
                    <a:pt x="428" y="520"/>
                    <a:pt x="424" y="524"/>
                  </a:cubicBezTo>
                  <a:cubicBezTo>
                    <a:pt x="420" y="528"/>
                    <a:pt x="408" y="529"/>
                    <a:pt x="410" y="530"/>
                  </a:cubicBezTo>
                  <a:cubicBezTo>
                    <a:pt x="412" y="531"/>
                    <a:pt x="430" y="532"/>
                    <a:pt x="436" y="530"/>
                  </a:cubicBezTo>
                  <a:cubicBezTo>
                    <a:pt x="442" y="528"/>
                    <a:pt x="442" y="522"/>
                    <a:pt x="445" y="517"/>
                  </a:cubicBezTo>
                  <a:cubicBezTo>
                    <a:pt x="448" y="512"/>
                    <a:pt x="450" y="502"/>
                    <a:pt x="455" y="499"/>
                  </a:cubicBezTo>
                  <a:cubicBezTo>
                    <a:pt x="460" y="496"/>
                    <a:pt x="472" y="497"/>
                    <a:pt x="478" y="497"/>
                  </a:cubicBezTo>
                  <a:cubicBezTo>
                    <a:pt x="484" y="497"/>
                    <a:pt x="489" y="497"/>
                    <a:pt x="491" y="500"/>
                  </a:cubicBezTo>
                  <a:cubicBezTo>
                    <a:pt x="493" y="503"/>
                    <a:pt x="492" y="511"/>
                    <a:pt x="488" y="514"/>
                  </a:cubicBezTo>
                  <a:cubicBezTo>
                    <a:pt x="484" y="517"/>
                    <a:pt x="470" y="517"/>
                    <a:pt x="464" y="518"/>
                  </a:cubicBezTo>
                  <a:cubicBezTo>
                    <a:pt x="458" y="519"/>
                    <a:pt x="454" y="520"/>
                    <a:pt x="452" y="523"/>
                  </a:cubicBezTo>
                  <a:cubicBezTo>
                    <a:pt x="450" y="526"/>
                    <a:pt x="450" y="532"/>
                    <a:pt x="451" y="536"/>
                  </a:cubicBezTo>
                  <a:cubicBezTo>
                    <a:pt x="452" y="540"/>
                    <a:pt x="458" y="543"/>
                    <a:pt x="458" y="547"/>
                  </a:cubicBezTo>
                  <a:cubicBezTo>
                    <a:pt x="458" y="551"/>
                    <a:pt x="454" y="554"/>
                    <a:pt x="454" y="559"/>
                  </a:cubicBezTo>
                  <a:cubicBezTo>
                    <a:pt x="454" y="564"/>
                    <a:pt x="457" y="573"/>
                    <a:pt x="461" y="578"/>
                  </a:cubicBezTo>
                  <a:cubicBezTo>
                    <a:pt x="465" y="583"/>
                    <a:pt x="471" y="586"/>
                    <a:pt x="478" y="590"/>
                  </a:cubicBezTo>
                  <a:cubicBezTo>
                    <a:pt x="485" y="594"/>
                    <a:pt x="502" y="597"/>
                    <a:pt x="505" y="602"/>
                  </a:cubicBezTo>
                  <a:cubicBezTo>
                    <a:pt x="508" y="607"/>
                    <a:pt x="502" y="618"/>
                    <a:pt x="494" y="623"/>
                  </a:cubicBezTo>
                  <a:cubicBezTo>
                    <a:pt x="486" y="628"/>
                    <a:pt x="469" y="632"/>
                    <a:pt x="458" y="635"/>
                  </a:cubicBezTo>
                  <a:cubicBezTo>
                    <a:pt x="447" y="638"/>
                    <a:pt x="439" y="640"/>
                    <a:pt x="430" y="640"/>
                  </a:cubicBezTo>
                  <a:cubicBezTo>
                    <a:pt x="421" y="640"/>
                    <a:pt x="412" y="639"/>
                    <a:pt x="403" y="638"/>
                  </a:cubicBezTo>
                  <a:cubicBezTo>
                    <a:pt x="394" y="637"/>
                    <a:pt x="384" y="635"/>
                    <a:pt x="376" y="635"/>
                  </a:cubicBezTo>
                  <a:cubicBezTo>
                    <a:pt x="368" y="635"/>
                    <a:pt x="359" y="642"/>
                    <a:pt x="352" y="640"/>
                  </a:cubicBezTo>
                  <a:cubicBezTo>
                    <a:pt x="345" y="638"/>
                    <a:pt x="337" y="626"/>
                    <a:pt x="332" y="622"/>
                  </a:cubicBezTo>
                  <a:cubicBezTo>
                    <a:pt x="327" y="618"/>
                    <a:pt x="329" y="617"/>
                    <a:pt x="322" y="613"/>
                  </a:cubicBezTo>
                  <a:cubicBezTo>
                    <a:pt x="315" y="609"/>
                    <a:pt x="295" y="604"/>
                    <a:pt x="287" y="598"/>
                  </a:cubicBezTo>
                  <a:cubicBezTo>
                    <a:pt x="279" y="592"/>
                    <a:pt x="276" y="580"/>
                    <a:pt x="271" y="574"/>
                  </a:cubicBezTo>
                  <a:cubicBezTo>
                    <a:pt x="266" y="568"/>
                    <a:pt x="264" y="564"/>
                    <a:pt x="260" y="562"/>
                  </a:cubicBezTo>
                  <a:cubicBezTo>
                    <a:pt x="256" y="560"/>
                    <a:pt x="249" y="560"/>
                    <a:pt x="244" y="559"/>
                  </a:cubicBezTo>
                  <a:cubicBezTo>
                    <a:pt x="239" y="558"/>
                    <a:pt x="232" y="557"/>
                    <a:pt x="229" y="554"/>
                  </a:cubicBezTo>
                  <a:cubicBezTo>
                    <a:pt x="226" y="551"/>
                    <a:pt x="225" y="548"/>
                    <a:pt x="223" y="542"/>
                  </a:cubicBezTo>
                  <a:cubicBezTo>
                    <a:pt x="221" y="536"/>
                    <a:pt x="220" y="527"/>
                    <a:pt x="218" y="520"/>
                  </a:cubicBezTo>
                  <a:cubicBezTo>
                    <a:pt x="216" y="513"/>
                    <a:pt x="212" y="509"/>
                    <a:pt x="211" y="503"/>
                  </a:cubicBezTo>
                  <a:cubicBezTo>
                    <a:pt x="210" y="497"/>
                    <a:pt x="210" y="489"/>
                    <a:pt x="211" y="482"/>
                  </a:cubicBezTo>
                  <a:cubicBezTo>
                    <a:pt x="212" y="475"/>
                    <a:pt x="217" y="466"/>
                    <a:pt x="215" y="461"/>
                  </a:cubicBezTo>
                  <a:cubicBezTo>
                    <a:pt x="213" y="456"/>
                    <a:pt x="205" y="456"/>
                    <a:pt x="200" y="452"/>
                  </a:cubicBezTo>
                  <a:cubicBezTo>
                    <a:pt x="195" y="448"/>
                    <a:pt x="189" y="445"/>
                    <a:pt x="182" y="439"/>
                  </a:cubicBezTo>
                  <a:cubicBezTo>
                    <a:pt x="175" y="433"/>
                    <a:pt x="165" y="424"/>
                    <a:pt x="158" y="416"/>
                  </a:cubicBezTo>
                  <a:cubicBezTo>
                    <a:pt x="151" y="408"/>
                    <a:pt x="144" y="396"/>
                    <a:pt x="140" y="389"/>
                  </a:cubicBezTo>
                  <a:cubicBezTo>
                    <a:pt x="136" y="382"/>
                    <a:pt x="137" y="378"/>
                    <a:pt x="134" y="376"/>
                  </a:cubicBezTo>
                  <a:cubicBezTo>
                    <a:pt x="131" y="374"/>
                    <a:pt x="123" y="377"/>
                    <a:pt x="119" y="376"/>
                  </a:cubicBezTo>
                  <a:cubicBezTo>
                    <a:pt x="115" y="375"/>
                    <a:pt x="114" y="379"/>
                    <a:pt x="110" y="371"/>
                  </a:cubicBezTo>
                  <a:cubicBezTo>
                    <a:pt x="106" y="363"/>
                    <a:pt x="100" y="340"/>
                    <a:pt x="97" y="328"/>
                  </a:cubicBezTo>
                  <a:cubicBezTo>
                    <a:pt x="94" y="316"/>
                    <a:pt x="92" y="310"/>
                    <a:pt x="89" y="301"/>
                  </a:cubicBezTo>
                  <a:cubicBezTo>
                    <a:pt x="86" y="292"/>
                    <a:pt x="82" y="280"/>
                    <a:pt x="79" y="274"/>
                  </a:cubicBezTo>
                  <a:cubicBezTo>
                    <a:pt x="76" y="268"/>
                    <a:pt x="72" y="267"/>
                    <a:pt x="71" y="263"/>
                  </a:cubicBezTo>
                  <a:cubicBezTo>
                    <a:pt x="70" y="259"/>
                    <a:pt x="75" y="256"/>
                    <a:pt x="74" y="251"/>
                  </a:cubicBezTo>
                  <a:cubicBezTo>
                    <a:pt x="73" y="246"/>
                    <a:pt x="70" y="235"/>
                    <a:pt x="67" y="230"/>
                  </a:cubicBezTo>
                  <a:cubicBezTo>
                    <a:pt x="64" y="225"/>
                    <a:pt x="63" y="221"/>
                    <a:pt x="58" y="218"/>
                  </a:cubicBezTo>
                  <a:cubicBezTo>
                    <a:pt x="53" y="215"/>
                    <a:pt x="44" y="214"/>
                    <a:pt x="38" y="209"/>
                  </a:cubicBez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42" name="Freeform 1136"/>
            <p:cNvSpPr>
              <a:spLocks/>
            </p:cNvSpPr>
            <p:nvPr/>
          </p:nvSpPr>
          <p:spPr bwMode="auto">
            <a:xfrm>
              <a:off x="6011863" y="5007053"/>
              <a:ext cx="125413" cy="390525"/>
            </a:xfrm>
            <a:custGeom>
              <a:avLst/>
              <a:gdLst>
                <a:gd name="T0" fmla="*/ 2147483647 w 79"/>
                <a:gd name="T1" fmla="*/ 2147483647 h 246"/>
                <a:gd name="T2" fmla="*/ 2147483647 w 79"/>
                <a:gd name="T3" fmla="*/ 2147483647 h 246"/>
                <a:gd name="T4" fmla="*/ 2147483647 w 79"/>
                <a:gd name="T5" fmla="*/ 2147483647 h 246"/>
                <a:gd name="T6" fmla="*/ 2147483647 w 79"/>
                <a:gd name="T7" fmla="*/ 2147483647 h 246"/>
                <a:gd name="T8" fmla="*/ 2147483647 w 79"/>
                <a:gd name="T9" fmla="*/ 2147483647 h 246"/>
                <a:gd name="T10" fmla="*/ 2147483647 w 79"/>
                <a:gd name="T11" fmla="*/ 2147483647 h 246"/>
                <a:gd name="T12" fmla="*/ 2147483647 w 79"/>
                <a:gd name="T13" fmla="*/ 2147483647 h 246"/>
                <a:gd name="T14" fmla="*/ 2147483647 w 79"/>
                <a:gd name="T15" fmla="*/ 2147483647 h 246"/>
                <a:gd name="T16" fmla="*/ 2147483647 w 79"/>
                <a:gd name="T17" fmla="*/ 2147483647 h 246"/>
                <a:gd name="T18" fmla="*/ 2147483647 w 79"/>
                <a:gd name="T19" fmla="*/ 2147483647 h 246"/>
                <a:gd name="T20" fmla="*/ 2147483647 w 79"/>
                <a:gd name="T21" fmla="*/ 2147483647 h 246"/>
                <a:gd name="T22" fmla="*/ 2147483647 w 79"/>
                <a:gd name="T23" fmla="*/ 2147483647 h 246"/>
                <a:gd name="T24" fmla="*/ 2147483647 w 79"/>
                <a:gd name="T25" fmla="*/ 2147483647 h 246"/>
                <a:gd name="T26" fmla="*/ 2147483647 w 79"/>
                <a:gd name="T27" fmla="*/ 2147483647 h 246"/>
                <a:gd name="T28" fmla="*/ 2147483647 w 79"/>
                <a:gd name="T29" fmla="*/ 2147483647 h 2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9"/>
                <a:gd name="T46" fmla="*/ 0 h 246"/>
                <a:gd name="T47" fmla="*/ 79 w 79"/>
                <a:gd name="T48" fmla="*/ 246 h 2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9" h="246">
                  <a:moveTo>
                    <a:pt x="77" y="191"/>
                  </a:moveTo>
                  <a:cubicBezTo>
                    <a:pt x="79" y="222"/>
                    <a:pt x="62" y="205"/>
                    <a:pt x="58" y="210"/>
                  </a:cubicBezTo>
                  <a:cubicBezTo>
                    <a:pt x="54" y="215"/>
                    <a:pt x="60" y="216"/>
                    <a:pt x="53" y="222"/>
                  </a:cubicBezTo>
                  <a:cubicBezTo>
                    <a:pt x="46" y="228"/>
                    <a:pt x="21" y="246"/>
                    <a:pt x="13" y="246"/>
                  </a:cubicBezTo>
                  <a:cubicBezTo>
                    <a:pt x="5" y="246"/>
                    <a:pt x="4" y="233"/>
                    <a:pt x="2" y="224"/>
                  </a:cubicBezTo>
                  <a:cubicBezTo>
                    <a:pt x="0" y="215"/>
                    <a:pt x="2" y="203"/>
                    <a:pt x="2" y="191"/>
                  </a:cubicBezTo>
                  <a:cubicBezTo>
                    <a:pt x="2" y="179"/>
                    <a:pt x="3" y="164"/>
                    <a:pt x="4" y="153"/>
                  </a:cubicBezTo>
                  <a:cubicBezTo>
                    <a:pt x="5" y="142"/>
                    <a:pt x="3" y="131"/>
                    <a:pt x="5" y="125"/>
                  </a:cubicBezTo>
                  <a:cubicBezTo>
                    <a:pt x="7" y="119"/>
                    <a:pt x="10" y="119"/>
                    <a:pt x="14" y="117"/>
                  </a:cubicBezTo>
                  <a:cubicBezTo>
                    <a:pt x="18" y="115"/>
                    <a:pt x="26" y="116"/>
                    <a:pt x="29" y="113"/>
                  </a:cubicBezTo>
                  <a:cubicBezTo>
                    <a:pt x="32" y="110"/>
                    <a:pt x="31" y="104"/>
                    <a:pt x="31" y="96"/>
                  </a:cubicBezTo>
                  <a:cubicBezTo>
                    <a:pt x="31" y="88"/>
                    <a:pt x="29" y="73"/>
                    <a:pt x="28" y="62"/>
                  </a:cubicBezTo>
                  <a:cubicBezTo>
                    <a:pt x="27" y="51"/>
                    <a:pt x="23" y="36"/>
                    <a:pt x="26" y="30"/>
                  </a:cubicBezTo>
                  <a:cubicBezTo>
                    <a:pt x="29" y="24"/>
                    <a:pt x="38" y="0"/>
                    <a:pt x="47" y="26"/>
                  </a:cubicBezTo>
                  <a:cubicBezTo>
                    <a:pt x="56" y="52"/>
                    <a:pt x="75" y="160"/>
                    <a:pt x="77" y="191"/>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43" name="Freeform 1137"/>
            <p:cNvSpPr>
              <a:spLocks/>
            </p:cNvSpPr>
            <p:nvPr/>
          </p:nvSpPr>
          <p:spPr bwMode="auto">
            <a:xfrm>
              <a:off x="6438900" y="5268991"/>
              <a:ext cx="60325" cy="55563"/>
            </a:xfrm>
            <a:custGeom>
              <a:avLst/>
              <a:gdLst>
                <a:gd name="T0" fmla="*/ 2147483647 w 38"/>
                <a:gd name="T1" fmla="*/ 2147483647 h 35"/>
                <a:gd name="T2" fmla="*/ 2147483647 w 38"/>
                <a:gd name="T3" fmla="*/ 0 h 35"/>
                <a:gd name="T4" fmla="*/ 0 w 38"/>
                <a:gd name="T5" fmla="*/ 2147483647 h 35"/>
                <a:gd name="T6" fmla="*/ 2147483647 w 38"/>
                <a:gd name="T7" fmla="*/ 2147483647 h 35"/>
                <a:gd name="T8" fmla="*/ 2147483647 w 38"/>
                <a:gd name="T9" fmla="*/ 2147483647 h 35"/>
                <a:gd name="T10" fmla="*/ 2147483647 w 38"/>
                <a:gd name="T11" fmla="*/ 2147483647 h 35"/>
                <a:gd name="T12" fmla="*/ 0 60000 65536"/>
                <a:gd name="T13" fmla="*/ 0 60000 65536"/>
                <a:gd name="T14" fmla="*/ 0 60000 65536"/>
                <a:gd name="T15" fmla="*/ 0 60000 65536"/>
                <a:gd name="T16" fmla="*/ 0 60000 65536"/>
                <a:gd name="T17" fmla="*/ 0 60000 65536"/>
                <a:gd name="T18" fmla="*/ 0 w 38"/>
                <a:gd name="T19" fmla="*/ 0 h 35"/>
                <a:gd name="T20" fmla="*/ 38 w 38"/>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38" h="35">
                  <a:moveTo>
                    <a:pt x="38" y="24"/>
                  </a:moveTo>
                  <a:lnTo>
                    <a:pt x="20" y="0"/>
                  </a:lnTo>
                  <a:lnTo>
                    <a:pt x="0" y="9"/>
                  </a:lnTo>
                  <a:lnTo>
                    <a:pt x="11" y="24"/>
                  </a:lnTo>
                  <a:lnTo>
                    <a:pt x="29" y="35"/>
                  </a:lnTo>
                  <a:lnTo>
                    <a:pt x="38" y="24"/>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44" name="Freeform 1138"/>
            <p:cNvSpPr>
              <a:spLocks/>
            </p:cNvSpPr>
            <p:nvPr/>
          </p:nvSpPr>
          <p:spPr bwMode="auto">
            <a:xfrm>
              <a:off x="5310188" y="4124403"/>
              <a:ext cx="147638" cy="192088"/>
            </a:xfrm>
            <a:custGeom>
              <a:avLst/>
              <a:gdLst>
                <a:gd name="T0" fmla="*/ 2147483647 w 93"/>
                <a:gd name="T1" fmla="*/ 2147483647 h 121"/>
                <a:gd name="T2" fmla="*/ 2147483647 w 93"/>
                <a:gd name="T3" fmla="*/ 2147483647 h 121"/>
                <a:gd name="T4" fmla="*/ 2147483647 w 93"/>
                <a:gd name="T5" fmla="*/ 2147483647 h 121"/>
                <a:gd name="T6" fmla="*/ 2147483647 w 93"/>
                <a:gd name="T7" fmla="*/ 2147483647 h 121"/>
                <a:gd name="T8" fmla="*/ 2147483647 w 93"/>
                <a:gd name="T9" fmla="*/ 2147483647 h 121"/>
                <a:gd name="T10" fmla="*/ 2147483647 w 93"/>
                <a:gd name="T11" fmla="*/ 2147483647 h 121"/>
                <a:gd name="T12" fmla="*/ 2147483647 w 93"/>
                <a:gd name="T13" fmla="*/ 2147483647 h 121"/>
                <a:gd name="T14" fmla="*/ 2147483647 w 93"/>
                <a:gd name="T15" fmla="*/ 2147483647 h 121"/>
                <a:gd name="T16" fmla="*/ 2147483647 w 93"/>
                <a:gd name="T17" fmla="*/ 2147483647 h 121"/>
                <a:gd name="T18" fmla="*/ 2147483647 w 93"/>
                <a:gd name="T19" fmla="*/ 2147483647 h 121"/>
                <a:gd name="T20" fmla="*/ 2147483647 w 93"/>
                <a:gd name="T21" fmla="*/ 2147483647 h 121"/>
                <a:gd name="T22" fmla="*/ 2147483647 w 93"/>
                <a:gd name="T23" fmla="*/ 2147483647 h 121"/>
                <a:gd name="T24" fmla="*/ 2147483647 w 93"/>
                <a:gd name="T25" fmla="*/ 2147483647 h 121"/>
                <a:gd name="T26" fmla="*/ 2147483647 w 93"/>
                <a:gd name="T27" fmla="*/ 2147483647 h 1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3"/>
                <a:gd name="T43" fmla="*/ 0 h 121"/>
                <a:gd name="T44" fmla="*/ 93 w 93"/>
                <a:gd name="T45" fmla="*/ 121 h 1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3" h="121">
                  <a:moveTo>
                    <a:pt x="93" y="67"/>
                  </a:moveTo>
                  <a:cubicBezTo>
                    <a:pt x="91" y="76"/>
                    <a:pt x="86" y="80"/>
                    <a:pt x="78" y="84"/>
                  </a:cubicBezTo>
                  <a:cubicBezTo>
                    <a:pt x="70" y="88"/>
                    <a:pt x="53" y="87"/>
                    <a:pt x="47" y="90"/>
                  </a:cubicBezTo>
                  <a:cubicBezTo>
                    <a:pt x="41" y="93"/>
                    <a:pt x="49" y="97"/>
                    <a:pt x="44" y="102"/>
                  </a:cubicBezTo>
                  <a:cubicBezTo>
                    <a:pt x="39" y="107"/>
                    <a:pt x="20" y="121"/>
                    <a:pt x="15" y="118"/>
                  </a:cubicBezTo>
                  <a:cubicBezTo>
                    <a:pt x="10" y="115"/>
                    <a:pt x="13" y="95"/>
                    <a:pt x="11" y="84"/>
                  </a:cubicBezTo>
                  <a:cubicBezTo>
                    <a:pt x="9" y="73"/>
                    <a:pt x="7" y="60"/>
                    <a:pt x="6" y="52"/>
                  </a:cubicBezTo>
                  <a:cubicBezTo>
                    <a:pt x="5" y="44"/>
                    <a:pt x="0" y="43"/>
                    <a:pt x="3" y="37"/>
                  </a:cubicBezTo>
                  <a:cubicBezTo>
                    <a:pt x="6" y="31"/>
                    <a:pt x="17" y="21"/>
                    <a:pt x="26" y="15"/>
                  </a:cubicBezTo>
                  <a:cubicBezTo>
                    <a:pt x="35" y="9"/>
                    <a:pt x="49" y="5"/>
                    <a:pt x="56" y="3"/>
                  </a:cubicBezTo>
                  <a:cubicBezTo>
                    <a:pt x="63" y="1"/>
                    <a:pt x="65" y="0"/>
                    <a:pt x="69" y="3"/>
                  </a:cubicBezTo>
                  <a:cubicBezTo>
                    <a:pt x="73" y="6"/>
                    <a:pt x="78" y="14"/>
                    <a:pt x="81" y="19"/>
                  </a:cubicBezTo>
                  <a:cubicBezTo>
                    <a:pt x="84" y="24"/>
                    <a:pt x="85" y="25"/>
                    <a:pt x="87" y="33"/>
                  </a:cubicBezTo>
                  <a:cubicBezTo>
                    <a:pt x="89" y="41"/>
                    <a:pt x="92" y="60"/>
                    <a:pt x="93" y="67"/>
                  </a:cubicBez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45" name="Freeform 1139"/>
            <p:cNvSpPr>
              <a:spLocks/>
            </p:cNvSpPr>
            <p:nvPr/>
          </p:nvSpPr>
          <p:spPr bwMode="auto">
            <a:xfrm>
              <a:off x="6853238" y="4416503"/>
              <a:ext cx="261938" cy="719138"/>
            </a:xfrm>
            <a:custGeom>
              <a:avLst/>
              <a:gdLst>
                <a:gd name="T0" fmla="*/ 2147483647 w 165"/>
                <a:gd name="T1" fmla="*/ 2147483647 h 453"/>
                <a:gd name="T2" fmla="*/ 0 w 165"/>
                <a:gd name="T3" fmla="*/ 2147483647 h 453"/>
                <a:gd name="T4" fmla="*/ 2147483647 w 165"/>
                <a:gd name="T5" fmla="*/ 2147483647 h 453"/>
                <a:gd name="T6" fmla="*/ 2147483647 w 165"/>
                <a:gd name="T7" fmla="*/ 2147483647 h 453"/>
                <a:gd name="T8" fmla="*/ 2147483647 w 165"/>
                <a:gd name="T9" fmla="*/ 2147483647 h 453"/>
                <a:gd name="T10" fmla="*/ 2147483647 w 165"/>
                <a:gd name="T11" fmla="*/ 2147483647 h 453"/>
                <a:gd name="T12" fmla="*/ 2147483647 w 165"/>
                <a:gd name="T13" fmla="*/ 2147483647 h 453"/>
                <a:gd name="T14" fmla="*/ 2147483647 w 165"/>
                <a:gd name="T15" fmla="*/ 2147483647 h 453"/>
                <a:gd name="T16" fmla="*/ 2147483647 w 165"/>
                <a:gd name="T17" fmla="*/ 0 h 4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5"/>
                <a:gd name="T28" fmla="*/ 0 h 453"/>
                <a:gd name="T29" fmla="*/ 165 w 165"/>
                <a:gd name="T30" fmla="*/ 453 h 4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5" h="453">
                  <a:moveTo>
                    <a:pt x="6" y="453"/>
                  </a:moveTo>
                  <a:cubicBezTo>
                    <a:pt x="3" y="445"/>
                    <a:pt x="0" y="438"/>
                    <a:pt x="0" y="425"/>
                  </a:cubicBezTo>
                  <a:cubicBezTo>
                    <a:pt x="0" y="412"/>
                    <a:pt x="1" y="393"/>
                    <a:pt x="6" y="375"/>
                  </a:cubicBezTo>
                  <a:cubicBezTo>
                    <a:pt x="11" y="357"/>
                    <a:pt x="22" y="338"/>
                    <a:pt x="32" y="317"/>
                  </a:cubicBezTo>
                  <a:cubicBezTo>
                    <a:pt x="42" y="296"/>
                    <a:pt x="56" y="271"/>
                    <a:pt x="65" y="249"/>
                  </a:cubicBezTo>
                  <a:cubicBezTo>
                    <a:pt x="74" y="227"/>
                    <a:pt x="75" y="212"/>
                    <a:pt x="84" y="186"/>
                  </a:cubicBezTo>
                  <a:cubicBezTo>
                    <a:pt x="93" y="160"/>
                    <a:pt x="108" y="118"/>
                    <a:pt x="119" y="93"/>
                  </a:cubicBezTo>
                  <a:cubicBezTo>
                    <a:pt x="130" y="68"/>
                    <a:pt x="142" y="48"/>
                    <a:pt x="150" y="33"/>
                  </a:cubicBezTo>
                  <a:cubicBezTo>
                    <a:pt x="158" y="18"/>
                    <a:pt x="162" y="5"/>
                    <a:pt x="165"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46" name="Freeform 1140"/>
            <p:cNvSpPr>
              <a:spLocks/>
            </p:cNvSpPr>
            <p:nvPr/>
          </p:nvSpPr>
          <p:spPr bwMode="auto">
            <a:xfrm>
              <a:off x="5184775" y="4148216"/>
              <a:ext cx="88900" cy="42863"/>
            </a:xfrm>
            <a:custGeom>
              <a:avLst/>
              <a:gdLst>
                <a:gd name="T0" fmla="*/ 2147483647 w 56"/>
                <a:gd name="T1" fmla="*/ 2147483647 h 27"/>
                <a:gd name="T2" fmla="*/ 2147483647 w 56"/>
                <a:gd name="T3" fmla="*/ 2147483647 h 27"/>
                <a:gd name="T4" fmla="*/ 2147483647 w 56"/>
                <a:gd name="T5" fmla="*/ 2147483647 h 27"/>
                <a:gd name="T6" fmla="*/ 0 w 56"/>
                <a:gd name="T7" fmla="*/ 2147483647 h 27"/>
                <a:gd name="T8" fmla="*/ 2147483647 w 56"/>
                <a:gd name="T9" fmla="*/ 2147483647 h 27"/>
                <a:gd name="T10" fmla="*/ 2147483647 w 56"/>
                <a:gd name="T11" fmla="*/ 2147483647 h 27"/>
                <a:gd name="T12" fmla="*/ 2147483647 w 56"/>
                <a:gd name="T13" fmla="*/ 2147483647 h 27"/>
                <a:gd name="T14" fmla="*/ 0 60000 65536"/>
                <a:gd name="T15" fmla="*/ 0 60000 65536"/>
                <a:gd name="T16" fmla="*/ 0 60000 65536"/>
                <a:gd name="T17" fmla="*/ 0 60000 65536"/>
                <a:gd name="T18" fmla="*/ 0 60000 65536"/>
                <a:gd name="T19" fmla="*/ 0 60000 65536"/>
                <a:gd name="T20" fmla="*/ 0 60000 65536"/>
                <a:gd name="T21" fmla="*/ 0 w 56"/>
                <a:gd name="T22" fmla="*/ 0 h 27"/>
                <a:gd name="T23" fmla="*/ 56 w 56"/>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27">
                  <a:moveTo>
                    <a:pt x="55" y="9"/>
                  </a:moveTo>
                  <a:cubicBezTo>
                    <a:pt x="54" y="13"/>
                    <a:pt x="41" y="21"/>
                    <a:pt x="33" y="24"/>
                  </a:cubicBezTo>
                  <a:cubicBezTo>
                    <a:pt x="25" y="27"/>
                    <a:pt x="14" y="25"/>
                    <a:pt x="9" y="24"/>
                  </a:cubicBezTo>
                  <a:cubicBezTo>
                    <a:pt x="4" y="23"/>
                    <a:pt x="0" y="21"/>
                    <a:pt x="0" y="18"/>
                  </a:cubicBezTo>
                  <a:cubicBezTo>
                    <a:pt x="0" y="15"/>
                    <a:pt x="5" y="10"/>
                    <a:pt x="12" y="7"/>
                  </a:cubicBezTo>
                  <a:cubicBezTo>
                    <a:pt x="19" y="4"/>
                    <a:pt x="32" y="2"/>
                    <a:pt x="40" y="1"/>
                  </a:cubicBezTo>
                  <a:cubicBezTo>
                    <a:pt x="48" y="0"/>
                    <a:pt x="56" y="5"/>
                    <a:pt x="55" y="9"/>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47" name="Freeform 1141"/>
            <p:cNvSpPr>
              <a:spLocks/>
            </p:cNvSpPr>
            <p:nvPr/>
          </p:nvSpPr>
          <p:spPr bwMode="auto">
            <a:xfrm>
              <a:off x="5191125" y="4013278"/>
              <a:ext cx="120650" cy="160338"/>
            </a:xfrm>
            <a:custGeom>
              <a:avLst/>
              <a:gdLst>
                <a:gd name="T0" fmla="*/ 2147483647 w 76"/>
                <a:gd name="T1" fmla="*/ 2147483647 h 101"/>
                <a:gd name="T2" fmla="*/ 2147483647 w 76"/>
                <a:gd name="T3" fmla="*/ 2147483647 h 101"/>
                <a:gd name="T4" fmla="*/ 2147483647 w 76"/>
                <a:gd name="T5" fmla="*/ 2147483647 h 101"/>
                <a:gd name="T6" fmla="*/ 2147483647 w 76"/>
                <a:gd name="T7" fmla="*/ 2147483647 h 101"/>
                <a:gd name="T8" fmla="*/ 2147483647 w 76"/>
                <a:gd name="T9" fmla="*/ 2147483647 h 101"/>
                <a:gd name="T10" fmla="*/ 2147483647 w 76"/>
                <a:gd name="T11" fmla="*/ 2147483647 h 101"/>
                <a:gd name="T12" fmla="*/ 2147483647 w 76"/>
                <a:gd name="T13" fmla="*/ 2147483647 h 101"/>
                <a:gd name="T14" fmla="*/ 2147483647 w 76"/>
                <a:gd name="T15" fmla="*/ 2147483647 h 101"/>
                <a:gd name="T16" fmla="*/ 2147483647 w 76"/>
                <a:gd name="T17" fmla="*/ 2147483647 h 101"/>
                <a:gd name="T18" fmla="*/ 2147483647 w 76"/>
                <a:gd name="T19" fmla="*/ 2147483647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101"/>
                <a:gd name="T32" fmla="*/ 76 w 76"/>
                <a:gd name="T33" fmla="*/ 101 h 1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101">
                  <a:moveTo>
                    <a:pt x="54" y="89"/>
                  </a:moveTo>
                  <a:cubicBezTo>
                    <a:pt x="45" y="95"/>
                    <a:pt x="16" y="101"/>
                    <a:pt x="8" y="95"/>
                  </a:cubicBezTo>
                  <a:cubicBezTo>
                    <a:pt x="0" y="89"/>
                    <a:pt x="2" y="65"/>
                    <a:pt x="3" y="55"/>
                  </a:cubicBezTo>
                  <a:cubicBezTo>
                    <a:pt x="4" y="45"/>
                    <a:pt x="8" y="39"/>
                    <a:pt x="15" y="32"/>
                  </a:cubicBezTo>
                  <a:cubicBezTo>
                    <a:pt x="22" y="25"/>
                    <a:pt x="36" y="15"/>
                    <a:pt x="44" y="10"/>
                  </a:cubicBezTo>
                  <a:cubicBezTo>
                    <a:pt x="52" y="5"/>
                    <a:pt x="60" y="0"/>
                    <a:pt x="65" y="1"/>
                  </a:cubicBezTo>
                  <a:cubicBezTo>
                    <a:pt x="70" y="2"/>
                    <a:pt x="74" y="11"/>
                    <a:pt x="75" y="17"/>
                  </a:cubicBezTo>
                  <a:cubicBezTo>
                    <a:pt x="76" y="23"/>
                    <a:pt x="72" y="30"/>
                    <a:pt x="69" y="37"/>
                  </a:cubicBezTo>
                  <a:cubicBezTo>
                    <a:pt x="66" y="44"/>
                    <a:pt x="62" y="54"/>
                    <a:pt x="60" y="61"/>
                  </a:cubicBezTo>
                  <a:cubicBezTo>
                    <a:pt x="58" y="68"/>
                    <a:pt x="63" y="83"/>
                    <a:pt x="54" y="89"/>
                  </a:cubicBez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48" name="Freeform 1142"/>
            <p:cNvSpPr>
              <a:spLocks/>
            </p:cNvSpPr>
            <p:nvPr/>
          </p:nvSpPr>
          <p:spPr bwMode="auto">
            <a:xfrm>
              <a:off x="809625" y="1600278"/>
              <a:ext cx="223838" cy="547688"/>
            </a:xfrm>
            <a:custGeom>
              <a:avLst/>
              <a:gdLst>
                <a:gd name="T0" fmla="*/ 0 w 141"/>
                <a:gd name="T1" fmla="*/ 2147483647 h 345"/>
                <a:gd name="T2" fmla="*/ 2147483647 w 141"/>
                <a:gd name="T3" fmla="*/ 2147483647 h 345"/>
                <a:gd name="T4" fmla="*/ 2147483647 w 141"/>
                <a:gd name="T5" fmla="*/ 2147483647 h 345"/>
                <a:gd name="T6" fmla="*/ 2147483647 w 141"/>
                <a:gd name="T7" fmla="*/ 2147483647 h 345"/>
                <a:gd name="T8" fmla="*/ 2147483647 w 141"/>
                <a:gd name="T9" fmla="*/ 2147483647 h 345"/>
                <a:gd name="T10" fmla="*/ 2147483647 w 141"/>
                <a:gd name="T11" fmla="*/ 2147483647 h 345"/>
                <a:gd name="T12" fmla="*/ 2147483647 w 141"/>
                <a:gd name="T13" fmla="*/ 2147483647 h 345"/>
                <a:gd name="T14" fmla="*/ 2147483647 w 141"/>
                <a:gd name="T15" fmla="*/ 0 h 345"/>
                <a:gd name="T16" fmla="*/ 0 60000 65536"/>
                <a:gd name="T17" fmla="*/ 0 60000 65536"/>
                <a:gd name="T18" fmla="*/ 0 60000 65536"/>
                <a:gd name="T19" fmla="*/ 0 60000 65536"/>
                <a:gd name="T20" fmla="*/ 0 60000 65536"/>
                <a:gd name="T21" fmla="*/ 0 60000 65536"/>
                <a:gd name="T22" fmla="*/ 0 60000 65536"/>
                <a:gd name="T23" fmla="*/ 0 60000 65536"/>
                <a:gd name="T24" fmla="*/ 0 w 141"/>
                <a:gd name="T25" fmla="*/ 0 h 345"/>
                <a:gd name="T26" fmla="*/ 141 w 141"/>
                <a:gd name="T27" fmla="*/ 345 h 3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1" h="345">
                  <a:moveTo>
                    <a:pt x="0" y="345"/>
                  </a:moveTo>
                  <a:cubicBezTo>
                    <a:pt x="11" y="329"/>
                    <a:pt x="22" y="314"/>
                    <a:pt x="30" y="298"/>
                  </a:cubicBezTo>
                  <a:cubicBezTo>
                    <a:pt x="38" y="282"/>
                    <a:pt x="40" y="263"/>
                    <a:pt x="51" y="246"/>
                  </a:cubicBezTo>
                  <a:cubicBezTo>
                    <a:pt x="62" y="229"/>
                    <a:pt x="82" y="212"/>
                    <a:pt x="93" y="196"/>
                  </a:cubicBezTo>
                  <a:cubicBezTo>
                    <a:pt x="104" y="180"/>
                    <a:pt x="110" y="164"/>
                    <a:pt x="116" y="150"/>
                  </a:cubicBezTo>
                  <a:cubicBezTo>
                    <a:pt x="122" y="136"/>
                    <a:pt x="127" y="127"/>
                    <a:pt x="131" y="111"/>
                  </a:cubicBezTo>
                  <a:cubicBezTo>
                    <a:pt x="135" y="95"/>
                    <a:pt x="141" y="69"/>
                    <a:pt x="140" y="51"/>
                  </a:cubicBezTo>
                  <a:cubicBezTo>
                    <a:pt x="139" y="33"/>
                    <a:pt x="132" y="16"/>
                    <a:pt x="125"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49" name="Freeform 1144"/>
            <p:cNvSpPr>
              <a:spLocks/>
            </p:cNvSpPr>
            <p:nvPr/>
          </p:nvSpPr>
          <p:spPr bwMode="auto">
            <a:xfrm>
              <a:off x="2257425" y="2214641"/>
              <a:ext cx="136525" cy="163513"/>
            </a:xfrm>
            <a:custGeom>
              <a:avLst/>
              <a:gdLst>
                <a:gd name="T0" fmla="*/ 2147483647 w 86"/>
                <a:gd name="T1" fmla="*/ 2147483647 h 103"/>
                <a:gd name="T2" fmla="*/ 2147483647 w 86"/>
                <a:gd name="T3" fmla="*/ 2147483647 h 103"/>
                <a:gd name="T4" fmla="*/ 2147483647 w 86"/>
                <a:gd name="T5" fmla="*/ 2147483647 h 103"/>
                <a:gd name="T6" fmla="*/ 2147483647 w 86"/>
                <a:gd name="T7" fmla="*/ 2147483647 h 103"/>
                <a:gd name="T8" fmla="*/ 2147483647 w 86"/>
                <a:gd name="T9" fmla="*/ 2147483647 h 103"/>
                <a:gd name="T10" fmla="*/ 0 w 86"/>
                <a:gd name="T11" fmla="*/ 2147483647 h 103"/>
                <a:gd name="T12" fmla="*/ 2147483647 w 86"/>
                <a:gd name="T13" fmla="*/ 2147483647 h 103"/>
                <a:gd name="T14" fmla="*/ 2147483647 w 86"/>
                <a:gd name="T15" fmla="*/ 2147483647 h 103"/>
                <a:gd name="T16" fmla="*/ 2147483647 w 86"/>
                <a:gd name="T17" fmla="*/ 0 h 103"/>
                <a:gd name="T18" fmla="*/ 2147483647 w 86"/>
                <a:gd name="T19" fmla="*/ 2147483647 h 103"/>
                <a:gd name="T20" fmla="*/ 2147483647 w 86"/>
                <a:gd name="T21" fmla="*/ 2147483647 h 103"/>
                <a:gd name="T22" fmla="*/ 2147483647 w 86"/>
                <a:gd name="T23" fmla="*/ 2147483647 h 10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103"/>
                <a:gd name="T38" fmla="*/ 86 w 86"/>
                <a:gd name="T39" fmla="*/ 103 h 10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103">
                  <a:moveTo>
                    <a:pt x="60" y="55"/>
                  </a:moveTo>
                  <a:lnTo>
                    <a:pt x="75" y="79"/>
                  </a:lnTo>
                  <a:lnTo>
                    <a:pt x="75" y="93"/>
                  </a:lnTo>
                  <a:lnTo>
                    <a:pt x="68" y="103"/>
                  </a:lnTo>
                  <a:lnTo>
                    <a:pt x="3" y="82"/>
                  </a:lnTo>
                  <a:lnTo>
                    <a:pt x="0" y="63"/>
                  </a:lnTo>
                  <a:lnTo>
                    <a:pt x="15" y="30"/>
                  </a:lnTo>
                  <a:lnTo>
                    <a:pt x="30" y="22"/>
                  </a:lnTo>
                  <a:lnTo>
                    <a:pt x="36" y="0"/>
                  </a:lnTo>
                  <a:lnTo>
                    <a:pt x="86" y="22"/>
                  </a:lnTo>
                  <a:lnTo>
                    <a:pt x="78" y="48"/>
                  </a:lnTo>
                  <a:lnTo>
                    <a:pt x="60" y="5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0" name="Freeform 1145"/>
            <p:cNvSpPr>
              <a:spLocks/>
            </p:cNvSpPr>
            <p:nvPr/>
          </p:nvSpPr>
          <p:spPr bwMode="auto">
            <a:xfrm>
              <a:off x="2800350" y="1373266"/>
              <a:ext cx="127000" cy="103188"/>
            </a:xfrm>
            <a:custGeom>
              <a:avLst/>
              <a:gdLst>
                <a:gd name="T0" fmla="*/ 2147483647 w 80"/>
                <a:gd name="T1" fmla="*/ 2147483647 h 65"/>
                <a:gd name="T2" fmla="*/ 2147483647 w 80"/>
                <a:gd name="T3" fmla="*/ 2147483647 h 65"/>
                <a:gd name="T4" fmla="*/ 0 w 80"/>
                <a:gd name="T5" fmla="*/ 2147483647 h 65"/>
                <a:gd name="T6" fmla="*/ 2147483647 w 80"/>
                <a:gd name="T7" fmla="*/ 0 h 65"/>
                <a:gd name="T8" fmla="*/ 2147483647 w 80"/>
                <a:gd name="T9" fmla="*/ 2147483647 h 65"/>
                <a:gd name="T10" fmla="*/ 2147483647 w 80"/>
                <a:gd name="T11" fmla="*/ 2147483647 h 65"/>
                <a:gd name="T12" fmla="*/ 2147483647 w 80"/>
                <a:gd name="T13" fmla="*/ 2147483647 h 65"/>
                <a:gd name="T14" fmla="*/ 0 60000 65536"/>
                <a:gd name="T15" fmla="*/ 0 60000 65536"/>
                <a:gd name="T16" fmla="*/ 0 60000 65536"/>
                <a:gd name="T17" fmla="*/ 0 60000 65536"/>
                <a:gd name="T18" fmla="*/ 0 60000 65536"/>
                <a:gd name="T19" fmla="*/ 0 60000 65536"/>
                <a:gd name="T20" fmla="*/ 0 60000 65536"/>
                <a:gd name="T21" fmla="*/ 0 w 80"/>
                <a:gd name="T22" fmla="*/ 0 h 65"/>
                <a:gd name="T23" fmla="*/ 80 w 80"/>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65">
                  <a:moveTo>
                    <a:pt x="80" y="15"/>
                  </a:moveTo>
                  <a:lnTo>
                    <a:pt x="39" y="65"/>
                  </a:lnTo>
                  <a:lnTo>
                    <a:pt x="0" y="33"/>
                  </a:lnTo>
                  <a:lnTo>
                    <a:pt x="33" y="0"/>
                  </a:lnTo>
                  <a:lnTo>
                    <a:pt x="50" y="11"/>
                  </a:lnTo>
                  <a:lnTo>
                    <a:pt x="65" y="2"/>
                  </a:lnTo>
                  <a:lnTo>
                    <a:pt x="80" y="15"/>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1" name="Freeform 1146"/>
            <p:cNvSpPr>
              <a:spLocks/>
            </p:cNvSpPr>
            <p:nvPr/>
          </p:nvSpPr>
          <p:spPr bwMode="auto">
            <a:xfrm>
              <a:off x="3733800" y="1673303"/>
              <a:ext cx="112713" cy="123825"/>
            </a:xfrm>
            <a:custGeom>
              <a:avLst/>
              <a:gdLst>
                <a:gd name="T0" fmla="*/ 2147483647 w 71"/>
                <a:gd name="T1" fmla="*/ 2147483647 h 78"/>
                <a:gd name="T2" fmla="*/ 2147483647 w 71"/>
                <a:gd name="T3" fmla="*/ 2147483647 h 78"/>
                <a:gd name="T4" fmla="*/ 0 w 71"/>
                <a:gd name="T5" fmla="*/ 2147483647 h 78"/>
                <a:gd name="T6" fmla="*/ 2147483647 w 71"/>
                <a:gd name="T7" fmla="*/ 2147483647 h 78"/>
                <a:gd name="T8" fmla="*/ 2147483647 w 71"/>
                <a:gd name="T9" fmla="*/ 0 h 78"/>
                <a:gd name="T10" fmla="*/ 2147483647 w 71"/>
                <a:gd name="T11" fmla="*/ 2147483647 h 78"/>
                <a:gd name="T12" fmla="*/ 0 60000 65536"/>
                <a:gd name="T13" fmla="*/ 0 60000 65536"/>
                <a:gd name="T14" fmla="*/ 0 60000 65536"/>
                <a:gd name="T15" fmla="*/ 0 60000 65536"/>
                <a:gd name="T16" fmla="*/ 0 60000 65536"/>
                <a:gd name="T17" fmla="*/ 0 60000 65536"/>
                <a:gd name="T18" fmla="*/ 0 w 71"/>
                <a:gd name="T19" fmla="*/ 0 h 78"/>
                <a:gd name="T20" fmla="*/ 71 w 71"/>
                <a:gd name="T21" fmla="*/ 78 h 78"/>
              </a:gdLst>
              <a:ahLst/>
              <a:cxnLst>
                <a:cxn ang="T12">
                  <a:pos x="T0" y="T1"/>
                </a:cxn>
                <a:cxn ang="T13">
                  <a:pos x="T2" y="T3"/>
                </a:cxn>
                <a:cxn ang="T14">
                  <a:pos x="T4" y="T5"/>
                </a:cxn>
                <a:cxn ang="T15">
                  <a:pos x="T6" y="T7"/>
                </a:cxn>
                <a:cxn ang="T16">
                  <a:pos x="T8" y="T9"/>
                </a:cxn>
                <a:cxn ang="T17">
                  <a:pos x="T10" y="T11"/>
                </a:cxn>
              </a:cxnLst>
              <a:rect l="T18" t="T19" r="T20" b="T21"/>
              <a:pathLst>
                <a:path w="71" h="78">
                  <a:moveTo>
                    <a:pt x="71" y="51"/>
                  </a:moveTo>
                  <a:lnTo>
                    <a:pt x="59" y="78"/>
                  </a:lnTo>
                  <a:lnTo>
                    <a:pt x="0" y="56"/>
                  </a:lnTo>
                  <a:lnTo>
                    <a:pt x="3" y="14"/>
                  </a:lnTo>
                  <a:lnTo>
                    <a:pt x="54" y="0"/>
                  </a:lnTo>
                  <a:lnTo>
                    <a:pt x="71" y="51"/>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2" name="Freeform 1147"/>
            <p:cNvSpPr>
              <a:spLocks/>
            </p:cNvSpPr>
            <p:nvPr/>
          </p:nvSpPr>
          <p:spPr bwMode="auto">
            <a:xfrm>
              <a:off x="4105275" y="3700541"/>
              <a:ext cx="228600" cy="1292225"/>
            </a:xfrm>
            <a:custGeom>
              <a:avLst/>
              <a:gdLst>
                <a:gd name="T0" fmla="*/ 2147483647 w 144"/>
                <a:gd name="T1" fmla="*/ 2147483647 h 814"/>
                <a:gd name="T2" fmla="*/ 2147483647 w 144"/>
                <a:gd name="T3" fmla="*/ 2147483647 h 814"/>
                <a:gd name="T4" fmla="*/ 2147483647 w 144"/>
                <a:gd name="T5" fmla="*/ 2147483647 h 814"/>
                <a:gd name="T6" fmla="*/ 2147483647 w 144"/>
                <a:gd name="T7" fmla="*/ 2147483647 h 814"/>
                <a:gd name="T8" fmla="*/ 2147483647 w 144"/>
                <a:gd name="T9" fmla="*/ 2147483647 h 814"/>
                <a:gd name="T10" fmla="*/ 2147483647 w 144"/>
                <a:gd name="T11" fmla="*/ 2147483647 h 814"/>
                <a:gd name="T12" fmla="*/ 2147483647 w 144"/>
                <a:gd name="T13" fmla="*/ 2147483647 h 814"/>
                <a:gd name="T14" fmla="*/ 2147483647 w 144"/>
                <a:gd name="T15" fmla="*/ 2147483647 h 814"/>
                <a:gd name="T16" fmla="*/ 2147483647 w 144"/>
                <a:gd name="T17" fmla="*/ 2147483647 h 814"/>
                <a:gd name="T18" fmla="*/ 2147483647 w 144"/>
                <a:gd name="T19" fmla="*/ 2147483647 h 814"/>
                <a:gd name="T20" fmla="*/ 2147483647 w 144"/>
                <a:gd name="T21" fmla="*/ 2147483647 h 814"/>
                <a:gd name="T22" fmla="*/ 2147483647 w 144"/>
                <a:gd name="T23" fmla="*/ 2147483647 h 814"/>
                <a:gd name="T24" fmla="*/ 2147483647 w 144"/>
                <a:gd name="T25" fmla="*/ 2147483647 h 814"/>
                <a:gd name="T26" fmla="*/ 2147483647 w 144"/>
                <a:gd name="T27" fmla="*/ 2147483647 h 814"/>
                <a:gd name="T28" fmla="*/ 2147483647 w 144"/>
                <a:gd name="T29" fmla="*/ 2147483647 h 814"/>
                <a:gd name="T30" fmla="*/ 2147483647 w 144"/>
                <a:gd name="T31" fmla="*/ 2147483647 h 814"/>
                <a:gd name="T32" fmla="*/ 2147483647 w 144"/>
                <a:gd name="T33" fmla="*/ 2147483647 h 814"/>
                <a:gd name="T34" fmla="*/ 2147483647 w 144"/>
                <a:gd name="T35" fmla="*/ 2147483647 h 814"/>
                <a:gd name="T36" fmla="*/ 2147483647 w 144"/>
                <a:gd name="T37" fmla="*/ 2147483647 h 814"/>
                <a:gd name="T38" fmla="*/ 2147483647 w 144"/>
                <a:gd name="T39" fmla="*/ 2147483647 h 814"/>
                <a:gd name="T40" fmla="*/ 2147483647 w 144"/>
                <a:gd name="T41" fmla="*/ 2147483647 h 814"/>
                <a:gd name="T42" fmla="*/ 2147483647 w 144"/>
                <a:gd name="T43" fmla="*/ 2147483647 h 814"/>
                <a:gd name="T44" fmla="*/ 2147483647 w 144"/>
                <a:gd name="T45" fmla="*/ 0 h 8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4"/>
                <a:gd name="T70" fmla="*/ 0 h 814"/>
                <a:gd name="T71" fmla="*/ 144 w 144"/>
                <a:gd name="T72" fmla="*/ 814 h 8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4" h="814">
                  <a:moveTo>
                    <a:pt x="142" y="814"/>
                  </a:moveTo>
                  <a:cubicBezTo>
                    <a:pt x="139" y="812"/>
                    <a:pt x="131" y="806"/>
                    <a:pt x="126" y="800"/>
                  </a:cubicBezTo>
                  <a:cubicBezTo>
                    <a:pt x="121" y="794"/>
                    <a:pt x="118" y="785"/>
                    <a:pt x="113" y="777"/>
                  </a:cubicBezTo>
                  <a:cubicBezTo>
                    <a:pt x="108" y="769"/>
                    <a:pt x="101" y="762"/>
                    <a:pt x="95" y="754"/>
                  </a:cubicBezTo>
                  <a:cubicBezTo>
                    <a:pt x="89" y="746"/>
                    <a:pt x="83" y="735"/>
                    <a:pt x="77" y="727"/>
                  </a:cubicBezTo>
                  <a:cubicBezTo>
                    <a:pt x="71" y="719"/>
                    <a:pt x="65" y="714"/>
                    <a:pt x="60" y="708"/>
                  </a:cubicBezTo>
                  <a:cubicBezTo>
                    <a:pt x="55" y="702"/>
                    <a:pt x="49" y="694"/>
                    <a:pt x="44" y="688"/>
                  </a:cubicBezTo>
                  <a:cubicBezTo>
                    <a:pt x="39" y="682"/>
                    <a:pt x="35" y="678"/>
                    <a:pt x="31" y="671"/>
                  </a:cubicBezTo>
                  <a:cubicBezTo>
                    <a:pt x="27" y="664"/>
                    <a:pt x="20" y="654"/>
                    <a:pt x="17" y="649"/>
                  </a:cubicBezTo>
                  <a:cubicBezTo>
                    <a:pt x="15" y="645"/>
                    <a:pt x="18" y="648"/>
                    <a:pt x="16" y="644"/>
                  </a:cubicBezTo>
                  <a:cubicBezTo>
                    <a:pt x="14" y="640"/>
                    <a:pt x="9" y="633"/>
                    <a:pt x="7" y="626"/>
                  </a:cubicBezTo>
                  <a:cubicBezTo>
                    <a:pt x="4" y="620"/>
                    <a:pt x="0" y="623"/>
                    <a:pt x="2" y="608"/>
                  </a:cubicBezTo>
                  <a:cubicBezTo>
                    <a:pt x="4" y="593"/>
                    <a:pt x="15" y="551"/>
                    <a:pt x="20" y="533"/>
                  </a:cubicBezTo>
                  <a:cubicBezTo>
                    <a:pt x="25" y="515"/>
                    <a:pt x="28" y="514"/>
                    <a:pt x="30" y="501"/>
                  </a:cubicBezTo>
                  <a:cubicBezTo>
                    <a:pt x="32" y="488"/>
                    <a:pt x="31" y="470"/>
                    <a:pt x="32" y="453"/>
                  </a:cubicBezTo>
                  <a:cubicBezTo>
                    <a:pt x="33" y="436"/>
                    <a:pt x="35" y="413"/>
                    <a:pt x="38" y="397"/>
                  </a:cubicBezTo>
                  <a:cubicBezTo>
                    <a:pt x="41" y="381"/>
                    <a:pt x="49" y="366"/>
                    <a:pt x="53" y="354"/>
                  </a:cubicBezTo>
                  <a:cubicBezTo>
                    <a:pt x="57" y="342"/>
                    <a:pt x="60" y="342"/>
                    <a:pt x="62" y="327"/>
                  </a:cubicBezTo>
                  <a:cubicBezTo>
                    <a:pt x="64" y="312"/>
                    <a:pt x="61" y="292"/>
                    <a:pt x="66" y="265"/>
                  </a:cubicBezTo>
                  <a:cubicBezTo>
                    <a:pt x="71" y="238"/>
                    <a:pt x="86" y="187"/>
                    <a:pt x="92" y="166"/>
                  </a:cubicBezTo>
                  <a:cubicBezTo>
                    <a:pt x="98" y="145"/>
                    <a:pt x="98" y="149"/>
                    <a:pt x="104" y="136"/>
                  </a:cubicBezTo>
                  <a:cubicBezTo>
                    <a:pt x="110" y="123"/>
                    <a:pt x="119" y="110"/>
                    <a:pt x="126" y="87"/>
                  </a:cubicBezTo>
                  <a:cubicBezTo>
                    <a:pt x="133" y="64"/>
                    <a:pt x="140" y="18"/>
                    <a:pt x="144"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53" name="Freeform 1148"/>
            <p:cNvSpPr>
              <a:spLocks/>
            </p:cNvSpPr>
            <p:nvPr/>
          </p:nvSpPr>
          <p:spPr bwMode="auto">
            <a:xfrm>
              <a:off x="4699000" y="3276678"/>
              <a:ext cx="158750" cy="176213"/>
            </a:xfrm>
            <a:custGeom>
              <a:avLst/>
              <a:gdLst>
                <a:gd name="T0" fmla="*/ 2147483647 w 100"/>
                <a:gd name="T1" fmla="*/ 2147483647 h 111"/>
                <a:gd name="T2" fmla="*/ 2147483647 w 100"/>
                <a:gd name="T3" fmla="*/ 2147483647 h 111"/>
                <a:gd name="T4" fmla="*/ 2147483647 w 100"/>
                <a:gd name="T5" fmla="*/ 2147483647 h 111"/>
                <a:gd name="T6" fmla="*/ 0 w 100"/>
                <a:gd name="T7" fmla="*/ 2147483647 h 111"/>
                <a:gd name="T8" fmla="*/ 2147483647 w 100"/>
                <a:gd name="T9" fmla="*/ 2147483647 h 111"/>
                <a:gd name="T10" fmla="*/ 2147483647 w 100"/>
                <a:gd name="T11" fmla="*/ 2147483647 h 111"/>
                <a:gd name="T12" fmla="*/ 2147483647 w 100"/>
                <a:gd name="T13" fmla="*/ 0 h 111"/>
                <a:gd name="T14" fmla="*/ 2147483647 w 100"/>
                <a:gd name="T15" fmla="*/ 2147483647 h 111"/>
                <a:gd name="T16" fmla="*/ 2147483647 w 100"/>
                <a:gd name="T17" fmla="*/ 2147483647 h 111"/>
                <a:gd name="T18" fmla="*/ 2147483647 w 100"/>
                <a:gd name="T19" fmla="*/ 2147483647 h 111"/>
                <a:gd name="T20" fmla="*/ 2147483647 w 100"/>
                <a:gd name="T21" fmla="*/ 2147483647 h 111"/>
                <a:gd name="T22" fmla="*/ 2147483647 w 100"/>
                <a:gd name="T23" fmla="*/ 2147483647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11"/>
                <a:gd name="T38" fmla="*/ 100 w 100"/>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11">
                  <a:moveTo>
                    <a:pt x="54" y="111"/>
                  </a:moveTo>
                  <a:lnTo>
                    <a:pt x="12" y="84"/>
                  </a:lnTo>
                  <a:lnTo>
                    <a:pt x="16" y="67"/>
                  </a:lnTo>
                  <a:lnTo>
                    <a:pt x="0" y="48"/>
                  </a:lnTo>
                  <a:lnTo>
                    <a:pt x="13" y="10"/>
                  </a:lnTo>
                  <a:lnTo>
                    <a:pt x="37" y="13"/>
                  </a:lnTo>
                  <a:lnTo>
                    <a:pt x="51" y="0"/>
                  </a:lnTo>
                  <a:lnTo>
                    <a:pt x="82" y="18"/>
                  </a:lnTo>
                  <a:lnTo>
                    <a:pt x="100" y="73"/>
                  </a:lnTo>
                  <a:lnTo>
                    <a:pt x="57" y="72"/>
                  </a:lnTo>
                  <a:lnTo>
                    <a:pt x="63" y="85"/>
                  </a:lnTo>
                  <a:lnTo>
                    <a:pt x="54" y="111"/>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4" name="Freeform 1149"/>
            <p:cNvSpPr>
              <a:spLocks/>
            </p:cNvSpPr>
            <p:nvPr/>
          </p:nvSpPr>
          <p:spPr bwMode="auto">
            <a:xfrm>
              <a:off x="3886200" y="2487691"/>
              <a:ext cx="447675" cy="701675"/>
            </a:xfrm>
            <a:custGeom>
              <a:avLst/>
              <a:gdLst>
                <a:gd name="T0" fmla="*/ 2147483647 w 282"/>
                <a:gd name="T1" fmla="*/ 2147483647 h 442"/>
                <a:gd name="T2" fmla="*/ 2147483647 w 282"/>
                <a:gd name="T3" fmla="*/ 2147483647 h 442"/>
                <a:gd name="T4" fmla="*/ 2147483647 w 282"/>
                <a:gd name="T5" fmla="*/ 0 h 442"/>
                <a:gd name="T6" fmla="*/ 2147483647 w 282"/>
                <a:gd name="T7" fmla="*/ 2147483647 h 442"/>
                <a:gd name="T8" fmla="*/ 2147483647 w 282"/>
                <a:gd name="T9" fmla="*/ 2147483647 h 442"/>
                <a:gd name="T10" fmla="*/ 2147483647 w 282"/>
                <a:gd name="T11" fmla="*/ 2147483647 h 442"/>
                <a:gd name="T12" fmla="*/ 2147483647 w 282"/>
                <a:gd name="T13" fmla="*/ 2147483647 h 442"/>
                <a:gd name="T14" fmla="*/ 2147483647 w 282"/>
                <a:gd name="T15" fmla="*/ 2147483647 h 442"/>
                <a:gd name="T16" fmla="*/ 2147483647 w 282"/>
                <a:gd name="T17" fmla="*/ 2147483647 h 442"/>
                <a:gd name="T18" fmla="*/ 2147483647 w 282"/>
                <a:gd name="T19" fmla="*/ 2147483647 h 442"/>
                <a:gd name="T20" fmla="*/ 2147483647 w 282"/>
                <a:gd name="T21" fmla="*/ 2147483647 h 442"/>
                <a:gd name="T22" fmla="*/ 2147483647 w 282"/>
                <a:gd name="T23" fmla="*/ 2147483647 h 442"/>
                <a:gd name="T24" fmla="*/ 2147483647 w 282"/>
                <a:gd name="T25" fmla="*/ 2147483647 h 442"/>
                <a:gd name="T26" fmla="*/ 2147483647 w 282"/>
                <a:gd name="T27" fmla="*/ 2147483647 h 442"/>
                <a:gd name="T28" fmla="*/ 2147483647 w 282"/>
                <a:gd name="T29" fmla="*/ 2147483647 h 442"/>
                <a:gd name="T30" fmla="*/ 2147483647 w 282"/>
                <a:gd name="T31" fmla="*/ 2147483647 h 442"/>
                <a:gd name="T32" fmla="*/ 2147483647 w 282"/>
                <a:gd name="T33" fmla="*/ 2147483647 h 442"/>
                <a:gd name="T34" fmla="*/ 2147483647 w 282"/>
                <a:gd name="T35" fmla="*/ 2147483647 h 442"/>
                <a:gd name="T36" fmla="*/ 2147483647 w 282"/>
                <a:gd name="T37" fmla="*/ 2147483647 h 442"/>
                <a:gd name="T38" fmla="*/ 2147483647 w 282"/>
                <a:gd name="T39" fmla="*/ 2147483647 h 442"/>
                <a:gd name="T40" fmla="*/ 2147483647 w 282"/>
                <a:gd name="T41" fmla="*/ 2147483647 h 442"/>
                <a:gd name="T42" fmla="*/ 2147483647 w 282"/>
                <a:gd name="T43" fmla="*/ 2147483647 h 442"/>
                <a:gd name="T44" fmla="*/ 2147483647 w 282"/>
                <a:gd name="T45" fmla="*/ 2147483647 h 442"/>
                <a:gd name="T46" fmla="*/ 2147483647 w 282"/>
                <a:gd name="T47" fmla="*/ 2147483647 h 442"/>
                <a:gd name="T48" fmla="*/ 2147483647 w 282"/>
                <a:gd name="T49" fmla="*/ 2147483647 h 442"/>
                <a:gd name="T50" fmla="*/ 2147483647 w 282"/>
                <a:gd name="T51" fmla="*/ 2147483647 h 442"/>
                <a:gd name="T52" fmla="*/ 2147483647 w 282"/>
                <a:gd name="T53" fmla="*/ 2147483647 h 442"/>
                <a:gd name="T54" fmla="*/ 2147483647 w 282"/>
                <a:gd name="T55" fmla="*/ 2147483647 h 442"/>
                <a:gd name="T56" fmla="*/ 2147483647 w 282"/>
                <a:gd name="T57" fmla="*/ 2147483647 h 442"/>
                <a:gd name="T58" fmla="*/ 2147483647 w 282"/>
                <a:gd name="T59" fmla="*/ 2147483647 h 442"/>
                <a:gd name="T60" fmla="*/ 2147483647 w 282"/>
                <a:gd name="T61" fmla="*/ 2147483647 h 442"/>
                <a:gd name="T62" fmla="*/ 2147483647 w 282"/>
                <a:gd name="T63" fmla="*/ 2147483647 h 442"/>
                <a:gd name="T64" fmla="*/ 2147483647 w 282"/>
                <a:gd name="T65" fmla="*/ 2147483647 h 4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2"/>
                <a:gd name="T100" fmla="*/ 0 h 442"/>
                <a:gd name="T101" fmla="*/ 282 w 282"/>
                <a:gd name="T102" fmla="*/ 442 h 4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2" h="442">
                  <a:moveTo>
                    <a:pt x="137" y="29"/>
                  </a:moveTo>
                  <a:cubicBezTo>
                    <a:pt x="145" y="21"/>
                    <a:pt x="143" y="19"/>
                    <a:pt x="147" y="14"/>
                  </a:cubicBezTo>
                  <a:cubicBezTo>
                    <a:pt x="151" y="9"/>
                    <a:pt x="157" y="0"/>
                    <a:pt x="161" y="0"/>
                  </a:cubicBezTo>
                  <a:cubicBezTo>
                    <a:pt x="165" y="0"/>
                    <a:pt x="169" y="8"/>
                    <a:pt x="174" y="14"/>
                  </a:cubicBezTo>
                  <a:cubicBezTo>
                    <a:pt x="179" y="20"/>
                    <a:pt x="187" y="31"/>
                    <a:pt x="192" y="39"/>
                  </a:cubicBezTo>
                  <a:cubicBezTo>
                    <a:pt x="197" y="47"/>
                    <a:pt x="203" y="56"/>
                    <a:pt x="206" y="62"/>
                  </a:cubicBezTo>
                  <a:cubicBezTo>
                    <a:pt x="209" y="68"/>
                    <a:pt x="209" y="72"/>
                    <a:pt x="210" y="78"/>
                  </a:cubicBezTo>
                  <a:cubicBezTo>
                    <a:pt x="211" y="84"/>
                    <a:pt x="212" y="92"/>
                    <a:pt x="212" y="99"/>
                  </a:cubicBezTo>
                  <a:cubicBezTo>
                    <a:pt x="212" y="106"/>
                    <a:pt x="209" y="116"/>
                    <a:pt x="209" y="123"/>
                  </a:cubicBezTo>
                  <a:cubicBezTo>
                    <a:pt x="209" y="130"/>
                    <a:pt x="208" y="134"/>
                    <a:pt x="210" y="141"/>
                  </a:cubicBezTo>
                  <a:cubicBezTo>
                    <a:pt x="212" y="148"/>
                    <a:pt x="217" y="158"/>
                    <a:pt x="221" y="168"/>
                  </a:cubicBezTo>
                  <a:cubicBezTo>
                    <a:pt x="225" y="178"/>
                    <a:pt x="230" y="190"/>
                    <a:pt x="236" y="200"/>
                  </a:cubicBezTo>
                  <a:cubicBezTo>
                    <a:pt x="242" y="210"/>
                    <a:pt x="253" y="224"/>
                    <a:pt x="257" y="231"/>
                  </a:cubicBezTo>
                  <a:cubicBezTo>
                    <a:pt x="261" y="238"/>
                    <a:pt x="258" y="238"/>
                    <a:pt x="258" y="243"/>
                  </a:cubicBezTo>
                  <a:cubicBezTo>
                    <a:pt x="258" y="248"/>
                    <a:pt x="258" y="255"/>
                    <a:pt x="258" y="261"/>
                  </a:cubicBezTo>
                  <a:cubicBezTo>
                    <a:pt x="258" y="267"/>
                    <a:pt x="258" y="274"/>
                    <a:pt x="257" y="279"/>
                  </a:cubicBezTo>
                  <a:cubicBezTo>
                    <a:pt x="256" y="284"/>
                    <a:pt x="249" y="284"/>
                    <a:pt x="249" y="293"/>
                  </a:cubicBezTo>
                  <a:cubicBezTo>
                    <a:pt x="249" y="302"/>
                    <a:pt x="254" y="321"/>
                    <a:pt x="258" y="336"/>
                  </a:cubicBezTo>
                  <a:cubicBezTo>
                    <a:pt x="262" y="351"/>
                    <a:pt x="271" y="371"/>
                    <a:pt x="273" y="386"/>
                  </a:cubicBezTo>
                  <a:cubicBezTo>
                    <a:pt x="275" y="401"/>
                    <a:pt x="282" y="417"/>
                    <a:pt x="272" y="426"/>
                  </a:cubicBezTo>
                  <a:cubicBezTo>
                    <a:pt x="262" y="435"/>
                    <a:pt x="238" y="442"/>
                    <a:pt x="212" y="441"/>
                  </a:cubicBezTo>
                  <a:cubicBezTo>
                    <a:pt x="186" y="440"/>
                    <a:pt x="143" y="424"/>
                    <a:pt x="114" y="423"/>
                  </a:cubicBezTo>
                  <a:cubicBezTo>
                    <a:pt x="85" y="422"/>
                    <a:pt x="54" y="441"/>
                    <a:pt x="39" y="435"/>
                  </a:cubicBezTo>
                  <a:cubicBezTo>
                    <a:pt x="24" y="429"/>
                    <a:pt x="30" y="400"/>
                    <a:pt x="27" y="386"/>
                  </a:cubicBezTo>
                  <a:cubicBezTo>
                    <a:pt x="24" y="372"/>
                    <a:pt x="24" y="365"/>
                    <a:pt x="23" y="353"/>
                  </a:cubicBezTo>
                  <a:cubicBezTo>
                    <a:pt x="22" y="341"/>
                    <a:pt x="21" y="328"/>
                    <a:pt x="20" y="315"/>
                  </a:cubicBezTo>
                  <a:cubicBezTo>
                    <a:pt x="19" y="302"/>
                    <a:pt x="15" y="286"/>
                    <a:pt x="15" y="273"/>
                  </a:cubicBezTo>
                  <a:cubicBezTo>
                    <a:pt x="15" y="260"/>
                    <a:pt x="19" y="251"/>
                    <a:pt x="18" y="237"/>
                  </a:cubicBezTo>
                  <a:cubicBezTo>
                    <a:pt x="17" y="223"/>
                    <a:pt x="10" y="203"/>
                    <a:pt x="8" y="186"/>
                  </a:cubicBezTo>
                  <a:cubicBezTo>
                    <a:pt x="6" y="169"/>
                    <a:pt x="0" y="155"/>
                    <a:pt x="3" y="137"/>
                  </a:cubicBezTo>
                  <a:cubicBezTo>
                    <a:pt x="6" y="119"/>
                    <a:pt x="10" y="90"/>
                    <a:pt x="26" y="77"/>
                  </a:cubicBezTo>
                  <a:cubicBezTo>
                    <a:pt x="42" y="64"/>
                    <a:pt x="82" y="68"/>
                    <a:pt x="101" y="60"/>
                  </a:cubicBezTo>
                  <a:cubicBezTo>
                    <a:pt x="120" y="52"/>
                    <a:pt x="129" y="37"/>
                    <a:pt x="137" y="29"/>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55" name="Freeform 1150"/>
            <p:cNvSpPr>
              <a:spLocks/>
            </p:cNvSpPr>
            <p:nvPr/>
          </p:nvSpPr>
          <p:spPr bwMode="auto">
            <a:xfrm>
              <a:off x="3702050" y="2598816"/>
              <a:ext cx="225425" cy="301625"/>
            </a:xfrm>
            <a:custGeom>
              <a:avLst/>
              <a:gdLst>
                <a:gd name="T0" fmla="*/ 2147483647 w 142"/>
                <a:gd name="T1" fmla="*/ 2147483647 h 190"/>
                <a:gd name="T2" fmla="*/ 2147483647 w 142"/>
                <a:gd name="T3" fmla="*/ 2147483647 h 190"/>
                <a:gd name="T4" fmla="*/ 2147483647 w 142"/>
                <a:gd name="T5" fmla="*/ 2147483647 h 190"/>
                <a:gd name="T6" fmla="*/ 2147483647 w 142"/>
                <a:gd name="T7" fmla="*/ 2147483647 h 190"/>
                <a:gd name="T8" fmla="*/ 2147483647 w 142"/>
                <a:gd name="T9" fmla="*/ 2147483647 h 190"/>
                <a:gd name="T10" fmla="*/ 2147483647 w 142"/>
                <a:gd name="T11" fmla="*/ 2147483647 h 190"/>
                <a:gd name="T12" fmla="*/ 2147483647 w 142"/>
                <a:gd name="T13" fmla="*/ 2147483647 h 190"/>
                <a:gd name="T14" fmla="*/ 2147483647 w 142"/>
                <a:gd name="T15" fmla="*/ 2147483647 h 190"/>
                <a:gd name="T16" fmla="*/ 2147483647 w 142"/>
                <a:gd name="T17" fmla="*/ 2147483647 h 190"/>
                <a:gd name="T18" fmla="*/ 2147483647 w 142"/>
                <a:gd name="T19" fmla="*/ 2147483647 h 190"/>
                <a:gd name="T20" fmla="*/ 2147483647 w 142"/>
                <a:gd name="T21" fmla="*/ 2147483647 h 190"/>
                <a:gd name="T22" fmla="*/ 2147483647 w 142"/>
                <a:gd name="T23" fmla="*/ 2147483647 h 190"/>
                <a:gd name="T24" fmla="*/ 2147483647 w 142"/>
                <a:gd name="T25" fmla="*/ 2147483647 h 1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
                <a:gd name="T40" fmla="*/ 0 h 190"/>
                <a:gd name="T41" fmla="*/ 142 w 142"/>
                <a:gd name="T42" fmla="*/ 190 h 19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 h="190">
                  <a:moveTo>
                    <a:pt x="22" y="135"/>
                  </a:moveTo>
                  <a:cubicBezTo>
                    <a:pt x="25" y="141"/>
                    <a:pt x="26" y="142"/>
                    <a:pt x="28" y="145"/>
                  </a:cubicBezTo>
                  <a:cubicBezTo>
                    <a:pt x="30" y="148"/>
                    <a:pt x="32" y="149"/>
                    <a:pt x="35" y="156"/>
                  </a:cubicBezTo>
                  <a:cubicBezTo>
                    <a:pt x="38" y="163"/>
                    <a:pt x="42" y="186"/>
                    <a:pt x="49" y="188"/>
                  </a:cubicBezTo>
                  <a:cubicBezTo>
                    <a:pt x="56" y="190"/>
                    <a:pt x="73" y="175"/>
                    <a:pt x="79" y="169"/>
                  </a:cubicBezTo>
                  <a:cubicBezTo>
                    <a:pt x="85" y="163"/>
                    <a:pt x="74" y="161"/>
                    <a:pt x="85" y="151"/>
                  </a:cubicBezTo>
                  <a:cubicBezTo>
                    <a:pt x="96" y="141"/>
                    <a:pt x="135" y="132"/>
                    <a:pt x="142" y="109"/>
                  </a:cubicBezTo>
                  <a:lnTo>
                    <a:pt x="130" y="10"/>
                  </a:lnTo>
                  <a:cubicBezTo>
                    <a:pt x="115" y="0"/>
                    <a:pt x="71" y="37"/>
                    <a:pt x="54" y="47"/>
                  </a:cubicBezTo>
                  <a:cubicBezTo>
                    <a:pt x="37" y="57"/>
                    <a:pt x="36" y="59"/>
                    <a:pt x="28" y="67"/>
                  </a:cubicBezTo>
                  <a:cubicBezTo>
                    <a:pt x="19" y="75"/>
                    <a:pt x="6" y="89"/>
                    <a:pt x="3" y="96"/>
                  </a:cubicBezTo>
                  <a:cubicBezTo>
                    <a:pt x="0" y="102"/>
                    <a:pt x="6" y="102"/>
                    <a:pt x="9" y="109"/>
                  </a:cubicBezTo>
                  <a:cubicBezTo>
                    <a:pt x="12" y="115"/>
                    <a:pt x="19" y="129"/>
                    <a:pt x="22" y="135"/>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56" name="Freeform 1151"/>
            <p:cNvSpPr>
              <a:spLocks/>
            </p:cNvSpPr>
            <p:nvPr/>
          </p:nvSpPr>
          <p:spPr bwMode="auto">
            <a:xfrm>
              <a:off x="3683000" y="2692478"/>
              <a:ext cx="250825" cy="219075"/>
            </a:xfrm>
            <a:custGeom>
              <a:avLst/>
              <a:gdLst>
                <a:gd name="T0" fmla="*/ 2147483647 w 158"/>
                <a:gd name="T1" fmla="*/ 2147483647 h 138"/>
                <a:gd name="T2" fmla="*/ 2147483647 w 158"/>
                <a:gd name="T3" fmla="*/ 2147483647 h 138"/>
                <a:gd name="T4" fmla="*/ 2147483647 w 158"/>
                <a:gd name="T5" fmla="*/ 2147483647 h 138"/>
                <a:gd name="T6" fmla="*/ 2147483647 w 158"/>
                <a:gd name="T7" fmla="*/ 2147483647 h 138"/>
                <a:gd name="T8" fmla="*/ 2147483647 w 158"/>
                <a:gd name="T9" fmla="*/ 2147483647 h 138"/>
                <a:gd name="T10" fmla="*/ 2147483647 w 158"/>
                <a:gd name="T11" fmla="*/ 2147483647 h 138"/>
                <a:gd name="T12" fmla="*/ 2147483647 w 158"/>
                <a:gd name="T13" fmla="*/ 2147483647 h 138"/>
                <a:gd name="T14" fmla="*/ 2147483647 w 158"/>
                <a:gd name="T15" fmla="*/ 2147483647 h 138"/>
                <a:gd name="T16" fmla="*/ 2147483647 w 158"/>
                <a:gd name="T17" fmla="*/ 2147483647 h 138"/>
                <a:gd name="T18" fmla="*/ 2147483647 w 158"/>
                <a:gd name="T19" fmla="*/ 2147483647 h 138"/>
                <a:gd name="T20" fmla="*/ 2147483647 w 158"/>
                <a:gd name="T21" fmla="*/ 2147483647 h 138"/>
                <a:gd name="T22" fmla="*/ 2147483647 w 158"/>
                <a:gd name="T23" fmla="*/ 2147483647 h 138"/>
                <a:gd name="T24" fmla="*/ 2147483647 w 158"/>
                <a:gd name="T25" fmla="*/ 2147483647 h 138"/>
                <a:gd name="T26" fmla="*/ 2147483647 w 158"/>
                <a:gd name="T27" fmla="*/ 2147483647 h 138"/>
                <a:gd name="T28" fmla="*/ 2147483647 w 158"/>
                <a:gd name="T29" fmla="*/ 2147483647 h 138"/>
                <a:gd name="T30" fmla="*/ 2147483647 w 158"/>
                <a:gd name="T31" fmla="*/ 2147483647 h 138"/>
                <a:gd name="T32" fmla="*/ 2147483647 w 158"/>
                <a:gd name="T33" fmla="*/ 2147483647 h 138"/>
                <a:gd name="T34" fmla="*/ 2147483647 w 158"/>
                <a:gd name="T35" fmla="*/ 2147483647 h 138"/>
                <a:gd name="T36" fmla="*/ 2147483647 w 158"/>
                <a:gd name="T37" fmla="*/ 2147483647 h 138"/>
                <a:gd name="T38" fmla="*/ 2147483647 w 158"/>
                <a:gd name="T39" fmla="*/ 2147483647 h 1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8"/>
                <a:gd name="T61" fmla="*/ 0 h 138"/>
                <a:gd name="T62" fmla="*/ 158 w 158"/>
                <a:gd name="T63" fmla="*/ 138 h 1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8" h="138">
                  <a:moveTo>
                    <a:pt x="1" y="71"/>
                  </a:moveTo>
                  <a:cubicBezTo>
                    <a:pt x="2" y="78"/>
                    <a:pt x="16" y="93"/>
                    <a:pt x="22" y="102"/>
                  </a:cubicBezTo>
                  <a:cubicBezTo>
                    <a:pt x="28" y="111"/>
                    <a:pt x="33" y="122"/>
                    <a:pt x="38" y="128"/>
                  </a:cubicBezTo>
                  <a:cubicBezTo>
                    <a:pt x="43" y="134"/>
                    <a:pt x="36" y="138"/>
                    <a:pt x="53" y="137"/>
                  </a:cubicBezTo>
                  <a:cubicBezTo>
                    <a:pt x="70" y="136"/>
                    <a:pt x="126" y="137"/>
                    <a:pt x="142" y="120"/>
                  </a:cubicBezTo>
                  <a:cubicBezTo>
                    <a:pt x="158" y="103"/>
                    <a:pt x="147" y="51"/>
                    <a:pt x="148" y="32"/>
                  </a:cubicBezTo>
                  <a:cubicBezTo>
                    <a:pt x="149" y="13"/>
                    <a:pt x="151" y="10"/>
                    <a:pt x="149" y="5"/>
                  </a:cubicBezTo>
                  <a:cubicBezTo>
                    <a:pt x="147" y="0"/>
                    <a:pt x="140" y="1"/>
                    <a:pt x="136" y="2"/>
                  </a:cubicBezTo>
                  <a:cubicBezTo>
                    <a:pt x="132" y="3"/>
                    <a:pt x="127" y="7"/>
                    <a:pt x="125" y="12"/>
                  </a:cubicBezTo>
                  <a:cubicBezTo>
                    <a:pt x="123" y="17"/>
                    <a:pt x="124" y="24"/>
                    <a:pt x="122" y="32"/>
                  </a:cubicBezTo>
                  <a:cubicBezTo>
                    <a:pt x="120" y="40"/>
                    <a:pt x="116" y="52"/>
                    <a:pt x="113" y="60"/>
                  </a:cubicBezTo>
                  <a:cubicBezTo>
                    <a:pt x="110" y="68"/>
                    <a:pt x="106" y="74"/>
                    <a:pt x="101" y="81"/>
                  </a:cubicBezTo>
                  <a:cubicBezTo>
                    <a:pt x="96" y="88"/>
                    <a:pt x="90" y="97"/>
                    <a:pt x="85" y="105"/>
                  </a:cubicBezTo>
                  <a:cubicBezTo>
                    <a:pt x="80" y="113"/>
                    <a:pt x="77" y="124"/>
                    <a:pt x="71" y="126"/>
                  </a:cubicBezTo>
                  <a:cubicBezTo>
                    <a:pt x="65" y="128"/>
                    <a:pt x="55" y="125"/>
                    <a:pt x="50" y="120"/>
                  </a:cubicBezTo>
                  <a:cubicBezTo>
                    <a:pt x="45" y="115"/>
                    <a:pt x="41" y="100"/>
                    <a:pt x="38" y="93"/>
                  </a:cubicBezTo>
                  <a:cubicBezTo>
                    <a:pt x="35" y="86"/>
                    <a:pt x="36" y="83"/>
                    <a:pt x="34" y="78"/>
                  </a:cubicBezTo>
                  <a:cubicBezTo>
                    <a:pt x="32" y="73"/>
                    <a:pt x="26" y="68"/>
                    <a:pt x="23" y="65"/>
                  </a:cubicBezTo>
                  <a:cubicBezTo>
                    <a:pt x="20" y="62"/>
                    <a:pt x="16" y="62"/>
                    <a:pt x="13" y="62"/>
                  </a:cubicBezTo>
                  <a:cubicBezTo>
                    <a:pt x="10" y="62"/>
                    <a:pt x="0" y="64"/>
                    <a:pt x="1" y="71"/>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57" name="Freeform 1152"/>
            <p:cNvSpPr>
              <a:spLocks/>
            </p:cNvSpPr>
            <p:nvPr/>
          </p:nvSpPr>
          <p:spPr bwMode="auto">
            <a:xfrm>
              <a:off x="3733800" y="2373391"/>
              <a:ext cx="390525" cy="798513"/>
            </a:xfrm>
            <a:custGeom>
              <a:avLst/>
              <a:gdLst>
                <a:gd name="T0" fmla="*/ 2147483647 w 246"/>
                <a:gd name="T1" fmla="*/ 2147483647 h 503"/>
                <a:gd name="T2" fmla="*/ 2147483647 w 246"/>
                <a:gd name="T3" fmla="*/ 2147483647 h 503"/>
                <a:gd name="T4" fmla="*/ 2147483647 w 246"/>
                <a:gd name="T5" fmla="*/ 2147483647 h 503"/>
                <a:gd name="T6" fmla="*/ 2147483647 w 246"/>
                <a:gd name="T7" fmla="*/ 2147483647 h 503"/>
                <a:gd name="T8" fmla="*/ 2147483647 w 246"/>
                <a:gd name="T9" fmla="*/ 2147483647 h 503"/>
                <a:gd name="T10" fmla="*/ 2147483647 w 246"/>
                <a:gd name="T11" fmla="*/ 2147483647 h 503"/>
                <a:gd name="T12" fmla="*/ 2147483647 w 246"/>
                <a:gd name="T13" fmla="*/ 2147483647 h 503"/>
                <a:gd name="T14" fmla="*/ 2147483647 w 246"/>
                <a:gd name="T15" fmla="*/ 2147483647 h 503"/>
                <a:gd name="T16" fmla="*/ 2147483647 w 246"/>
                <a:gd name="T17" fmla="*/ 2147483647 h 503"/>
                <a:gd name="T18" fmla="*/ 2147483647 w 246"/>
                <a:gd name="T19" fmla="*/ 2147483647 h 503"/>
                <a:gd name="T20" fmla="*/ 2147483647 w 246"/>
                <a:gd name="T21" fmla="*/ 2147483647 h 503"/>
                <a:gd name="T22" fmla="*/ 2147483647 w 246"/>
                <a:gd name="T23" fmla="*/ 2147483647 h 503"/>
                <a:gd name="T24" fmla="*/ 2147483647 w 246"/>
                <a:gd name="T25" fmla="*/ 2147483647 h 503"/>
                <a:gd name="T26" fmla="*/ 2147483647 w 246"/>
                <a:gd name="T27" fmla="*/ 2147483647 h 503"/>
                <a:gd name="T28" fmla="*/ 2147483647 w 246"/>
                <a:gd name="T29" fmla="*/ 2147483647 h 503"/>
                <a:gd name="T30" fmla="*/ 2147483647 w 246"/>
                <a:gd name="T31" fmla="*/ 2147483647 h 503"/>
                <a:gd name="T32" fmla="*/ 2147483647 w 246"/>
                <a:gd name="T33" fmla="*/ 2147483647 h 503"/>
                <a:gd name="T34" fmla="*/ 2147483647 w 246"/>
                <a:gd name="T35" fmla="*/ 2147483647 h 503"/>
                <a:gd name="T36" fmla="*/ 2147483647 w 246"/>
                <a:gd name="T37" fmla="*/ 2147483647 h 503"/>
                <a:gd name="T38" fmla="*/ 2147483647 w 246"/>
                <a:gd name="T39" fmla="*/ 2147483647 h 503"/>
                <a:gd name="T40" fmla="*/ 2147483647 w 246"/>
                <a:gd name="T41" fmla="*/ 2147483647 h 503"/>
                <a:gd name="T42" fmla="*/ 2147483647 w 246"/>
                <a:gd name="T43" fmla="*/ 2147483647 h 503"/>
                <a:gd name="T44" fmla="*/ 2147483647 w 246"/>
                <a:gd name="T45" fmla="*/ 2147483647 h 503"/>
                <a:gd name="T46" fmla="*/ 2147483647 w 246"/>
                <a:gd name="T47" fmla="*/ 2147483647 h 503"/>
                <a:gd name="T48" fmla="*/ 2147483647 w 246"/>
                <a:gd name="T49" fmla="*/ 2147483647 h 503"/>
                <a:gd name="T50" fmla="*/ 2147483647 w 246"/>
                <a:gd name="T51" fmla="*/ 2147483647 h 503"/>
                <a:gd name="T52" fmla="*/ 2147483647 w 246"/>
                <a:gd name="T53" fmla="*/ 2147483647 h 503"/>
                <a:gd name="T54" fmla="*/ 2147483647 w 246"/>
                <a:gd name="T55" fmla="*/ 2147483647 h 503"/>
                <a:gd name="T56" fmla="*/ 2147483647 w 246"/>
                <a:gd name="T57" fmla="*/ 2147483647 h 503"/>
                <a:gd name="T58" fmla="*/ 2147483647 w 246"/>
                <a:gd name="T59" fmla="*/ 2147483647 h 503"/>
                <a:gd name="T60" fmla="*/ 2147483647 w 246"/>
                <a:gd name="T61" fmla="*/ 2147483647 h 503"/>
                <a:gd name="T62" fmla="*/ 2147483647 w 246"/>
                <a:gd name="T63" fmla="*/ 2147483647 h 503"/>
                <a:gd name="T64" fmla="*/ 2147483647 w 246"/>
                <a:gd name="T65" fmla="*/ 2147483647 h 503"/>
                <a:gd name="T66" fmla="*/ 2147483647 w 246"/>
                <a:gd name="T67" fmla="*/ 0 h 50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6"/>
                <a:gd name="T103" fmla="*/ 0 h 503"/>
                <a:gd name="T104" fmla="*/ 246 w 246"/>
                <a:gd name="T105" fmla="*/ 503 h 50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6" h="503">
                  <a:moveTo>
                    <a:pt x="0" y="41"/>
                  </a:moveTo>
                  <a:lnTo>
                    <a:pt x="17" y="50"/>
                  </a:lnTo>
                  <a:lnTo>
                    <a:pt x="32" y="105"/>
                  </a:lnTo>
                  <a:lnTo>
                    <a:pt x="65" y="147"/>
                  </a:lnTo>
                  <a:lnTo>
                    <a:pt x="44" y="167"/>
                  </a:lnTo>
                  <a:lnTo>
                    <a:pt x="60" y="183"/>
                  </a:lnTo>
                  <a:lnTo>
                    <a:pt x="75" y="182"/>
                  </a:lnTo>
                  <a:lnTo>
                    <a:pt x="95" y="176"/>
                  </a:lnTo>
                  <a:lnTo>
                    <a:pt x="101" y="209"/>
                  </a:lnTo>
                  <a:lnTo>
                    <a:pt x="123" y="207"/>
                  </a:lnTo>
                  <a:lnTo>
                    <a:pt x="170" y="233"/>
                  </a:lnTo>
                  <a:cubicBezTo>
                    <a:pt x="177" y="243"/>
                    <a:pt x="166" y="256"/>
                    <a:pt x="168" y="269"/>
                  </a:cubicBezTo>
                  <a:cubicBezTo>
                    <a:pt x="170" y="282"/>
                    <a:pt x="184" y="293"/>
                    <a:pt x="182" y="312"/>
                  </a:cubicBezTo>
                  <a:lnTo>
                    <a:pt x="159" y="383"/>
                  </a:lnTo>
                  <a:lnTo>
                    <a:pt x="159" y="398"/>
                  </a:lnTo>
                  <a:cubicBezTo>
                    <a:pt x="156" y="418"/>
                    <a:pt x="132" y="486"/>
                    <a:pt x="143" y="503"/>
                  </a:cubicBezTo>
                  <a:lnTo>
                    <a:pt x="225" y="498"/>
                  </a:lnTo>
                  <a:lnTo>
                    <a:pt x="221" y="480"/>
                  </a:lnTo>
                  <a:lnTo>
                    <a:pt x="230" y="459"/>
                  </a:lnTo>
                  <a:cubicBezTo>
                    <a:pt x="229" y="451"/>
                    <a:pt x="220" y="436"/>
                    <a:pt x="215" y="429"/>
                  </a:cubicBezTo>
                  <a:lnTo>
                    <a:pt x="201" y="417"/>
                  </a:lnTo>
                  <a:cubicBezTo>
                    <a:pt x="195" y="412"/>
                    <a:pt x="184" y="406"/>
                    <a:pt x="180" y="401"/>
                  </a:cubicBezTo>
                  <a:lnTo>
                    <a:pt x="176" y="387"/>
                  </a:lnTo>
                  <a:lnTo>
                    <a:pt x="180" y="350"/>
                  </a:lnTo>
                  <a:lnTo>
                    <a:pt x="201" y="320"/>
                  </a:lnTo>
                  <a:cubicBezTo>
                    <a:pt x="203" y="307"/>
                    <a:pt x="195" y="284"/>
                    <a:pt x="191" y="269"/>
                  </a:cubicBezTo>
                  <a:cubicBezTo>
                    <a:pt x="187" y="254"/>
                    <a:pt x="184" y="240"/>
                    <a:pt x="179" y="230"/>
                  </a:cubicBezTo>
                  <a:lnTo>
                    <a:pt x="159" y="210"/>
                  </a:lnTo>
                  <a:lnTo>
                    <a:pt x="132" y="200"/>
                  </a:lnTo>
                  <a:lnTo>
                    <a:pt x="123" y="195"/>
                  </a:lnTo>
                  <a:lnTo>
                    <a:pt x="137" y="183"/>
                  </a:lnTo>
                  <a:lnTo>
                    <a:pt x="153" y="179"/>
                  </a:lnTo>
                  <a:lnTo>
                    <a:pt x="182" y="200"/>
                  </a:lnTo>
                  <a:lnTo>
                    <a:pt x="200" y="216"/>
                  </a:lnTo>
                  <a:lnTo>
                    <a:pt x="219" y="224"/>
                  </a:lnTo>
                  <a:lnTo>
                    <a:pt x="221" y="242"/>
                  </a:lnTo>
                  <a:lnTo>
                    <a:pt x="228" y="228"/>
                  </a:lnTo>
                  <a:lnTo>
                    <a:pt x="219" y="212"/>
                  </a:lnTo>
                  <a:lnTo>
                    <a:pt x="206" y="204"/>
                  </a:lnTo>
                  <a:lnTo>
                    <a:pt x="194" y="200"/>
                  </a:lnTo>
                  <a:lnTo>
                    <a:pt x="182" y="186"/>
                  </a:lnTo>
                  <a:lnTo>
                    <a:pt x="177" y="170"/>
                  </a:lnTo>
                  <a:lnTo>
                    <a:pt x="206" y="152"/>
                  </a:lnTo>
                  <a:lnTo>
                    <a:pt x="213" y="137"/>
                  </a:lnTo>
                  <a:lnTo>
                    <a:pt x="233" y="113"/>
                  </a:lnTo>
                  <a:lnTo>
                    <a:pt x="239" y="92"/>
                  </a:lnTo>
                  <a:lnTo>
                    <a:pt x="227" y="92"/>
                  </a:lnTo>
                  <a:lnTo>
                    <a:pt x="224" y="74"/>
                  </a:lnTo>
                  <a:lnTo>
                    <a:pt x="231" y="62"/>
                  </a:lnTo>
                  <a:lnTo>
                    <a:pt x="242" y="48"/>
                  </a:lnTo>
                  <a:lnTo>
                    <a:pt x="246" y="29"/>
                  </a:lnTo>
                  <a:lnTo>
                    <a:pt x="228" y="15"/>
                  </a:lnTo>
                  <a:lnTo>
                    <a:pt x="216" y="9"/>
                  </a:lnTo>
                  <a:lnTo>
                    <a:pt x="219" y="29"/>
                  </a:lnTo>
                  <a:lnTo>
                    <a:pt x="210" y="51"/>
                  </a:lnTo>
                  <a:lnTo>
                    <a:pt x="210" y="72"/>
                  </a:lnTo>
                  <a:lnTo>
                    <a:pt x="218" y="101"/>
                  </a:lnTo>
                  <a:lnTo>
                    <a:pt x="206" y="119"/>
                  </a:lnTo>
                  <a:lnTo>
                    <a:pt x="197" y="99"/>
                  </a:lnTo>
                  <a:lnTo>
                    <a:pt x="174" y="75"/>
                  </a:lnTo>
                  <a:lnTo>
                    <a:pt x="158" y="54"/>
                  </a:lnTo>
                  <a:lnTo>
                    <a:pt x="143" y="39"/>
                  </a:lnTo>
                  <a:lnTo>
                    <a:pt x="125" y="29"/>
                  </a:lnTo>
                  <a:lnTo>
                    <a:pt x="111" y="35"/>
                  </a:lnTo>
                  <a:lnTo>
                    <a:pt x="78" y="24"/>
                  </a:lnTo>
                  <a:lnTo>
                    <a:pt x="44" y="24"/>
                  </a:lnTo>
                  <a:lnTo>
                    <a:pt x="35" y="14"/>
                  </a:lnTo>
                  <a:lnTo>
                    <a:pt x="24" y="0"/>
                  </a:lnTo>
                  <a:lnTo>
                    <a:pt x="0" y="41"/>
                  </a:ln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58" name="Freeform 1153"/>
            <p:cNvSpPr>
              <a:spLocks/>
            </p:cNvSpPr>
            <p:nvPr/>
          </p:nvSpPr>
          <p:spPr bwMode="auto">
            <a:xfrm>
              <a:off x="4119563" y="2554366"/>
              <a:ext cx="107950" cy="166688"/>
            </a:xfrm>
            <a:custGeom>
              <a:avLst/>
              <a:gdLst>
                <a:gd name="T0" fmla="*/ 2147483647 w 68"/>
                <a:gd name="T1" fmla="*/ 2147483647 h 105"/>
                <a:gd name="T2" fmla="*/ 2147483647 w 68"/>
                <a:gd name="T3" fmla="*/ 2147483647 h 105"/>
                <a:gd name="T4" fmla="*/ 2147483647 w 68"/>
                <a:gd name="T5" fmla="*/ 2147483647 h 105"/>
                <a:gd name="T6" fmla="*/ 2147483647 w 68"/>
                <a:gd name="T7" fmla="*/ 2147483647 h 105"/>
                <a:gd name="T8" fmla="*/ 2147483647 w 68"/>
                <a:gd name="T9" fmla="*/ 2147483647 h 105"/>
                <a:gd name="T10" fmla="*/ 2147483647 w 68"/>
                <a:gd name="T11" fmla="*/ 2147483647 h 105"/>
                <a:gd name="T12" fmla="*/ 0 w 68"/>
                <a:gd name="T13" fmla="*/ 2147483647 h 105"/>
                <a:gd name="T14" fmla="*/ 2147483647 w 68"/>
                <a:gd name="T15" fmla="*/ 0 h 105"/>
                <a:gd name="T16" fmla="*/ 2147483647 w 68"/>
                <a:gd name="T17" fmla="*/ 2147483647 h 105"/>
                <a:gd name="T18" fmla="*/ 2147483647 w 68"/>
                <a:gd name="T19" fmla="*/ 2147483647 h 105"/>
                <a:gd name="T20" fmla="*/ 2147483647 w 68"/>
                <a:gd name="T21" fmla="*/ 2147483647 h 105"/>
                <a:gd name="T22" fmla="*/ 2147483647 w 68"/>
                <a:gd name="T23" fmla="*/ 2147483647 h 105"/>
                <a:gd name="T24" fmla="*/ 2147483647 w 68"/>
                <a:gd name="T25" fmla="*/ 2147483647 h 105"/>
                <a:gd name="T26" fmla="*/ 2147483647 w 68"/>
                <a:gd name="T27" fmla="*/ 2147483647 h 105"/>
                <a:gd name="T28" fmla="*/ 2147483647 w 68"/>
                <a:gd name="T29" fmla="*/ 2147483647 h 10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105"/>
                <a:gd name="T47" fmla="*/ 68 w 68"/>
                <a:gd name="T48" fmla="*/ 105 h 10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105">
                  <a:moveTo>
                    <a:pt x="62" y="101"/>
                  </a:moveTo>
                  <a:cubicBezTo>
                    <a:pt x="60" y="105"/>
                    <a:pt x="51" y="99"/>
                    <a:pt x="45" y="99"/>
                  </a:cubicBezTo>
                  <a:cubicBezTo>
                    <a:pt x="39" y="99"/>
                    <a:pt x="29" y="100"/>
                    <a:pt x="23" y="98"/>
                  </a:cubicBezTo>
                  <a:cubicBezTo>
                    <a:pt x="17" y="96"/>
                    <a:pt x="11" y="93"/>
                    <a:pt x="9" y="86"/>
                  </a:cubicBezTo>
                  <a:cubicBezTo>
                    <a:pt x="7" y="79"/>
                    <a:pt x="12" y="65"/>
                    <a:pt x="12" y="57"/>
                  </a:cubicBezTo>
                  <a:cubicBezTo>
                    <a:pt x="12" y="49"/>
                    <a:pt x="10" y="43"/>
                    <a:pt x="8" y="35"/>
                  </a:cubicBezTo>
                  <a:cubicBezTo>
                    <a:pt x="6" y="27"/>
                    <a:pt x="0" y="17"/>
                    <a:pt x="0" y="11"/>
                  </a:cubicBezTo>
                  <a:cubicBezTo>
                    <a:pt x="0" y="5"/>
                    <a:pt x="5" y="0"/>
                    <a:pt x="11" y="0"/>
                  </a:cubicBezTo>
                  <a:cubicBezTo>
                    <a:pt x="17" y="0"/>
                    <a:pt x="32" y="7"/>
                    <a:pt x="38" y="8"/>
                  </a:cubicBezTo>
                  <a:cubicBezTo>
                    <a:pt x="44" y="9"/>
                    <a:pt x="44" y="6"/>
                    <a:pt x="48" y="8"/>
                  </a:cubicBezTo>
                  <a:cubicBezTo>
                    <a:pt x="52" y="10"/>
                    <a:pt x="57" y="18"/>
                    <a:pt x="60" y="23"/>
                  </a:cubicBezTo>
                  <a:cubicBezTo>
                    <a:pt x="63" y="28"/>
                    <a:pt x="68" y="33"/>
                    <a:pt x="68" y="39"/>
                  </a:cubicBezTo>
                  <a:cubicBezTo>
                    <a:pt x="68" y="45"/>
                    <a:pt x="64" y="56"/>
                    <a:pt x="63" y="62"/>
                  </a:cubicBezTo>
                  <a:cubicBezTo>
                    <a:pt x="62" y="68"/>
                    <a:pt x="61" y="71"/>
                    <a:pt x="60" y="77"/>
                  </a:cubicBezTo>
                  <a:cubicBezTo>
                    <a:pt x="59" y="83"/>
                    <a:pt x="64" y="97"/>
                    <a:pt x="62" y="101"/>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59" name="Freeform 1154"/>
            <p:cNvSpPr>
              <a:spLocks/>
            </p:cNvSpPr>
            <p:nvPr/>
          </p:nvSpPr>
          <p:spPr bwMode="auto">
            <a:xfrm>
              <a:off x="4313238" y="2802016"/>
              <a:ext cx="90488" cy="103188"/>
            </a:xfrm>
            <a:custGeom>
              <a:avLst/>
              <a:gdLst>
                <a:gd name="T0" fmla="*/ 2147483647 w 57"/>
                <a:gd name="T1" fmla="*/ 2147483647 h 65"/>
                <a:gd name="T2" fmla="*/ 2147483647 w 57"/>
                <a:gd name="T3" fmla="*/ 0 h 65"/>
                <a:gd name="T4" fmla="*/ 0 w 57"/>
                <a:gd name="T5" fmla="*/ 2147483647 h 65"/>
                <a:gd name="T6" fmla="*/ 0 w 57"/>
                <a:gd name="T7" fmla="*/ 2147483647 h 65"/>
                <a:gd name="T8" fmla="*/ 2147483647 w 57"/>
                <a:gd name="T9" fmla="*/ 2147483647 h 65"/>
                <a:gd name="T10" fmla="*/ 2147483647 w 57"/>
                <a:gd name="T11" fmla="*/ 2147483647 h 65"/>
                <a:gd name="T12" fmla="*/ 2147483647 w 57"/>
                <a:gd name="T13" fmla="*/ 2147483647 h 65"/>
                <a:gd name="T14" fmla="*/ 2147483647 w 57"/>
                <a:gd name="T15" fmla="*/ 2147483647 h 65"/>
                <a:gd name="T16" fmla="*/ 2147483647 w 57"/>
                <a:gd name="T17" fmla="*/ 2147483647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65"/>
                <a:gd name="T29" fmla="*/ 57 w 57"/>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65">
                  <a:moveTo>
                    <a:pt x="48" y="24"/>
                  </a:moveTo>
                  <a:lnTo>
                    <a:pt x="39" y="0"/>
                  </a:lnTo>
                  <a:lnTo>
                    <a:pt x="0" y="8"/>
                  </a:lnTo>
                  <a:lnTo>
                    <a:pt x="0" y="48"/>
                  </a:lnTo>
                  <a:lnTo>
                    <a:pt x="30" y="65"/>
                  </a:lnTo>
                  <a:lnTo>
                    <a:pt x="40" y="53"/>
                  </a:lnTo>
                  <a:lnTo>
                    <a:pt x="57" y="45"/>
                  </a:lnTo>
                  <a:lnTo>
                    <a:pt x="42" y="35"/>
                  </a:lnTo>
                  <a:lnTo>
                    <a:pt x="48" y="24"/>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0" name="Freeform 1155"/>
            <p:cNvSpPr>
              <a:spLocks/>
            </p:cNvSpPr>
            <p:nvPr/>
          </p:nvSpPr>
          <p:spPr bwMode="auto">
            <a:xfrm>
              <a:off x="3641725" y="2911553"/>
              <a:ext cx="276225" cy="461963"/>
            </a:xfrm>
            <a:custGeom>
              <a:avLst/>
              <a:gdLst>
                <a:gd name="T0" fmla="*/ 2147483647 w 174"/>
                <a:gd name="T1" fmla="*/ 2147483647 h 291"/>
                <a:gd name="T2" fmla="*/ 2147483647 w 174"/>
                <a:gd name="T3" fmla="*/ 2147483647 h 291"/>
                <a:gd name="T4" fmla="*/ 2147483647 w 174"/>
                <a:gd name="T5" fmla="*/ 2147483647 h 291"/>
                <a:gd name="T6" fmla="*/ 2147483647 w 174"/>
                <a:gd name="T7" fmla="*/ 2147483647 h 291"/>
                <a:gd name="T8" fmla="*/ 2147483647 w 174"/>
                <a:gd name="T9" fmla="*/ 2147483647 h 291"/>
                <a:gd name="T10" fmla="*/ 2147483647 w 174"/>
                <a:gd name="T11" fmla="*/ 0 h 291"/>
                <a:gd name="T12" fmla="*/ 2147483647 w 174"/>
                <a:gd name="T13" fmla="*/ 2147483647 h 291"/>
                <a:gd name="T14" fmla="*/ 2147483647 w 174"/>
                <a:gd name="T15" fmla="*/ 2147483647 h 291"/>
                <a:gd name="T16" fmla="*/ 2147483647 w 174"/>
                <a:gd name="T17" fmla="*/ 2147483647 h 291"/>
                <a:gd name="T18" fmla="*/ 2147483647 w 174"/>
                <a:gd name="T19" fmla="*/ 2147483647 h 291"/>
                <a:gd name="T20" fmla="*/ 2147483647 w 174"/>
                <a:gd name="T21" fmla="*/ 2147483647 h 291"/>
                <a:gd name="T22" fmla="*/ 0 w 174"/>
                <a:gd name="T23" fmla="*/ 2147483647 h 291"/>
                <a:gd name="T24" fmla="*/ 2147483647 w 174"/>
                <a:gd name="T25" fmla="*/ 2147483647 h 291"/>
                <a:gd name="T26" fmla="*/ 2147483647 w 174"/>
                <a:gd name="T27" fmla="*/ 2147483647 h 291"/>
                <a:gd name="T28" fmla="*/ 2147483647 w 174"/>
                <a:gd name="T29" fmla="*/ 2147483647 h 291"/>
                <a:gd name="T30" fmla="*/ 2147483647 w 174"/>
                <a:gd name="T31" fmla="*/ 2147483647 h 291"/>
                <a:gd name="T32" fmla="*/ 2147483647 w 174"/>
                <a:gd name="T33" fmla="*/ 2147483647 h 291"/>
                <a:gd name="T34" fmla="*/ 2147483647 w 174"/>
                <a:gd name="T35" fmla="*/ 2147483647 h 291"/>
                <a:gd name="T36" fmla="*/ 2147483647 w 174"/>
                <a:gd name="T37" fmla="*/ 2147483647 h 291"/>
                <a:gd name="T38" fmla="*/ 2147483647 w 174"/>
                <a:gd name="T39" fmla="*/ 2147483647 h 291"/>
                <a:gd name="T40" fmla="*/ 2147483647 w 174"/>
                <a:gd name="T41" fmla="*/ 2147483647 h 291"/>
                <a:gd name="T42" fmla="*/ 2147483647 w 174"/>
                <a:gd name="T43" fmla="*/ 2147483647 h 291"/>
                <a:gd name="T44" fmla="*/ 2147483647 w 174"/>
                <a:gd name="T45" fmla="*/ 2147483647 h 291"/>
                <a:gd name="T46" fmla="*/ 2147483647 w 174"/>
                <a:gd name="T47" fmla="*/ 2147483647 h 29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4"/>
                <a:gd name="T73" fmla="*/ 0 h 291"/>
                <a:gd name="T74" fmla="*/ 174 w 174"/>
                <a:gd name="T75" fmla="*/ 291 h 29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4" h="291">
                  <a:moveTo>
                    <a:pt x="90" y="290"/>
                  </a:moveTo>
                  <a:lnTo>
                    <a:pt x="144" y="291"/>
                  </a:lnTo>
                  <a:lnTo>
                    <a:pt x="156" y="216"/>
                  </a:lnTo>
                  <a:lnTo>
                    <a:pt x="127" y="96"/>
                  </a:lnTo>
                  <a:lnTo>
                    <a:pt x="174" y="98"/>
                  </a:lnTo>
                  <a:lnTo>
                    <a:pt x="165" y="0"/>
                  </a:lnTo>
                  <a:lnTo>
                    <a:pt x="111" y="9"/>
                  </a:lnTo>
                  <a:lnTo>
                    <a:pt x="109" y="36"/>
                  </a:lnTo>
                  <a:lnTo>
                    <a:pt x="91" y="41"/>
                  </a:lnTo>
                  <a:lnTo>
                    <a:pt x="61" y="65"/>
                  </a:lnTo>
                  <a:lnTo>
                    <a:pt x="48" y="56"/>
                  </a:lnTo>
                  <a:lnTo>
                    <a:pt x="0" y="92"/>
                  </a:lnTo>
                  <a:lnTo>
                    <a:pt x="10" y="131"/>
                  </a:lnTo>
                  <a:lnTo>
                    <a:pt x="22" y="123"/>
                  </a:lnTo>
                  <a:lnTo>
                    <a:pt x="45" y="122"/>
                  </a:lnTo>
                  <a:lnTo>
                    <a:pt x="55" y="156"/>
                  </a:lnTo>
                  <a:lnTo>
                    <a:pt x="43" y="168"/>
                  </a:lnTo>
                  <a:lnTo>
                    <a:pt x="42" y="228"/>
                  </a:lnTo>
                  <a:lnTo>
                    <a:pt x="55" y="222"/>
                  </a:lnTo>
                  <a:lnTo>
                    <a:pt x="70" y="237"/>
                  </a:lnTo>
                  <a:lnTo>
                    <a:pt x="87" y="222"/>
                  </a:lnTo>
                  <a:lnTo>
                    <a:pt x="103" y="251"/>
                  </a:lnTo>
                  <a:lnTo>
                    <a:pt x="84" y="272"/>
                  </a:lnTo>
                  <a:lnTo>
                    <a:pt x="90" y="29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1" name="Freeform 1156"/>
            <p:cNvSpPr>
              <a:spLocks/>
            </p:cNvSpPr>
            <p:nvPr/>
          </p:nvSpPr>
          <p:spPr bwMode="auto">
            <a:xfrm>
              <a:off x="4203700" y="3478291"/>
              <a:ext cx="455613" cy="295275"/>
            </a:xfrm>
            <a:custGeom>
              <a:avLst/>
              <a:gdLst>
                <a:gd name="T0" fmla="*/ 2147483647 w 614"/>
                <a:gd name="T1" fmla="*/ 2147483647 h 391"/>
                <a:gd name="T2" fmla="*/ 2147483647 w 614"/>
                <a:gd name="T3" fmla="*/ 2147483647 h 391"/>
                <a:gd name="T4" fmla="*/ 2147483647 w 614"/>
                <a:gd name="T5" fmla="*/ 2147483647 h 391"/>
                <a:gd name="T6" fmla="*/ 2147483647 w 614"/>
                <a:gd name="T7" fmla="*/ 2147483647 h 391"/>
                <a:gd name="T8" fmla="*/ 2147483647 w 614"/>
                <a:gd name="T9" fmla="*/ 2147483647 h 391"/>
                <a:gd name="T10" fmla="*/ 2147483647 w 614"/>
                <a:gd name="T11" fmla="*/ 2147483647 h 391"/>
                <a:gd name="T12" fmla="*/ 2147483647 w 614"/>
                <a:gd name="T13" fmla="*/ 2147483647 h 391"/>
                <a:gd name="T14" fmla="*/ 2147483647 w 614"/>
                <a:gd name="T15" fmla="*/ 2147483647 h 391"/>
                <a:gd name="T16" fmla="*/ 2147483647 w 614"/>
                <a:gd name="T17" fmla="*/ 2147483647 h 391"/>
                <a:gd name="T18" fmla="*/ 2147483647 w 614"/>
                <a:gd name="T19" fmla="*/ 2147483647 h 391"/>
                <a:gd name="T20" fmla="*/ 2147483647 w 614"/>
                <a:gd name="T21" fmla="*/ 2147483647 h 391"/>
                <a:gd name="T22" fmla="*/ 2147483647 w 614"/>
                <a:gd name="T23" fmla="*/ 2147483647 h 391"/>
                <a:gd name="T24" fmla="*/ 2147483647 w 614"/>
                <a:gd name="T25" fmla="*/ 2147483647 h 391"/>
                <a:gd name="T26" fmla="*/ 2147483647 w 614"/>
                <a:gd name="T27" fmla="*/ 2147483647 h 391"/>
                <a:gd name="T28" fmla="*/ 0 w 614"/>
                <a:gd name="T29" fmla="*/ 2147483647 h 391"/>
                <a:gd name="T30" fmla="*/ 2147483647 w 614"/>
                <a:gd name="T31" fmla="*/ 2147483647 h 391"/>
                <a:gd name="T32" fmla="*/ 2147483647 w 614"/>
                <a:gd name="T33" fmla="*/ 2147483647 h 391"/>
                <a:gd name="T34" fmla="*/ 2147483647 w 614"/>
                <a:gd name="T35" fmla="*/ 2147483647 h 391"/>
                <a:gd name="T36" fmla="*/ 2147483647 w 614"/>
                <a:gd name="T37" fmla="*/ 2147483647 h 391"/>
                <a:gd name="T38" fmla="*/ 2147483647 w 614"/>
                <a:gd name="T39" fmla="*/ 2147483647 h 391"/>
                <a:gd name="T40" fmla="*/ 2147483647 w 614"/>
                <a:gd name="T41" fmla="*/ 2147483647 h 391"/>
                <a:gd name="T42" fmla="*/ 2147483647 w 614"/>
                <a:gd name="T43" fmla="*/ 2147483647 h 391"/>
                <a:gd name="T44" fmla="*/ 2147483647 w 614"/>
                <a:gd name="T45" fmla="*/ 2147483647 h 391"/>
                <a:gd name="T46" fmla="*/ 2147483647 w 614"/>
                <a:gd name="T47" fmla="*/ 2147483647 h 391"/>
                <a:gd name="T48" fmla="*/ 2147483647 w 614"/>
                <a:gd name="T49" fmla="*/ 2147483647 h 391"/>
                <a:gd name="T50" fmla="*/ 2147483647 w 614"/>
                <a:gd name="T51" fmla="*/ 0 h 391"/>
                <a:gd name="T52" fmla="*/ 2147483647 w 614"/>
                <a:gd name="T53" fmla="*/ 2147483647 h 391"/>
                <a:gd name="T54" fmla="*/ 2147483647 w 614"/>
                <a:gd name="T55" fmla="*/ 2147483647 h 391"/>
                <a:gd name="T56" fmla="*/ 2147483647 w 614"/>
                <a:gd name="T57" fmla="*/ 2147483647 h 391"/>
                <a:gd name="T58" fmla="*/ 2147483647 w 614"/>
                <a:gd name="T59" fmla="*/ 2147483647 h 391"/>
                <a:gd name="T60" fmla="*/ 2147483647 w 614"/>
                <a:gd name="T61" fmla="*/ 2147483647 h 391"/>
                <a:gd name="T62" fmla="*/ 2147483647 w 614"/>
                <a:gd name="T63" fmla="*/ 2147483647 h 3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4"/>
                <a:gd name="T97" fmla="*/ 0 h 391"/>
                <a:gd name="T98" fmla="*/ 614 w 614"/>
                <a:gd name="T99" fmla="*/ 391 h 3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4" h="391">
                  <a:moveTo>
                    <a:pt x="614" y="295"/>
                  </a:moveTo>
                  <a:lnTo>
                    <a:pt x="545" y="391"/>
                  </a:lnTo>
                  <a:lnTo>
                    <a:pt x="485" y="355"/>
                  </a:lnTo>
                  <a:lnTo>
                    <a:pt x="411" y="385"/>
                  </a:lnTo>
                  <a:lnTo>
                    <a:pt x="387" y="382"/>
                  </a:lnTo>
                  <a:lnTo>
                    <a:pt x="350" y="339"/>
                  </a:lnTo>
                  <a:lnTo>
                    <a:pt x="291" y="373"/>
                  </a:lnTo>
                  <a:lnTo>
                    <a:pt x="257" y="333"/>
                  </a:lnTo>
                  <a:lnTo>
                    <a:pt x="155" y="324"/>
                  </a:lnTo>
                  <a:lnTo>
                    <a:pt x="161" y="358"/>
                  </a:lnTo>
                  <a:lnTo>
                    <a:pt x="126" y="348"/>
                  </a:lnTo>
                  <a:lnTo>
                    <a:pt x="114" y="322"/>
                  </a:lnTo>
                  <a:lnTo>
                    <a:pt x="75" y="327"/>
                  </a:lnTo>
                  <a:lnTo>
                    <a:pt x="15" y="303"/>
                  </a:lnTo>
                  <a:lnTo>
                    <a:pt x="0" y="271"/>
                  </a:lnTo>
                  <a:lnTo>
                    <a:pt x="60" y="244"/>
                  </a:lnTo>
                  <a:lnTo>
                    <a:pt x="17" y="162"/>
                  </a:lnTo>
                  <a:lnTo>
                    <a:pt x="74" y="135"/>
                  </a:lnTo>
                  <a:lnTo>
                    <a:pt x="114" y="81"/>
                  </a:lnTo>
                  <a:lnTo>
                    <a:pt x="167" y="42"/>
                  </a:lnTo>
                  <a:lnTo>
                    <a:pt x="189" y="70"/>
                  </a:lnTo>
                  <a:lnTo>
                    <a:pt x="219" y="63"/>
                  </a:lnTo>
                  <a:lnTo>
                    <a:pt x="177" y="25"/>
                  </a:lnTo>
                  <a:lnTo>
                    <a:pt x="182" y="4"/>
                  </a:lnTo>
                  <a:lnTo>
                    <a:pt x="258" y="7"/>
                  </a:lnTo>
                  <a:lnTo>
                    <a:pt x="293" y="0"/>
                  </a:lnTo>
                  <a:lnTo>
                    <a:pt x="354" y="81"/>
                  </a:lnTo>
                  <a:lnTo>
                    <a:pt x="408" y="142"/>
                  </a:lnTo>
                  <a:lnTo>
                    <a:pt x="482" y="207"/>
                  </a:lnTo>
                  <a:lnTo>
                    <a:pt x="525" y="246"/>
                  </a:lnTo>
                  <a:lnTo>
                    <a:pt x="593" y="285"/>
                  </a:lnTo>
                  <a:lnTo>
                    <a:pt x="614" y="29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2" name="Freeform 1157"/>
            <p:cNvSpPr>
              <a:spLocks/>
            </p:cNvSpPr>
            <p:nvPr/>
          </p:nvSpPr>
          <p:spPr bwMode="auto">
            <a:xfrm>
              <a:off x="4308475" y="3551316"/>
              <a:ext cx="53975" cy="50800"/>
            </a:xfrm>
            <a:custGeom>
              <a:avLst/>
              <a:gdLst>
                <a:gd name="T0" fmla="*/ 2147483647 w 34"/>
                <a:gd name="T1" fmla="*/ 2147483647 h 32"/>
                <a:gd name="T2" fmla="*/ 2147483647 w 34"/>
                <a:gd name="T3" fmla="*/ 0 h 32"/>
                <a:gd name="T4" fmla="*/ 0 w 34"/>
                <a:gd name="T5" fmla="*/ 2147483647 h 32"/>
                <a:gd name="T6" fmla="*/ 2147483647 w 34"/>
                <a:gd name="T7" fmla="*/ 2147483647 h 32"/>
                <a:gd name="T8" fmla="*/ 2147483647 w 34"/>
                <a:gd name="T9" fmla="*/ 2147483647 h 32"/>
                <a:gd name="T10" fmla="*/ 0 60000 65536"/>
                <a:gd name="T11" fmla="*/ 0 60000 65536"/>
                <a:gd name="T12" fmla="*/ 0 60000 65536"/>
                <a:gd name="T13" fmla="*/ 0 60000 65536"/>
                <a:gd name="T14" fmla="*/ 0 60000 65536"/>
                <a:gd name="T15" fmla="*/ 0 w 34"/>
                <a:gd name="T16" fmla="*/ 0 h 32"/>
                <a:gd name="T17" fmla="*/ 34 w 34"/>
                <a:gd name="T18" fmla="*/ 32 h 32"/>
              </a:gdLst>
              <a:ahLst/>
              <a:cxnLst>
                <a:cxn ang="T10">
                  <a:pos x="T0" y="T1"/>
                </a:cxn>
                <a:cxn ang="T11">
                  <a:pos x="T2" y="T3"/>
                </a:cxn>
                <a:cxn ang="T12">
                  <a:pos x="T4" y="T5"/>
                </a:cxn>
                <a:cxn ang="T13">
                  <a:pos x="T6" y="T7"/>
                </a:cxn>
                <a:cxn ang="T14">
                  <a:pos x="T8" y="T9"/>
                </a:cxn>
              </a:cxnLst>
              <a:rect l="T15" t="T16" r="T17" b="T18"/>
              <a:pathLst>
                <a:path w="34" h="32">
                  <a:moveTo>
                    <a:pt x="34" y="16"/>
                  </a:moveTo>
                  <a:lnTo>
                    <a:pt x="16" y="0"/>
                  </a:lnTo>
                  <a:lnTo>
                    <a:pt x="0" y="16"/>
                  </a:lnTo>
                  <a:lnTo>
                    <a:pt x="6" y="32"/>
                  </a:lnTo>
                  <a:lnTo>
                    <a:pt x="34" y="16"/>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 name="Freeform 1158"/>
            <p:cNvSpPr>
              <a:spLocks/>
            </p:cNvSpPr>
            <p:nvPr/>
          </p:nvSpPr>
          <p:spPr bwMode="auto">
            <a:xfrm>
              <a:off x="2393950" y="5434091"/>
              <a:ext cx="384175" cy="347663"/>
            </a:xfrm>
            <a:custGeom>
              <a:avLst/>
              <a:gdLst>
                <a:gd name="T0" fmla="*/ 2147483647 w 242"/>
                <a:gd name="T1" fmla="*/ 2147483647 h 219"/>
                <a:gd name="T2" fmla="*/ 2147483647 w 242"/>
                <a:gd name="T3" fmla="*/ 2147483647 h 219"/>
                <a:gd name="T4" fmla="*/ 2147483647 w 242"/>
                <a:gd name="T5" fmla="*/ 2147483647 h 219"/>
                <a:gd name="T6" fmla="*/ 2147483647 w 242"/>
                <a:gd name="T7" fmla="*/ 2147483647 h 219"/>
                <a:gd name="T8" fmla="*/ 2147483647 w 242"/>
                <a:gd name="T9" fmla="*/ 2147483647 h 219"/>
                <a:gd name="T10" fmla="*/ 2147483647 w 242"/>
                <a:gd name="T11" fmla="*/ 2147483647 h 219"/>
                <a:gd name="T12" fmla="*/ 2147483647 w 242"/>
                <a:gd name="T13" fmla="*/ 2147483647 h 219"/>
                <a:gd name="T14" fmla="*/ 2147483647 w 242"/>
                <a:gd name="T15" fmla="*/ 2147483647 h 219"/>
                <a:gd name="T16" fmla="*/ 2147483647 w 242"/>
                <a:gd name="T17" fmla="*/ 2147483647 h 219"/>
                <a:gd name="T18" fmla="*/ 2147483647 w 242"/>
                <a:gd name="T19" fmla="*/ 2147483647 h 219"/>
                <a:gd name="T20" fmla="*/ 2147483647 w 242"/>
                <a:gd name="T21" fmla="*/ 2147483647 h 219"/>
                <a:gd name="T22" fmla="*/ 2147483647 w 242"/>
                <a:gd name="T23" fmla="*/ 2147483647 h 219"/>
                <a:gd name="T24" fmla="*/ 2147483647 w 242"/>
                <a:gd name="T25" fmla="*/ 2147483647 h 219"/>
                <a:gd name="T26" fmla="*/ 2147483647 w 242"/>
                <a:gd name="T27" fmla="*/ 2147483647 h 219"/>
                <a:gd name="T28" fmla="*/ 2147483647 w 242"/>
                <a:gd name="T29" fmla="*/ 2147483647 h 219"/>
                <a:gd name="T30" fmla="*/ 2147483647 w 242"/>
                <a:gd name="T31" fmla="*/ 2147483647 h 219"/>
                <a:gd name="T32" fmla="*/ 2147483647 w 242"/>
                <a:gd name="T33" fmla="*/ 2147483647 h 219"/>
                <a:gd name="T34" fmla="*/ 2147483647 w 242"/>
                <a:gd name="T35" fmla="*/ 2147483647 h 219"/>
                <a:gd name="T36" fmla="*/ 2147483647 w 242"/>
                <a:gd name="T37" fmla="*/ 2147483647 h 219"/>
                <a:gd name="T38" fmla="*/ 2147483647 w 242"/>
                <a:gd name="T39" fmla="*/ 2147483647 h 219"/>
                <a:gd name="T40" fmla="*/ 2147483647 w 242"/>
                <a:gd name="T41" fmla="*/ 2147483647 h 219"/>
                <a:gd name="T42" fmla="*/ 2147483647 w 242"/>
                <a:gd name="T43" fmla="*/ 2147483647 h 219"/>
                <a:gd name="T44" fmla="*/ 2147483647 w 242"/>
                <a:gd name="T45" fmla="*/ 2147483647 h 219"/>
                <a:gd name="T46" fmla="*/ 2147483647 w 242"/>
                <a:gd name="T47" fmla="*/ 2147483647 h 219"/>
                <a:gd name="T48" fmla="*/ 2147483647 w 242"/>
                <a:gd name="T49" fmla="*/ 2147483647 h 219"/>
                <a:gd name="T50" fmla="*/ 2147483647 w 242"/>
                <a:gd name="T51" fmla="*/ 2147483647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2"/>
                <a:gd name="T79" fmla="*/ 0 h 219"/>
                <a:gd name="T80" fmla="*/ 242 w 242"/>
                <a:gd name="T81" fmla="*/ 219 h 21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2" h="219">
                  <a:moveTo>
                    <a:pt x="234" y="218"/>
                  </a:moveTo>
                  <a:cubicBezTo>
                    <a:pt x="226" y="219"/>
                    <a:pt x="210" y="211"/>
                    <a:pt x="194" y="206"/>
                  </a:cubicBezTo>
                  <a:cubicBezTo>
                    <a:pt x="178" y="201"/>
                    <a:pt x="152" y="193"/>
                    <a:pt x="140" y="188"/>
                  </a:cubicBezTo>
                  <a:cubicBezTo>
                    <a:pt x="128" y="183"/>
                    <a:pt x="129" y="180"/>
                    <a:pt x="124" y="178"/>
                  </a:cubicBezTo>
                  <a:cubicBezTo>
                    <a:pt x="119" y="176"/>
                    <a:pt x="116" y="177"/>
                    <a:pt x="106" y="174"/>
                  </a:cubicBezTo>
                  <a:cubicBezTo>
                    <a:pt x="96" y="171"/>
                    <a:pt x="68" y="166"/>
                    <a:pt x="62" y="160"/>
                  </a:cubicBezTo>
                  <a:cubicBezTo>
                    <a:pt x="56" y="154"/>
                    <a:pt x="70" y="145"/>
                    <a:pt x="70" y="136"/>
                  </a:cubicBezTo>
                  <a:cubicBezTo>
                    <a:pt x="70" y="127"/>
                    <a:pt x="73" y="118"/>
                    <a:pt x="64" y="108"/>
                  </a:cubicBezTo>
                  <a:cubicBezTo>
                    <a:pt x="55" y="98"/>
                    <a:pt x="28" y="88"/>
                    <a:pt x="18" y="78"/>
                  </a:cubicBezTo>
                  <a:cubicBezTo>
                    <a:pt x="8" y="68"/>
                    <a:pt x="4" y="56"/>
                    <a:pt x="2" y="46"/>
                  </a:cubicBezTo>
                  <a:cubicBezTo>
                    <a:pt x="0" y="36"/>
                    <a:pt x="2" y="23"/>
                    <a:pt x="6" y="16"/>
                  </a:cubicBezTo>
                  <a:cubicBezTo>
                    <a:pt x="10" y="9"/>
                    <a:pt x="13" y="0"/>
                    <a:pt x="24" y="2"/>
                  </a:cubicBezTo>
                  <a:cubicBezTo>
                    <a:pt x="35" y="4"/>
                    <a:pt x="57" y="14"/>
                    <a:pt x="70" y="28"/>
                  </a:cubicBezTo>
                  <a:cubicBezTo>
                    <a:pt x="83" y="42"/>
                    <a:pt x="92" y="73"/>
                    <a:pt x="100" y="88"/>
                  </a:cubicBezTo>
                  <a:cubicBezTo>
                    <a:pt x="108" y="103"/>
                    <a:pt x="119" y="108"/>
                    <a:pt x="120" y="116"/>
                  </a:cubicBezTo>
                  <a:cubicBezTo>
                    <a:pt x="121" y="124"/>
                    <a:pt x="108" y="132"/>
                    <a:pt x="106" y="138"/>
                  </a:cubicBezTo>
                  <a:cubicBezTo>
                    <a:pt x="104" y="144"/>
                    <a:pt x="109" y="153"/>
                    <a:pt x="106" y="154"/>
                  </a:cubicBezTo>
                  <a:cubicBezTo>
                    <a:pt x="103" y="155"/>
                    <a:pt x="93" y="145"/>
                    <a:pt x="90" y="146"/>
                  </a:cubicBezTo>
                  <a:cubicBezTo>
                    <a:pt x="87" y="147"/>
                    <a:pt x="81" y="155"/>
                    <a:pt x="86" y="158"/>
                  </a:cubicBezTo>
                  <a:cubicBezTo>
                    <a:pt x="91" y="161"/>
                    <a:pt x="111" y="170"/>
                    <a:pt x="122" y="162"/>
                  </a:cubicBezTo>
                  <a:cubicBezTo>
                    <a:pt x="133" y="154"/>
                    <a:pt x="139" y="113"/>
                    <a:pt x="150" y="110"/>
                  </a:cubicBezTo>
                  <a:cubicBezTo>
                    <a:pt x="161" y="107"/>
                    <a:pt x="180" y="138"/>
                    <a:pt x="190" y="144"/>
                  </a:cubicBezTo>
                  <a:cubicBezTo>
                    <a:pt x="200" y="150"/>
                    <a:pt x="201" y="137"/>
                    <a:pt x="208" y="144"/>
                  </a:cubicBezTo>
                  <a:cubicBezTo>
                    <a:pt x="215" y="151"/>
                    <a:pt x="224" y="176"/>
                    <a:pt x="230" y="186"/>
                  </a:cubicBezTo>
                  <a:cubicBezTo>
                    <a:pt x="236" y="196"/>
                    <a:pt x="242" y="197"/>
                    <a:pt x="242" y="202"/>
                  </a:cubicBezTo>
                  <a:cubicBezTo>
                    <a:pt x="242" y="207"/>
                    <a:pt x="242" y="217"/>
                    <a:pt x="234" y="218"/>
                  </a:cubicBezTo>
                  <a:close/>
                </a:path>
              </a:pathLst>
            </a:custGeom>
            <a:solidFill>
              <a:srgbClr val="FFFF00"/>
            </a:solidFill>
            <a:ln w="3175" cap="flat" cmpd="sng">
              <a:solidFill>
                <a:srgbClr val="000000"/>
              </a:solidFill>
              <a:prstDash val="solid"/>
              <a:round/>
              <a:headEnd type="none" w="med" len="med"/>
              <a:tailEnd type="none" w="med" len="med"/>
            </a:ln>
          </p:spPr>
          <p:txBody>
            <a:bodyPr lIns="0" tIns="0" rIns="0" bIns="0">
              <a:spAutoFit/>
            </a:bodyPr>
            <a:lstStyle/>
            <a:p>
              <a:endParaRPr lang="de-DE"/>
            </a:p>
          </p:txBody>
        </p:sp>
        <p:sp>
          <p:nvSpPr>
            <p:cNvPr id="64" name="Freeform 1159"/>
            <p:cNvSpPr>
              <a:spLocks/>
            </p:cNvSpPr>
            <p:nvPr/>
          </p:nvSpPr>
          <p:spPr bwMode="auto">
            <a:xfrm>
              <a:off x="4643438" y="3733878"/>
              <a:ext cx="285750" cy="233363"/>
            </a:xfrm>
            <a:custGeom>
              <a:avLst/>
              <a:gdLst>
                <a:gd name="T0" fmla="*/ 2147483647 w 384"/>
                <a:gd name="T1" fmla="*/ 2147483647 h 307"/>
                <a:gd name="T2" fmla="*/ 2147483647 w 384"/>
                <a:gd name="T3" fmla="*/ 2147483647 h 307"/>
                <a:gd name="T4" fmla="*/ 2147483647 w 384"/>
                <a:gd name="T5" fmla="*/ 2147483647 h 307"/>
                <a:gd name="T6" fmla="*/ 2147483647 w 384"/>
                <a:gd name="T7" fmla="*/ 2147483647 h 307"/>
                <a:gd name="T8" fmla="*/ 2147483647 w 384"/>
                <a:gd name="T9" fmla="*/ 2147483647 h 307"/>
                <a:gd name="T10" fmla="*/ 2147483647 w 384"/>
                <a:gd name="T11" fmla="*/ 0 h 307"/>
                <a:gd name="T12" fmla="*/ 2147483647 w 384"/>
                <a:gd name="T13" fmla="*/ 2147483647 h 307"/>
                <a:gd name="T14" fmla="*/ 0 w 384"/>
                <a:gd name="T15" fmla="*/ 2147483647 h 307"/>
                <a:gd name="T16" fmla="*/ 2147483647 w 384"/>
                <a:gd name="T17" fmla="*/ 2147483647 h 307"/>
                <a:gd name="T18" fmla="*/ 2147483647 w 384"/>
                <a:gd name="T19" fmla="*/ 2147483647 h 307"/>
                <a:gd name="T20" fmla="*/ 2147483647 w 384"/>
                <a:gd name="T21" fmla="*/ 2147483647 h 307"/>
                <a:gd name="T22" fmla="*/ 2147483647 w 384"/>
                <a:gd name="T23" fmla="*/ 2147483647 h 307"/>
                <a:gd name="T24" fmla="*/ 2147483647 w 384"/>
                <a:gd name="T25" fmla="*/ 2147483647 h 307"/>
                <a:gd name="T26" fmla="*/ 2147483647 w 384"/>
                <a:gd name="T27" fmla="*/ 2147483647 h 307"/>
                <a:gd name="T28" fmla="*/ 2147483647 w 384"/>
                <a:gd name="T29" fmla="*/ 2147483647 h 307"/>
                <a:gd name="T30" fmla="*/ 2147483647 w 384"/>
                <a:gd name="T31" fmla="*/ 2147483647 h 307"/>
                <a:gd name="T32" fmla="*/ 2147483647 w 384"/>
                <a:gd name="T33" fmla="*/ 2147483647 h 3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4"/>
                <a:gd name="T52" fmla="*/ 0 h 307"/>
                <a:gd name="T53" fmla="*/ 384 w 384"/>
                <a:gd name="T54" fmla="*/ 307 h 30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4" h="307">
                  <a:moveTo>
                    <a:pt x="384" y="145"/>
                  </a:moveTo>
                  <a:lnTo>
                    <a:pt x="323" y="66"/>
                  </a:lnTo>
                  <a:lnTo>
                    <a:pt x="233" y="66"/>
                  </a:lnTo>
                  <a:lnTo>
                    <a:pt x="201" y="13"/>
                  </a:lnTo>
                  <a:lnTo>
                    <a:pt x="159" y="27"/>
                  </a:lnTo>
                  <a:lnTo>
                    <a:pt x="78" y="0"/>
                  </a:lnTo>
                  <a:lnTo>
                    <a:pt x="113" y="84"/>
                  </a:lnTo>
                  <a:lnTo>
                    <a:pt x="0" y="96"/>
                  </a:lnTo>
                  <a:lnTo>
                    <a:pt x="41" y="138"/>
                  </a:lnTo>
                  <a:lnTo>
                    <a:pt x="30" y="189"/>
                  </a:lnTo>
                  <a:lnTo>
                    <a:pt x="113" y="247"/>
                  </a:lnTo>
                  <a:lnTo>
                    <a:pt x="176" y="307"/>
                  </a:lnTo>
                  <a:lnTo>
                    <a:pt x="210" y="273"/>
                  </a:lnTo>
                  <a:lnTo>
                    <a:pt x="243" y="289"/>
                  </a:lnTo>
                  <a:lnTo>
                    <a:pt x="272" y="261"/>
                  </a:lnTo>
                  <a:lnTo>
                    <a:pt x="275" y="243"/>
                  </a:lnTo>
                  <a:lnTo>
                    <a:pt x="384" y="14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5" name="Freeform 1160"/>
            <p:cNvSpPr>
              <a:spLocks/>
            </p:cNvSpPr>
            <p:nvPr/>
          </p:nvSpPr>
          <p:spPr bwMode="auto">
            <a:xfrm>
              <a:off x="2511425" y="4602241"/>
              <a:ext cx="311150" cy="136525"/>
            </a:xfrm>
            <a:custGeom>
              <a:avLst/>
              <a:gdLst>
                <a:gd name="T0" fmla="*/ 0 w 196"/>
                <a:gd name="T1" fmla="*/ 2147483647 h 86"/>
                <a:gd name="T2" fmla="*/ 2147483647 w 196"/>
                <a:gd name="T3" fmla="*/ 2147483647 h 86"/>
                <a:gd name="T4" fmla="*/ 2147483647 w 196"/>
                <a:gd name="T5" fmla="*/ 2147483647 h 86"/>
                <a:gd name="T6" fmla="*/ 2147483647 w 196"/>
                <a:gd name="T7" fmla="*/ 2147483647 h 86"/>
                <a:gd name="T8" fmla="*/ 2147483647 w 196"/>
                <a:gd name="T9" fmla="*/ 0 h 86"/>
                <a:gd name="T10" fmla="*/ 0 60000 65536"/>
                <a:gd name="T11" fmla="*/ 0 60000 65536"/>
                <a:gd name="T12" fmla="*/ 0 60000 65536"/>
                <a:gd name="T13" fmla="*/ 0 60000 65536"/>
                <a:gd name="T14" fmla="*/ 0 60000 65536"/>
                <a:gd name="T15" fmla="*/ 0 w 196"/>
                <a:gd name="T16" fmla="*/ 0 h 86"/>
                <a:gd name="T17" fmla="*/ 196 w 196"/>
                <a:gd name="T18" fmla="*/ 86 h 86"/>
              </a:gdLst>
              <a:ahLst/>
              <a:cxnLst>
                <a:cxn ang="T10">
                  <a:pos x="T0" y="T1"/>
                </a:cxn>
                <a:cxn ang="T11">
                  <a:pos x="T2" y="T3"/>
                </a:cxn>
                <a:cxn ang="T12">
                  <a:pos x="T4" y="T5"/>
                </a:cxn>
                <a:cxn ang="T13">
                  <a:pos x="T6" y="T7"/>
                </a:cxn>
                <a:cxn ang="T14">
                  <a:pos x="T8" y="T9"/>
                </a:cxn>
              </a:cxnLst>
              <a:rect l="T15" t="T16" r="T17" b="T18"/>
              <a:pathLst>
                <a:path w="196" h="86">
                  <a:moveTo>
                    <a:pt x="0" y="86"/>
                  </a:moveTo>
                  <a:cubicBezTo>
                    <a:pt x="5" y="79"/>
                    <a:pt x="11" y="73"/>
                    <a:pt x="26" y="66"/>
                  </a:cubicBezTo>
                  <a:cubicBezTo>
                    <a:pt x="41" y="59"/>
                    <a:pt x="65" y="55"/>
                    <a:pt x="90" y="46"/>
                  </a:cubicBezTo>
                  <a:cubicBezTo>
                    <a:pt x="115" y="37"/>
                    <a:pt x="156" y="18"/>
                    <a:pt x="174" y="10"/>
                  </a:cubicBezTo>
                  <a:cubicBezTo>
                    <a:pt x="192" y="2"/>
                    <a:pt x="192" y="2"/>
                    <a:pt x="196"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6" name="Freeform 1161"/>
            <p:cNvSpPr>
              <a:spLocks/>
            </p:cNvSpPr>
            <p:nvPr/>
          </p:nvSpPr>
          <p:spPr bwMode="auto">
            <a:xfrm>
              <a:off x="1679575" y="5440441"/>
              <a:ext cx="1263650" cy="368300"/>
            </a:xfrm>
            <a:custGeom>
              <a:avLst/>
              <a:gdLst>
                <a:gd name="T0" fmla="*/ 2147483647 w 796"/>
                <a:gd name="T1" fmla="*/ 2147483647 h 232"/>
                <a:gd name="T2" fmla="*/ 2147483647 w 796"/>
                <a:gd name="T3" fmla="*/ 2147483647 h 232"/>
                <a:gd name="T4" fmla="*/ 2147483647 w 796"/>
                <a:gd name="T5" fmla="*/ 2147483647 h 232"/>
                <a:gd name="T6" fmla="*/ 2147483647 w 796"/>
                <a:gd name="T7" fmla="*/ 2147483647 h 232"/>
                <a:gd name="T8" fmla="*/ 2147483647 w 796"/>
                <a:gd name="T9" fmla="*/ 2147483647 h 232"/>
                <a:gd name="T10" fmla="*/ 2147483647 w 796"/>
                <a:gd name="T11" fmla="*/ 2147483647 h 232"/>
                <a:gd name="T12" fmla="*/ 2147483647 w 796"/>
                <a:gd name="T13" fmla="*/ 2147483647 h 232"/>
                <a:gd name="T14" fmla="*/ 2147483647 w 796"/>
                <a:gd name="T15" fmla="*/ 2147483647 h 232"/>
                <a:gd name="T16" fmla="*/ 2147483647 w 796"/>
                <a:gd name="T17" fmla="*/ 2147483647 h 232"/>
                <a:gd name="T18" fmla="*/ 2147483647 w 796"/>
                <a:gd name="T19" fmla="*/ 2147483647 h 232"/>
                <a:gd name="T20" fmla="*/ 2147483647 w 796"/>
                <a:gd name="T21" fmla="*/ 2147483647 h 232"/>
                <a:gd name="T22" fmla="*/ 2147483647 w 796"/>
                <a:gd name="T23" fmla="*/ 2147483647 h 232"/>
                <a:gd name="T24" fmla="*/ 0 w 796"/>
                <a:gd name="T25" fmla="*/ 0 h 2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6"/>
                <a:gd name="T40" fmla="*/ 0 h 232"/>
                <a:gd name="T41" fmla="*/ 796 w 796"/>
                <a:gd name="T42" fmla="*/ 232 h 2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6" h="232">
                  <a:moveTo>
                    <a:pt x="796" y="210"/>
                  </a:moveTo>
                  <a:cubicBezTo>
                    <a:pt x="787" y="219"/>
                    <a:pt x="778" y="228"/>
                    <a:pt x="760" y="230"/>
                  </a:cubicBezTo>
                  <a:cubicBezTo>
                    <a:pt x="742" y="232"/>
                    <a:pt x="712" y="227"/>
                    <a:pt x="690" y="224"/>
                  </a:cubicBezTo>
                  <a:cubicBezTo>
                    <a:pt x="668" y="221"/>
                    <a:pt x="651" y="217"/>
                    <a:pt x="630" y="210"/>
                  </a:cubicBezTo>
                  <a:cubicBezTo>
                    <a:pt x="609" y="203"/>
                    <a:pt x="589" y="192"/>
                    <a:pt x="566" y="184"/>
                  </a:cubicBezTo>
                  <a:cubicBezTo>
                    <a:pt x="543" y="176"/>
                    <a:pt x="514" y="172"/>
                    <a:pt x="490" y="164"/>
                  </a:cubicBezTo>
                  <a:cubicBezTo>
                    <a:pt x="466" y="156"/>
                    <a:pt x="447" y="145"/>
                    <a:pt x="422" y="136"/>
                  </a:cubicBezTo>
                  <a:cubicBezTo>
                    <a:pt x="397" y="127"/>
                    <a:pt x="367" y="120"/>
                    <a:pt x="342" y="110"/>
                  </a:cubicBezTo>
                  <a:cubicBezTo>
                    <a:pt x="317" y="100"/>
                    <a:pt x="294" y="84"/>
                    <a:pt x="272" y="76"/>
                  </a:cubicBezTo>
                  <a:cubicBezTo>
                    <a:pt x="250" y="68"/>
                    <a:pt x="241" y="68"/>
                    <a:pt x="212" y="62"/>
                  </a:cubicBezTo>
                  <a:cubicBezTo>
                    <a:pt x="183" y="56"/>
                    <a:pt x="127" y="49"/>
                    <a:pt x="100" y="42"/>
                  </a:cubicBezTo>
                  <a:cubicBezTo>
                    <a:pt x="73" y="35"/>
                    <a:pt x="65" y="27"/>
                    <a:pt x="48" y="20"/>
                  </a:cubicBezTo>
                  <a:cubicBezTo>
                    <a:pt x="31" y="13"/>
                    <a:pt x="15" y="6"/>
                    <a:pt x="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7" name="Freeform 1162"/>
            <p:cNvSpPr>
              <a:spLocks/>
            </p:cNvSpPr>
            <p:nvPr/>
          </p:nvSpPr>
          <p:spPr bwMode="auto">
            <a:xfrm>
              <a:off x="2098675" y="3986291"/>
              <a:ext cx="3798888" cy="1776413"/>
            </a:xfrm>
            <a:custGeom>
              <a:avLst/>
              <a:gdLst>
                <a:gd name="T0" fmla="*/ 0 w 2393"/>
                <a:gd name="T1" fmla="*/ 2147483647 h 1119"/>
                <a:gd name="T2" fmla="*/ 2147483647 w 2393"/>
                <a:gd name="T3" fmla="*/ 2147483647 h 1119"/>
                <a:gd name="T4" fmla="*/ 2147483647 w 2393"/>
                <a:gd name="T5" fmla="*/ 2147483647 h 1119"/>
                <a:gd name="T6" fmla="*/ 2147483647 w 2393"/>
                <a:gd name="T7" fmla="*/ 2147483647 h 1119"/>
                <a:gd name="T8" fmla="*/ 2147483647 w 2393"/>
                <a:gd name="T9" fmla="*/ 2147483647 h 1119"/>
                <a:gd name="T10" fmla="*/ 2147483647 w 2393"/>
                <a:gd name="T11" fmla="*/ 2147483647 h 1119"/>
                <a:gd name="T12" fmla="*/ 2147483647 w 2393"/>
                <a:gd name="T13" fmla="*/ 2147483647 h 1119"/>
                <a:gd name="T14" fmla="*/ 2147483647 w 2393"/>
                <a:gd name="T15" fmla="*/ 2147483647 h 1119"/>
                <a:gd name="T16" fmla="*/ 2147483647 w 2393"/>
                <a:gd name="T17" fmla="*/ 2147483647 h 1119"/>
                <a:gd name="T18" fmla="*/ 2147483647 w 2393"/>
                <a:gd name="T19" fmla="*/ 2147483647 h 1119"/>
                <a:gd name="T20" fmla="*/ 2147483647 w 2393"/>
                <a:gd name="T21" fmla="*/ 2147483647 h 1119"/>
                <a:gd name="T22" fmla="*/ 2147483647 w 2393"/>
                <a:gd name="T23" fmla="*/ 2147483647 h 1119"/>
                <a:gd name="T24" fmla="*/ 2147483647 w 2393"/>
                <a:gd name="T25" fmla="*/ 2147483647 h 1119"/>
                <a:gd name="T26" fmla="*/ 2147483647 w 2393"/>
                <a:gd name="T27" fmla="*/ 2147483647 h 1119"/>
                <a:gd name="T28" fmla="*/ 2147483647 w 2393"/>
                <a:gd name="T29" fmla="*/ 2147483647 h 1119"/>
                <a:gd name="T30" fmla="*/ 2147483647 w 2393"/>
                <a:gd name="T31" fmla="*/ 2147483647 h 1119"/>
                <a:gd name="T32" fmla="*/ 2147483647 w 2393"/>
                <a:gd name="T33" fmla="*/ 2147483647 h 1119"/>
                <a:gd name="T34" fmla="*/ 2147483647 w 2393"/>
                <a:gd name="T35" fmla="*/ 2147483647 h 1119"/>
                <a:gd name="T36" fmla="*/ 2147483647 w 2393"/>
                <a:gd name="T37" fmla="*/ 2147483647 h 1119"/>
                <a:gd name="T38" fmla="*/ 2147483647 w 2393"/>
                <a:gd name="T39" fmla="*/ 2147483647 h 1119"/>
                <a:gd name="T40" fmla="*/ 2147483647 w 2393"/>
                <a:gd name="T41" fmla="*/ 2147483647 h 1119"/>
                <a:gd name="T42" fmla="*/ 2147483647 w 2393"/>
                <a:gd name="T43" fmla="*/ 2147483647 h 1119"/>
                <a:gd name="T44" fmla="*/ 2147483647 w 2393"/>
                <a:gd name="T45" fmla="*/ 2147483647 h 1119"/>
                <a:gd name="T46" fmla="*/ 2147483647 w 2393"/>
                <a:gd name="T47" fmla="*/ 2147483647 h 1119"/>
                <a:gd name="T48" fmla="*/ 2147483647 w 2393"/>
                <a:gd name="T49" fmla="*/ 2147483647 h 1119"/>
                <a:gd name="T50" fmla="*/ 2147483647 w 2393"/>
                <a:gd name="T51" fmla="*/ 2147483647 h 1119"/>
                <a:gd name="T52" fmla="*/ 2147483647 w 2393"/>
                <a:gd name="T53" fmla="*/ 2147483647 h 1119"/>
                <a:gd name="T54" fmla="*/ 2147483647 w 2393"/>
                <a:gd name="T55" fmla="*/ 2147483647 h 1119"/>
                <a:gd name="T56" fmla="*/ 2147483647 w 2393"/>
                <a:gd name="T57" fmla="*/ 2147483647 h 1119"/>
                <a:gd name="T58" fmla="*/ 2147483647 w 2393"/>
                <a:gd name="T59" fmla="*/ 2147483647 h 1119"/>
                <a:gd name="T60" fmla="*/ 2147483647 w 2393"/>
                <a:gd name="T61" fmla="*/ 2147483647 h 1119"/>
                <a:gd name="T62" fmla="*/ 2147483647 w 2393"/>
                <a:gd name="T63" fmla="*/ 2147483647 h 1119"/>
                <a:gd name="T64" fmla="*/ 2147483647 w 2393"/>
                <a:gd name="T65" fmla="*/ 2147483647 h 1119"/>
                <a:gd name="T66" fmla="*/ 2147483647 w 2393"/>
                <a:gd name="T67" fmla="*/ 2147483647 h 1119"/>
                <a:gd name="T68" fmla="*/ 2147483647 w 2393"/>
                <a:gd name="T69" fmla="*/ 2147483647 h 1119"/>
                <a:gd name="T70" fmla="*/ 2147483647 w 2393"/>
                <a:gd name="T71" fmla="*/ 2147483647 h 1119"/>
                <a:gd name="T72" fmla="*/ 2147483647 w 2393"/>
                <a:gd name="T73" fmla="*/ 2147483647 h 1119"/>
                <a:gd name="T74" fmla="*/ 2147483647 w 2393"/>
                <a:gd name="T75" fmla="*/ 2147483647 h 1119"/>
                <a:gd name="T76" fmla="*/ 2147483647 w 2393"/>
                <a:gd name="T77" fmla="*/ 2147483647 h 1119"/>
                <a:gd name="T78" fmla="*/ 2147483647 w 2393"/>
                <a:gd name="T79" fmla="*/ 2147483647 h 1119"/>
                <a:gd name="T80" fmla="*/ 2147483647 w 2393"/>
                <a:gd name="T81" fmla="*/ 2147483647 h 1119"/>
                <a:gd name="T82" fmla="*/ 2147483647 w 2393"/>
                <a:gd name="T83" fmla="*/ 2147483647 h 1119"/>
                <a:gd name="T84" fmla="*/ 2147483647 w 2393"/>
                <a:gd name="T85" fmla="*/ 2147483647 h 1119"/>
                <a:gd name="T86" fmla="*/ 2147483647 w 2393"/>
                <a:gd name="T87" fmla="*/ 2147483647 h 1119"/>
                <a:gd name="T88" fmla="*/ 2147483647 w 2393"/>
                <a:gd name="T89" fmla="*/ 2147483647 h 1119"/>
                <a:gd name="T90" fmla="*/ 2147483647 w 2393"/>
                <a:gd name="T91" fmla="*/ 2147483647 h 1119"/>
                <a:gd name="T92" fmla="*/ 2147483647 w 2393"/>
                <a:gd name="T93" fmla="*/ 2147483647 h 1119"/>
                <a:gd name="T94" fmla="*/ 2147483647 w 2393"/>
                <a:gd name="T95" fmla="*/ 2147483647 h 1119"/>
                <a:gd name="T96" fmla="*/ 2147483647 w 2393"/>
                <a:gd name="T97" fmla="*/ 2147483647 h 1119"/>
                <a:gd name="T98" fmla="*/ 2147483647 w 2393"/>
                <a:gd name="T99" fmla="*/ 2147483647 h 111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393"/>
                <a:gd name="T151" fmla="*/ 0 h 1119"/>
                <a:gd name="T152" fmla="*/ 2393 w 2393"/>
                <a:gd name="T153" fmla="*/ 1119 h 111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393" h="1119">
                  <a:moveTo>
                    <a:pt x="0" y="22"/>
                  </a:moveTo>
                  <a:cubicBezTo>
                    <a:pt x="22" y="22"/>
                    <a:pt x="44" y="23"/>
                    <a:pt x="64" y="20"/>
                  </a:cubicBezTo>
                  <a:cubicBezTo>
                    <a:pt x="84" y="17"/>
                    <a:pt x="103" y="9"/>
                    <a:pt x="120" y="6"/>
                  </a:cubicBezTo>
                  <a:cubicBezTo>
                    <a:pt x="137" y="3"/>
                    <a:pt x="154" y="4"/>
                    <a:pt x="166" y="4"/>
                  </a:cubicBezTo>
                  <a:cubicBezTo>
                    <a:pt x="178" y="4"/>
                    <a:pt x="186" y="0"/>
                    <a:pt x="194" y="4"/>
                  </a:cubicBezTo>
                  <a:cubicBezTo>
                    <a:pt x="202" y="8"/>
                    <a:pt x="207" y="21"/>
                    <a:pt x="214" y="30"/>
                  </a:cubicBezTo>
                  <a:cubicBezTo>
                    <a:pt x="221" y="39"/>
                    <a:pt x="231" y="50"/>
                    <a:pt x="236" y="60"/>
                  </a:cubicBezTo>
                  <a:cubicBezTo>
                    <a:pt x="241" y="70"/>
                    <a:pt x="243" y="81"/>
                    <a:pt x="246" y="90"/>
                  </a:cubicBezTo>
                  <a:cubicBezTo>
                    <a:pt x="249" y="99"/>
                    <a:pt x="246" y="105"/>
                    <a:pt x="254" y="114"/>
                  </a:cubicBezTo>
                  <a:cubicBezTo>
                    <a:pt x="262" y="123"/>
                    <a:pt x="280" y="134"/>
                    <a:pt x="292" y="142"/>
                  </a:cubicBezTo>
                  <a:cubicBezTo>
                    <a:pt x="304" y="150"/>
                    <a:pt x="317" y="156"/>
                    <a:pt x="330" y="162"/>
                  </a:cubicBezTo>
                  <a:cubicBezTo>
                    <a:pt x="343" y="168"/>
                    <a:pt x="357" y="169"/>
                    <a:pt x="368" y="176"/>
                  </a:cubicBezTo>
                  <a:cubicBezTo>
                    <a:pt x="379" y="183"/>
                    <a:pt x="386" y="190"/>
                    <a:pt x="398" y="202"/>
                  </a:cubicBezTo>
                  <a:cubicBezTo>
                    <a:pt x="410" y="214"/>
                    <a:pt x="426" y="233"/>
                    <a:pt x="438" y="246"/>
                  </a:cubicBezTo>
                  <a:cubicBezTo>
                    <a:pt x="450" y="259"/>
                    <a:pt x="458" y="264"/>
                    <a:pt x="470" y="280"/>
                  </a:cubicBezTo>
                  <a:cubicBezTo>
                    <a:pt x="482" y="296"/>
                    <a:pt x="490" y="318"/>
                    <a:pt x="508" y="342"/>
                  </a:cubicBezTo>
                  <a:cubicBezTo>
                    <a:pt x="526" y="366"/>
                    <a:pt x="561" y="404"/>
                    <a:pt x="576" y="422"/>
                  </a:cubicBezTo>
                  <a:cubicBezTo>
                    <a:pt x="591" y="440"/>
                    <a:pt x="592" y="438"/>
                    <a:pt x="598" y="450"/>
                  </a:cubicBezTo>
                  <a:cubicBezTo>
                    <a:pt x="604" y="462"/>
                    <a:pt x="606" y="481"/>
                    <a:pt x="612" y="494"/>
                  </a:cubicBezTo>
                  <a:cubicBezTo>
                    <a:pt x="618" y="507"/>
                    <a:pt x="627" y="515"/>
                    <a:pt x="634" y="526"/>
                  </a:cubicBezTo>
                  <a:cubicBezTo>
                    <a:pt x="641" y="537"/>
                    <a:pt x="646" y="551"/>
                    <a:pt x="654" y="562"/>
                  </a:cubicBezTo>
                  <a:cubicBezTo>
                    <a:pt x="662" y="573"/>
                    <a:pt x="669" y="580"/>
                    <a:pt x="680" y="594"/>
                  </a:cubicBezTo>
                  <a:cubicBezTo>
                    <a:pt x="691" y="608"/>
                    <a:pt x="698" y="612"/>
                    <a:pt x="722" y="648"/>
                  </a:cubicBezTo>
                  <a:cubicBezTo>
                    <a:pt x="746" y="684"/>
                    <a:pt x="799" y="767"/>
                    <a:pt x="824" y="808"/>
                  </a:cubicBezTo>
                  <a:cubicBezTo>
                    <a:pt x="849" y="849"/>
                    <a:pt x="855" y="864"/>
                    <a:pt x="874" y="892"/>
                  </a:cubicBezTo>
                  <a:cubicBezTo>
                    <a:pt x="893" y="920"/>
                    <a:pt x="914" y="954"/>
                    <a:pt x="938" y="976"/>
                  </a:cubicBezTo>
                  <a:cubicBezTo>
                    <a:pt x="962" y="998"/>
                    <a:pt x="988" y="1018"/>
                    <a:pt x="1018" y="1026"/>
                  </a:cubicBezTo>
                  <a:cubicBezTo>
                    <a:pt x="1048" y="1034"/>
                    <a:pt x="1088" y="1028"/>
                    <a:pt x="1116" y="1026"/>
                  </a:cubicBezTo>
                  <a:cubicBezTo>
                    <a:pt x="1144" y="1024"/>
                    <a:pt x="1158" y="1015"/>
                    <a:pt x="1184" y="1014"/>
                  </a:cubicBezTo>
                  <a:cubicBezTo>
                    <a:pt x="1210" y="1013"/>
                    <a:pt x="1240" y="1018"/>
                    <a:pt x="1274" y="1022"/>
                  </a:cubicBezTo>
                  <a:cubicBezTo>
                    <a:pt x="1308" y="1026"/>
                    <a:pt x="1342" y="1029"/>
                    <a:pt x="1390" y="1036"/>
                  </a:cubicBezTo>
                  <a:cubicBezTo>
                    <a:pt x="1438" y="1043"/>
                    <a:pt x="1515" y="1052"/>
                    <a:pt x="1562" y="1062"/>
                  </a:cubicBezTo>
                  <a:cubicBezTo>
                    <a:pt x="1609" y="1072"/>
                    <a:pt x="1637" y="1087"/>
                    <a:pt x="1674" y="1096"/>
                  </a:cubicBezTo>
                  <a:cubicBezTo>
                    <a:pt x="1711" y="1105"/>
                    <a:pt x="1738" y="1110"/>
                    <a:pt x="1782" y="1114"/>
                  </a:cubicBezTo>
                  <a:cubicBezTo>
                    <a:pt x="1826" y="1118"/>
                    <a:pt x="1895" y="1117"/>
                    <a:pt x="1936" y="1118"/>
                  </a:cubicBezTo>
                  <a:cubicBezTo>
                    <a:pt x="1977" y="1119"/>
                    <a:pt x="2000" y="1118"/>
                    <a:pt x="2028" y="1118"/>
                  </a:cubicBezTo>
                  <a:cubicBezTo>
                    <a:pt x="2056" y="1118"/>
                    <a:pt x="2077" y="1117"/>
                    <a:pt x="2104" y="1116"/>
                  </a:cubicBezTo>
                  <a:cubicBezTo>
                    <a:pt x="2131" y="1115"/>
                    <a:pt x="2164" y="1117"/>
                    <a:pt x="2190" y="1114"/>
                  </a:cubicBezTo>
                  <a:cubicBezTo>
                    <a:pt x="2216" y="1111"/>
                    <a:pt x="2242" y="1103"/>
                    <a:pt x="2262" y="1098"/>
                  </a:cubicBezTo>
                  <a:cubicBezTo>
                    <a:pt x="2282" y="1093"/>
                    <a:pt x="2290" y="1090"/>
                    <a:pt x="2308" y="1084"/>
                  </a:cubicBezTo>
                  <a:cubicBezTo>
                    <a:pt x="2326" y="1078"/>
                    <a:pt x="2355" y="1073"/>
                    <a:pt x="2368" y="1062"/>
                  </a:cubicBezTo>
                  <a:cubicBezTo>
                    <a:pt x="2381" y="1051"/>
                    <a:pt x="2384" y="1035"/>
                    <a:pt x="2388" y="1020"/>
                  </a:cubicBezTo>
                  <a:cubicBezTo>
                    <a:pt x="2392" y="1005"/>
                    <a:pt x="2393" y="993"/>
                    <a:pt x="2390" y="974"/>
                  </a:cubicBezTo>
                  <a:cubicBezTo>
                    <a:pt x="2387" y="955"/>
                    <a:pt x="2377" y="927"/>
                    <a:pt x="2368" y="904"/>
                  </a:cubicBezTo>
                  <a:cubicBezTo>
                    <a:pt x="2359" y="881"/>
                    <a:pt x="2348" y="853"/>
                    <a:pt x="2338" y="834"/>
                  </a:cubicBezTo>
                  <a:cubicBezTo>
                    <a:pt x="2328" y="815"/>
                    <a:pt x="2320" y="808"/>
                    <a:pt x="2306" y="792"/>
                  </a:cubicBezTo>
                  <a:cubicBezTo>
                    <a:pt x="2292" y="776"/>
                    <a:pt x="2275" y="755"/>
                    <a:pt x="2256" y="740"/>
                  </a:cubicBezTo>
                  <a:cubicBezTo>
                    <a:pt x="2237" y="725"/>
                    <a:pt x="2219" y="721"/>
                    <a:pt x="2194" y="702"/>
                  </a:cubicBezTo>
                  <a:cubicBezTo>
                    <a:pt x="2169" y="683"/>
                    <a:pt x="2128" y="647"/>
                    <a:pt x="2108" y="628"/>
                  </a:cubicBezTo>
                  <a:cubicBezTo>
                    <a:pt x="2088" y="609"/>
                    <a:pt x="2080" y="599"/>
                    <a:pt x="2072" y="59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8" name="Freeform 1163"/>
            <p:cNvSpPr>
              <a:spLocks/>
            </p:cNvSpPr>
            <p:nvPr/>
          </p:nvSpPr>
          <p:spPr bwMode="auto">
            <a:xfrm>
              <a:off x="571500" y="1170066"/>
              <a:ext cx="1190625" cy="2914650"/>
            </a:xfrm>
            <a:custGeom>
              <a:avLst/>
              <a:gdLst>
                <a:gd name="T0" fmla="*/ 0 w 750"/>
                <a:gd name="T1" fmla="*/ 2147483647 h 1836"/>
                <a:gd name="T2" fmla="*/ 2147483647 w 750"/>
                <a:gd name="T3" fmla="*/ 2147483647 h 1836"/>
                <a:gd name="T4" fmla="*/ 2147483647 w 750"/>
                <a:gd name="T5" fmla="*/ 2147483647 h 1836"/>
                <a:gd name="T6" fmla="*/ 2147483647 w 750"/>
                <a:gd name="T7" fmla="*/ 2147483647 h 1836"/>
                <a:gd name="T8" fmla="*/ 2147483647 w 750"/>
                <a:gd name="T9" fmla="*/ 2147483647 h 1836"/>
                <a:gd name="T10" fmla="*/ 2147483647 w 750"/>
                <a:gd name="T11" fmla="*/ 2147483647 h 1836"/>
                <a:gd name="T12" fmla="*/ 2147483647 w 750"/>
                <a:gd name="T13" fmla="*/ 2147483647 h 1836"/>
                <a:gd name="T14" fmla="*/ 2147483647 w 750"/>
                <a:gd name="T15" fmla="*/ 2147483647 h 1836"/>
                <a:gd name="T16" fmla="*/ 2147483647 w 750"/>
                <a:gd name="T17" fmla="*/ 2147483647 h 1836"/>
                <a:gd name="T18" fmla="*/ 2147483647 w 750"/>
                <a:gd name="T19" fmla="*/ 2147483647 h 1836"/>
                <a:gd name="T20" fmla="*/ 2147483647 w 750"/>
                <a:gd name="T21" fmla="*/ 2147483647 h 1836"/>
                <a:gd name="T22" fmla="*/ 2147483647 w 750"/>
                <a:gd name="T23" fmla="*/ 2147483647 h 1836"/>
                <a:gd name="T24" fmla="*/ 2147483647 w 750"/>
                <a:gd name="T25" fmla="*/ 2147483647 h 1836"/>
                <a:gd name="T26" fmla="*/ 2147483647 w 750"/>
                <a:gd name="T27" fmla="*/ 2147483647 h 1836"/>
                <a:gd name="T28" fmla="*/ 2147483647 w 750"/>
                <a:gd name="T29" fmla="*/ 2147483647 h 1836"/>
                <a:gd name="T30" fmla="*/ 2147483647 w 750"/>
                <a:gd name="T31" fmla="*/ 2147483647 h 1836"/>
                <a:gd name="T32" fmla="*/ 2147483647 w 750"/>
                <a:gd name="T33" fmla="*/ 2147483647 h 1836"/>
                <a:gd name="T34" fmla="*/ 2147483647 w 750"/>
                <a:gd name="T35" fmla="*/ 2147483647 h 1836"/>
                <a:gd name="T36" fmla="*/ 2147483647 w 750"/>
                <a:gd name="T37" fmla="*/ 2147483647 h 1836"/>
                <a:gd name="T38" fmla="*/ 2147483647 w 750"/>
                <a:gd name="T39" fmla="*/ 2147483647 h 1836"/>
                <a:gd name="T40" fmla="*/ 2147483647 w 750"/>
                <a:gd name="T41" fmla="*/ 2147483647 h 1836"/>
                <a:gd name="T42" fmla="*/ 2147483647 w 750"/>
                <a:gd name="T43" fmla="*/ 2147483647 h 1836"/>
                <a:gd name="T44" fmla="*/ 2147483647 w 750"/>
                <a:gd name="T45" fmla="*/ 2147483647 h 1836"/>
                <a:gd name="T46" fmla="*/ 2147483647 w 750"/>
                <a:gd name="T47" fmla="*/ 0 h 18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50"/>
                <a:gd name="T73" fmla="*/ 0 h 1836"/>
                <a:gd name="T74" fmla="*/ 750 w 750"/>
                <a:gd name="T75" fmla="*/ 1836 h 18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50" h="1836">
                  <a:moveTo>
                    <a:pt x="0" y="1836"/>
                  </a:moveTo>
                  <a:cubicBezTo>
                    <a:pt x="21" y="1789"/>
                    <a:pt x="42" y="1743"/>
                    <a:pt x="52" y="1718"/>
                  </a:cubicBezTo>
                  <a:cubicBezTo>
                    <a:pt x="62" y="1693"/>
                    <a:pt x="55" y="1708"/>
                    <a:pt x="60" y="1686"/>
                  </a:cubicBezTo>
                  <a:cubicBezTo>
                    <a:pt x="65" y="1664"/>
                    <a:pt x="71" y="1619"/>
                    <a:pt x="82" y="1588"/>
                  </a:cubicBezTo>
                  <a:cubicBezTo>
                    <a:pt x="93" y="1557"/>
                    <a:pt x="109" y="1530"/>
                    <a:pt x="124" y="1502"/>
                  </a:cubicBezTo>
                  <a:cubicBezTo>
                    <a:pt x="139" y="1474"/>
                    <a:pt x="152" y="1442"/>
                    <a:pt x="172" y="1422"/>
                  </a:cubicBezTo>
                  <a:cubicBezTo>
                    <a:pt x="192" y="1402"/>
                    <a:pt x="223" y="1398"/>
                    <a:pt x="244" y="1384"/>
                  </a:cubicBezTo>
                  <a:cubicBezTo>
                    <a:pt x="265" y="1370"/>
                    <a:pt x="279" y="1351"/>
                    <a:pt x="296" y="1336"/>
                  </a:cubicBezTo>
                  <a:cubicBezTo>
                    <a:pt x="313" y="1321"/>
                    <a:pt x="333" y="1309"/>
                    <a:pt x="346" y="1292"/>
                  </a:cubicBezTo>
                  <a:cubicBezTo>
                    <a:pt x="359" y="1275"/>
                    <a:pt x="365" y="1257"/>
                    <a:pt x="374" y="1236"/>
                  </a:cubicBezTo>
                  <a:cubicBezTo>
                    <a:pt x="383" y="1215"/>
                    <a:pt x="393" y="1182"/>
                    <a:pt x="400" y="1164"/>
                  </a:cubicBezTo>
                  <a:cubicBezTo>
                    <a:pt x="407" y="1146"/>
                    <a:pt x="411" y="1155"/>
                    <a:pt x="414" y="1128"/>
                  </a:cubicBezTo>
                  <a:cubicBezTo>
                    <a:pt x="417" y="1101"/>
                    <a:pt x="420" y="1039"/>
                    <a:pt x="418" y="1000"/>
                  </a:cubicBezTo>
                  <a:cubicBezTo>
                    <a:pt x="416" y="961"/>
                    <a:pt x="403" y="924"/>
                    <a:pt x="404" y="896"/>
                  </a:cubicBezTo>
                  <a:cubicBezTo>
                    <a:pt x="405" y="868"/>
                    <a:pt x="411" y="864"/>
                    <a:pt x="422" y="832"/>
                  </a:cubicBezTo>
                  <a:cubicBezTo>
                    <a:pt x="433" y="800"/>
                    <a:pt x="455" y="738"/>
                    <a:pt x="468" y="704"/>
                  </a:cubicBezTo>
                  <a:cubicBezTo>
                    <a:pt x="481" y="670"/>
                    <a:pt x="489" y="651"/>
                    <a:pt x="500" y="630"/>
                  </a:cubicBezTo>
                  <a:cubicBezTo>
                    <a:pt x="511" y="609"/>
                    <a:pt x="526" y="594"/>
                    <a:pt x="532" y="576"/>
                  </a:cubicBezTo>
                  <a:cubicBezTo>
                    <a:pt x="538" y="558"/>
                    <a:pt x="534" y="545"/>
                    <a:pt x="536" y="522"/>
                  </a:cubicBezTo>
                  <a:cubicBezTo>
                    <a:pt x="538" y="499"/>
                    <a:pt x="540" y="461"/>
                    <a:pt x="542" y="439"/>
                  </a:cubicBezTo>
                  <a:cubicBezTo>
                    <a:pt x="544" y="417"/>
                    <a:pt x="540" y="407"/>
                    <a:pt x="551" y="391"/>
                  </a:cubicBezTo>
                  <a:cubicBezTo>
                    <a:pt x="562" y="375"/>
                    <a:pt x="593" y="365"/>
                    <a:pt x="610" y="344"/>
                  </a:cubicBezTo>
                  <a:cubicBezTo>
                    <a:pt x="627" y="323"/>
                    <a:pt x="631" y="319"/>
                    <a:pt x="654" y="262"/>
                  </a:cubicBezTo>
                  <a:cubicBezTo>
                    <a:pt x="677" y="205"/>
                    <a:pt x="730" y="55"/>
                    <a:pt x="75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9" name="Freeform 1164"/>
            <p:cNvSpPr>
              <a:spLocks/>
            </p:cNvSpPr>
            <p:nvPr/>
          </p:nvSpPr>
          <p:spPr bwMode="auto">
            <a:xfrm>
              <a:off x="552450" y="3814841"/>
              <a:ext cx="708025" cy="615950"/>
            </a:xfrm>
            <a:custGeom>
              <a:avLst/>
              <a:gdLst>
                <a:gd name="T0" fmla="*/ 2147483647 w 446"/>
                <a:gd name="T1" fmla="*/ 2147483647 h 388"/>
                <a:gd name="T2" fmla="*/ 2147483647 w 446"/>
                <a:gd name="T3" fmla="*/ 2147483647 h 388"/>
                <a:gd name="T4" fmla="*/ 2147483647 w 446"/>
                <a:gd name="T5" fmla="*/ 2147483647 h 388"/>
                <a:gd name="T6" fmla="*/ 2147483647 w 446"/>
                <a:gd name="T7" fmla="*/ 2147483647 h 388"/>
                <a:gd name="T8" fmla="*/ 2147483647 w 446"/>
                <a:gd name="T9" fmla="*/ 2147483647 h 388"/>
                <a:gd name="T10" fmla="*/ 2147483647 w 446"/>
                <a:gd name="T11" fmla="*/ 2147483647 h 388"/>
                <a:gd name="T12" fmla="*/ 2147483647 w 446"/>
                <a:gd name="T13" fmla="*/ 2147483647 h 388"/>
                <a:gd name="T14" fmla="*/ 2147483647 w 446"/>
                <a:gd name="T15" fmla="*/ 2147483647 h 388"/>
                <a:gd name="T16" fmla="*/ 0 w 446"/>
                <a:gd name="T17" fmla="*/ 0 h 3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6"/>
                <a:gd name="T28" fmla="*/ 0 h 388"/>
                <a:gd name="T29" fmla="*/ 446 w 446"/>
                <a:gd name="T30" fmla="*/ 388 h 3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6" h="388">
                  <a:moveTo>
                    <a:pt x="446" y="388"/>
                  </a:moveTo>
                  <a:cubicBezTo>
                    <a:pt x="427" y="378"/>
                    <a:pt x="409" y="369"/>
                    <a:pt x="393" y="357"/>
                  </a:cubicBezTo>
                  <a:cubicBezTo>
                    <a:pt x="377" y="345"/>
                    <a:pt x="363" y="330"/>
                    <a:pt x="351" y="315"/>
                  </a:cubicBezTo>
                  <a:cubicBezTo>
                    <a:pt x="339" y="300"/>
                    <a:pt x="331" y="279"/>
                    <a:pt x="321" y="264"/>
                  </a:cubicBezTo>
                  <a:cubicBezTo>
                    <a:pt x="311" y="249"/>
                    <a:pt x="305" y="241"/>
                    <a:pt x="290" y="223"/>
                  </a:cubicBezTo>
                  <a:cubicBezTo>
                    <a:pt x="275" y="205"/>
                    <a:pt x="247" y="175"/>
                    <a:pt x="230" y="154"/>
                  </a:cubicBezTo>
                  <a:cubicBezTo>
                    <a:pt x="213" y="133"/>
                    <a:pt x="203" y="116"/>
                    <a:pt x="186" y="99"/>
                  </a:cubicBezTo>
                  <a:cubicBezTo>
                    <a:pt x="169" y="82"/>
                    <a:pt x="159" y="65"/>
                    <a:pt x="128" y="49"/>
                  </a:cubicBezTo>
                  <a:cubicBezTo>
                    <a:pt x="97" y="33"/>
                    <a:pt x="27" y="10"/>
                    <a:pt x="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0" name="Freeform 1165"/>
            <p:cNvSpPr>
              <a:spLocks/>
            </p:cNvSpPr>
            <p:nvPr/>
          </p:nvSpPr>
          <p:spPr bwMode="auto">
            <a:xfrm>
              <a:off x="1627188" y="1897141"/>
              <a:ext cx="209550" cy="1084263"/>
            </a:xfrm>
            <a:custGeom>
              <a:avLst/>
              <a:gdLst>
                <a:gd name="T0" fmla="*/ 2147483647 w 132"/>
                <a:gd name="T1" fmla="*/ 2147483647 h 683"/>
                <a:gd name="T2" fmla="*/ 2147483647 w 132"/>
                <a:gd name="T3" fmla="*/ 2147483647 h 683"/>
                <a:gd name="T4" fmla="*/ 2147483647 w 132"/>
                <a:gd name="T5" fmla="*/ 2147483647 h 683"/>
                <a:gd name="T6" fmla="*/ 2147483647 w 132"/>
                <a:gd name="T7" fmla="*/ 2147483647 h 683"/>
                <a:gd name="T8" fmla="*/ 2147483647 w 132"/>
                <a:gd name="T9" fmla="*/ 2147483647 h 683"/>
                <a:gd name="T10" fmla="*/ 2147483647 w 132"/>
                <a:gd name="T11" fmla="*/ 2147483647 h 683"/>
                <a:gd name="T12" fmla="*/ 2147483647 w 132"/>
                <a:gd name="T13" fmla="*/ 2147483647 h 683"/>
                <a:gd name="T14" fmla="*/ 2147483647 w 132"/>
                <a:gd name="T15" fmla="*/ 2147483647 h 683"/>
                <a:gd name="T16" fmla="*/ 2147483647 w 132"/>
                <a:gd name="T17" fmla="*/ 2147483647 h 683"/>
                <a:gd name="T18" fmla="*/ 2147483647 w 132"/>
                <a:gd name="T19" fmla="*/ 2147483647 h 683"/>
                <a:gd name="T20" fmla="*/ 2147483647 w 132"/>
                <a:gd name="T21" fmla="*/ 2147483647 h 683"/>
                <a:gd name="T22" fmla="*/ 2147483647 w 132"/>
                <a:gd name="T23" fmla="*/ 2147483647 h 683"/>
                <a:gd name="T24" fmla="*/ 2147483647 w 132"/>
                <a:gd name="T25" fmla="*/ 2147483647 h 683"/>
                <a:gd name="T26" fmla="*/ 2147483647 w 132"/>
                <a:gd name="T27" fmla="*/ 2147483647 h 683"/>
                <a:gd name="T28" fmla="*/ 0 w 132"/>
                <a:gd name="T29" fmla="*/ 0 h 6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83"/>
                <a:gd name="T47" fmla="*/ 132 w 132"/>
                <a:gd name="T48" fmla="*/ 683 h 6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83">
                  <a:moveTo>
                    <a:pt x="132" y="683"/>
                  </a:moveTo>
                  <a:cubicBezTo>
                    <a:pt x="123" y="671"/>
                    <a:pt x="115" y="659"/>
                    <a:pt x="108" y="645"/>
                  </a:cubicBezTo>
                  <a:cubicBezTo>
                    <a:pt x="101" y="631"/>
                    <a:pt x="93" y="618"/>
                    <a:pt x="87" y="600"/>
                  </a:cubicBezTo>
                  <a:cubicBezTo>
                    <a:pt x="81" y="582"/>
                    <a:pt x="78" y="556"/>
                    <a:pt x="72" y="536"/>
                  </a:cubicBezTo>
                  <a:cubicBezTo>
                    <a:pt x="66" y="516"/>
                    <a:pt x="57" y="497"/>
                    <a:pt x="49" y="480"/>
                  </a:cubicBezTo>
                  <a:cubicBezTo>
                    <a:pt x="41" y="463"/>
                    <a:pt x="31" y="448"/>
                    <a:pt x="25" y="434"/>
                  </a:cubicBezTo>
                  <a:cubicBezTo>
                    <a:pt x="19" y="420"/>
                    <a:pt x="14" y="409"/>
                    <a:pt x="10" y="393"/>
                  </a:cubicBezTo>
                  <a:cubicBezTo>
                    <a:pt x="6" y="377"/>
                    <a:pt x="4" y="360"/>
                    <a:pt x="3" y="339"/>
                  </a:cubicBezTo>
                  <a:cubicBezTo>
                    <a:pt x="2" y="318"/>
                    <a:pt x="1" y="286"/>
                    <a:pt x="1" y="266"/>
                  </a:cubicBezTo>
                  <a:cubicBezTo>
                    <a:pt x="1" y="246"/>
                    <a:pt x="2" y="231"/>
                    <a:pt x="3" y="216"/>
                  </a:cubicBezTo>
                  <a:cubicBezTo>
                    <a:pt x="4" y="201"/>
                    <a:pt x="5" y="189"/>
                    <a:pt x="6" y="173"/>
                  </a:cubicBezTo>
                  <a:cubicBezTo>
                    <a:pt x="7" y="157"/>
                    <a:pt x="9" y="134"/>
                    <a:pt x="10" y="119"/>
                  </a:cubicBezTo>
                  <a:cubicBezTo>
                    <a:pt x="11" y="104"/>
                    <a:pt x="9" y="95"/>
                    <a:pt x="9" y="83"/>
                  </a:cubicBezTo>
                  <a:cubicBezTo>
                    <a:pt x="9" y="71"/>
                    <a:pt x="8" y="62"/>
                    <a:pt x="7" y="48"/>
                  </a:cubicBezTo>
                  <a:cubicBezTo>
                    <a:pt x="6" y="34"/>
                    <a:pt x="3" y="17"/>
                    <a:pt x="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1" name="Freeform 1166"/>
            <p:cNvSpPr>
              <a:spLocks/>
            </p:cNvSpPr>
            <p:nvPr/>
          </p:nvSpPr>
          <p:spPr bwMode="auto">
            <a:xfrm>
              <a:off x="2008188" y="2471816"/>
              <a:ext cx="747713" cy="1497013"/>
            </a:xfrm>
            <a:custGeom>
              <a:avLst/>
              <a:gdLst>
                <a:gd name="T0" fmla="*/ 0 w 471"/>
                <a:gd name="T1" fmla="*/ 2147483647 h 943"/>
                <a:gd name="T2" fmla="*/ 2147483647 w 471"/>
                <a:gd name="T3" fmla="*/ 2147483647 h 943"/>
                <a:gd name="T4" fmla="*/ 2147483647 w 471"/>
                <a:gd name="T5" fmla="*/ 2147483647 h 943"/>
                <a:gd name="T6" fmla="*/ 2147483647 w 471"/>
                <a:gd name="T7" fmla="*/ 2147483647 h 943"/>
                <a:gd name="T8" fmla="*/ 2147483647 w 471"/>
                <a:gd name="T9" fmla="*/ 2147483647 h 943"/>
                <a:gd name="T10" fmla="*/ 2147483647 w 471"/>
                <a:gd name="T11" fmla="*/ 2147483647 h 943"/>
                <a:gd name="T12" fmla="*/ 2147483647 w 471"/>
                <a:gd name="T13" fmla="*/ 2147483647 h 943"/>
                <a:gd name="T14" fmla="*/ 2147483647 w 471"/>
                <a:gd name="T15" fmla="*/ 2147483647 h 943"/>
                <a:gd name="T16" fmla="*/ 2147483647 w 471"/>
                <a:gd name="T17" fmla="*/ 2147483647 h 943"/>
                <a:gd name="T18" fmla="*/ 2147483647 w 471"/>
                <a:gd name="T19" fmla="*/ 2147483647 h 943"/>
                <a:gd name="T20" fmla="*/ 2147483647 w 471"/>
                <a:gd name="T21" fmla="*/ 2147483647 h 943"/>
                <a:gd name="T22" fmla="*/ 2147483647 w 471"/>
                <a:gd name="T23" fmla="*/ 2147483647 h 943"/>
                <a:gd name="T24" fmla="*/ 2147483647 w 471"/>
                <a:gd name="T25" fmla="*/ 2147483647 h 943"/>
                <a:gd name="T26" fmla="*/ 2147483647 w 471"/>
                <a:gd name="T27" fmla="*/ 2147483647 h 943"/>
                <a:gd name="T28" fmla="*/ 2147483647 w 471"/>
                <a:gd name="T29" fmla="*/ 2147483647 h 943"/>
                <a:gd name="T30" fmla="*/ 2147483647 w 471"/>
                <a:gd name="T31" fmla="*/ 0 h 9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71"/>
                <a:gd name="T49" fmla="*/ 0 h 943"/>
                <a:gd name="T50" fmla="*/ 471 w 471"/>
                <a:gd name="T51" fmla="*/ 943 h 9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71" h="943">
                  <a:moveTo>
                    <a:pt x="0" y="943"/>
                  </a:moveTo>
                  <a:cubicBezTo>
                    <a:pt x="2" y="927"/>
                    <a:pt x="4" y="911"/>
                    <a:pt x="6" y="891"/>
                  </a:cubicBezTo>
                  <a:cubicBezTo>
                    <a:pt x="8" y="871"/>
                    <a:pt x="7" y="849"/>
                    <a:pt x="10" y="825"/>
                  </a:cubicBezTo>
                  <a:cubicBezTo>
                    <a:pt x="13" y="801"/>
                    <a:pt x="21" y="767"/>
                    <a:pt x="27" y="747"/>
                  </a:cubicBezTo>
                  <a:cubicBezTo>
                    <a:pt x="33" y="727"/>
                    <a:pt x="38" y="718"/>
                    <a:pt x="46" y="702"/>
                  </a:cubicBezTo>
                  <a:cubicBezTo>
                    <a:pt x="54" y="686"/>
                    <a:pt x="64" y="665"/>
                    <a:pt x="73" y="651"/>
                  </a:cubicBezTo>
                  <a:cubicBezTo>
                    <a:pt x="82" y="637"/>
                    <a:pt x="85" y="637"/>
                    <a:pt x="99" y="616"/>
                  </a:cubicBezTo>
                  <a:cubicBezTo>
                    <a:pt x="113" y="595"/>
                    <a:pt x="141" y="551"/>
                    <a:pt x="159" y="523"/>
                  </a:cubicBezTo>
                  <a:cubicBezTo>
                    <a:pt x="177" y="495"/>
                    <a:pt x="189" y="474"/>
                    <a:pt x="205" y="450"/>
                  </a:cubicBezTo>
                  <a:cubicBezTo>
                    <a:pt x="221" y="426"/>
                    <a:pt x="237" y="403"/>
                    <a:pt x="253" y="378"/>
                  </a:cubicBezTo>
                  <a:cubicBezTo>
                    <a:pt x="269" y="353"/>
                    <a:pt x="284" y="329"/>
                    <a:pt x="304" y="298"/>
                  </a:cubicBezTo>
                  <a:cubicBezTo>
                    <a:pt x="324" y="267"/>
                    <a:pt x="357" y="220"/>
                    <a:pt x="375" y="193"/>
                  </a:cubicBezTo>
                  <a:cubicBezTo>
                    <a:pt x="393" y="166"/>
                    <a:pt x="401" y="157"/>
                    <a:pt x="411" y="138"/>
                  </a:cubicBezTo>
                  <a:cubicBezTo>
                    <a:pt x="421" y="119"/>
                    <a:pt x="428" y="93"/>
                    <a:pt x="433" y="79"/>
                  </a:cubicBezTo>
                  <a:cubicBezTo>
                    <a:pt x="438" y="65"/>
                    <a:pt x="436" y="67"/>
                    <a:pt x="442" y="54"/>
                  </a:cubicBezTo>
                  <a:cubicBezTo>
                    <a:pt x="448" y="41"/>
                    <a:pt x="465" y="11"/>
                    <a:pt x="471"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2" name="Freeform 1167"/>
            <p:cNvSpPr>
              <a:spLocks/>
            </p:cNvSpPr>
            <p:nvPr/>
          </p:nvSpPr>
          <p:spPr bwMode="auto">
            <a:xfrm>
              <a:off x="1304925" y="5049916"/>
              <a:ext cx="582613" cy="460375"/>
            </a:xfrm>
            <a:custGeom>
              <a:avLst/>
              <a:gdLst>
                <a:gd name="T0" fmla="*/ 0 w 367"/>
                <a:gd name="T1" fmla="*/ 2147483647 h 290"/>
                <a:gd name="T2" fmla="*/ 2147483647 w 367"/>
                <a:gd name="T3" fmla="*/ 2147483647 h 290"/>
                <a:gd name="T4" fmla="*/ 2147483647 w 367"/>
                <a:gd name="T5" fmla="*/ 2147483647 h 290"/>
                <a:gd name="T6" fmla="*/ 2147483647 w 367"/>
                <a:gd name="T7" fmla="*/ 2147483647 h 290"/>
                <a:gd name="T8" fmla="*/ 2147483647 w 367"/>
                <a:gd name="T9" fmla="*/ 2147483647 h 290"/>
                <a:gd name="T10" fmla="*/ 2147483647 w 367"/>
                <a:gd name="T11" fmla="*/ 2147483647 h 290"/>
                <a:gd name="T12" fmla="*/ 2147483647 w 367"/>
                <a:gd name="T13" fmla="*/ 0 h 290"/>
                <a:gd name="T14" fmla="*/ 0 60000 65536"/>
                <a:gd name="T15" fmla="*/ 0 60000 65536"/>
                <a:gd name="T16" fmla="*/ 0 60000 65536"/>
                <a:gd name="T17" fmla="*/ 0 60000 65536"/>
                <a:gd name="T18" fmla="*/ 0 60000 65536"/>
                <a:gd name="T19" fmla="*/ 0 60000 65536"/>
                <a:gd name="T20" fmla="*/ 0 60000 65536"/>
                <a:gd name="T21" fmla="*/ 0 w 367"/>
                <a:gd name="T22" fmla="*/ 0 h 290"/>
                <a:gd name="T23" fmla="*/ 367 w 367"/>
                <a:gd name="T24" fmla="*/ 290 h 2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7" h="290">
                  <a:moveTo>
                    <a:pt x="0" y="290"/>
                  </a:moveTo>
                  <a:cubicBezTo>
                    <a:pt x="21" y="282"/>
                    <a:pt x="86" y="262"/>
                    <a:pt x="126" y="240"/>
                  </a:cubicBezTo>
                  <a:cubicBezTo>
                    <a:pt x="166" y="218"/>
                    <a:pt x="214" y="181"/>
                    <a:pt x="242" y="158"/>
                  </a:cubicBezTo>
                  <a:lnTo>
                    <a:pt x="295" y="100"/>
                  </a:lnTo>
                  <a:lnTo>
                    <a:pt x="312" y="79"/>
                  </a:lnTo>
                  <a:lnTo>
                    <a:pt x="334" y="44"/>
                  </a:lnTo>
                  <a:lnTo>
                    <a:pt x="367" y="0"/>
                  </a:ln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3" name="Freeform 1168"/>
            <p:cNvSpPr>
              <a:spLocks/>
            </p:cNvSpPr>
            <p:nvPr/>
          </p:nvSpPr>
          <p:spPr bwMode="auto">
            <a:xfrm>
              <a:off x="1966913" y="4757816"/>
              <a:ext cx="503238" cy="733425"/>
            </a:xfrm>
            <a:custGeom>
              <a:avLst/>
              <a:gdLst>
                <a:gd name="T0" fmla="*/ 2147483647 w 317"/>
                <a:gd name="T1" fmla="*/ 2147483647 h 462"/>
                <a:gd name="T2" fmla="*/ 2147483647 w 317"/>
                <a:gd name="T3" fmla="*/ 2147483647 h 462"/>
                <a:gd name="T4" fmla="*/ 2147483647 w 317"/>
                <a:gd name="T5" fmla="*/ 2147483647 h 462"/>
                <a:gd name="T6" fmla="*/ 2147483647 w 317"/>
                <a:gd name="T7" fmla="*/ 2147483647 h 462"/>
                <a:gd name="T8" fmla="*/ 2147483647 w 317"/>
                <a:gd name="T9" fmla="*/ 2147483647 h 462"/>
                <a:gd name="T10" fmla="*/ 2147483647 w 317"/>
                <a:gd name="T11" fmla="*/ 2147483647 h 462"/>
                <a:gd name="T12" fmla="*/ 2147483647 w 317"/>
                <a:gd name="T13" fmla="*/ 2147483647 h 462"/>
                <a:gd name="T14" fmla="*/ 2147483647 w 317"/>
                <a:gd name="T15" fmla="*/ 2147483647 h 462"/>
                <a:gd name="T16" fmla="*/ 2147483647 w 317"/>
                <a:gd name="T17" fmla="*/ 2147483647 h 462"/>
                <a:gd name="T18" fmla="*/ 2147483647 w 317"/>
                <a:gd name="T19" fmla="*/ 2147483647 h 462"/>
                <a:gd name="T20" fmla="*/ 2147483647 w 317"/>
                <a:gd name="T21" fmla="*/ 2147483647 h 462"/>
                <a:gd name="T22" fmla="*/ 2147483647 w 317"/>
                <a:gd name="T23" fmla="*/ 2147483647 h 462"/>
                <a:gd name="T24" fmla="*/ 2147483647 w 317"/>
                <a:gd name="T25" fmla="*/ 2147483647 h 462"/>
                <a:gd name="T26" fmla="*/ 2147483647 w 317"/>
                <a:gd name="T27" fmla="*/ 0 h 4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17"/>
                <a:gd name="T43" fmla="*/ 0 h 462"/>
                <a:gd name="T44" fmla="*/ 317 w 317"/>
                <a:gd name="T45" fmla="*/ 462 h 4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17" h="462">
                  <a:moveTo>
                    <a:pt x="6" y="462"/>
                  </a:moveTo>
                  <a:cubicBezTo>
                    <a:pt x="3" y="448"/>
                    <a:pt x="0" y="434"/>
                    <a:pt x="3" y="421"/>
                  </a:cubicBezTo>
                  <a:cubicBezTo>
                    <a:pt x="6" y="408"/>
                    <a:pt x="17" y="396"/>
                    <a:pt x="24" y="384"/>
                  </a:cubicBezTo>
                  <a:cubicBezTo>
                    <a:pt x="31" y="372"/>
                    <a:pt x="42" y="359"/>
                    <a:pt x="48" y="346"/>
                  </a:cubicBezTo>
                  <a:cubicBezTo>
                    <a:pt x="54" y="333"/>
                    <a:pt x="60" y="319"/>
                    <a:pt x="63" y="304"/>
                  </a:cubicBezTo>
                  <a:cubicBezTo>
                    <a:pt x="66" y="289"/>
                    <a:pt x="62" y="271"/>
                    <a:pt x="65" y="258"/>
                  </a:cubicBezTo>
                  <a:cubicBezTo>
                    <a:pt x="68" y="245"/>
                    <a:pt x="75" y="233"/>
                    <a:pt x="80" y="223"/>
                  </a:cubicBezTo>
                  <a:cubicBezTo>
                    <a:pt x="85" y="213"/>
                    <a:pt x="86" y="212"/>
                    <a:pt x="98" y="199"/>
                  </a:cubicBezTo>
                  <a:cubicBezTo>
                    <a:pt x="110" y="186"/>
                    <a:pt x="136" y="160"/>
                    <a:pt x="150" y="147"/>
                  </a:cubicBezTo>
                  <a:cubicBezTo>
                    <a:pt x="164" y="134"/>
                    <a:pt x="168" y="128"/>
                    <a:pt x="182" y="120"/>
                  </a:cubicBezTo>
                  <a:cubicBezTo>
                    <a:pt x="196" y="112"/>
                    <a:pt x="224" y="103"/>
                    <a:pt x="236" y="97"/>
                  </a:cubicBezTo>
                  <a:cubicBezTo>
                    <a:pt x="248" y="91"/>
                    <a:pt x="245" y="89"/>
                    <a:pt x="254" y="81"/>
                  </a:cubicBezTo>
                  <a:cubicBezTo>
                    <a:pt x="263" y="73"/>
                    <a:pt x="283" y="60"/>
                    <a:pt x="293" y="46"/>
                  </a:cubicBezTo>
                  <a:cubicBezTo>
                    <a:pt x="303" y="32"/>
                    <a:pt x="310" y="16"/>
                    <a:pt x="317"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4" name="Freeform 1169"/>
            <p:cNvSpPr>
              <a:spLocks/>
            </p:cNvSpPr>
            <p:nvPr/>
          </p:nvSpPr>
          <p:spPr bwMode="auto">
            <a:xfrm>
              <a:off x="950913" y="5430916"/>
              <a:ext cx="452438" cy="361950"/>
            </a:xfrm>
            <a:custGeom>
              <a:avLst/>
              <a:gdLst>
                <a:gd name="T0" fmla="*/ 0 w 285"/>
                <a:gd name="T1" fmla="*/ 2147483647 h 228"/>
                <a:gd name="T2" fmla="*/ 2147483647 w 285"/>
                <a:gd name="T3" fmla="*/ 2147483647 h 228"/>
                <a:gd name="T4" fmla="*/ 2147483647 w 285"/>
                <a:gd name="T5" fmla="*/ 0 h 228"/>
                <a:gd name="T6" fmla="*/ 2147483647 w 285"/>
                <a:gd name="T7" fmla="*/ 2147483647 h 228"/>
                <a:gd name="T8" fmla="*/ 2147483647 w 285"/>
                <a:gd name="T9" fmla="*/ 2147483647 h 228"/>
                <a:gd name="T10" fmla="*/ 2147483647 w 285"/>
                <a:gd name="T11" fmla="*/ 2147483647 h 228"/>
                <a:gd name="T12" fmla="*/ 2147483647 w 285"/>
                <a:gd name="T13" fmla="*/ 2147483647 h 228"/>
                <a:gd name="T14" fmla="*/ 2147483647 w 285"/>
                <a:gd name="T15" fmla="*/ 2147483647 h 228"/>
                <a:gd name="T16" fmla="*/ 2147483647 w 285"/>
                <a:gd name="T17" fmla="*/ 2147483647 h 228"/>
                <a:gd name="T18" fmla="*/ 2147483647 w 285"/>
                <a:gd name="T19" fmla="*/ 2147483647 h 228"/>
                <a:gd name="T20" fmla="*/ 2147483647 w 285"/>
                <a:gd name="T21" fmla="*/ 2147483647 h 228"/>
                <a:gd name="T22" fmla="*/ 2147483647 w 285"/>
                <a:gd name="T23" fmla="*/ 2147483647 h 228"/>
                <a:gd name="T24" fmla="*/ 2147483647 w 285"/>
                <a:gd name="T25" fmla="*/ 2147483647 h 228"/>
                <a:gd name="T26" fmla="*/ 2147483647 w 285"/>
                <a:gd name="T27" fmla="*/ 2147483647 h 228"/>
                <a:gd name="T28" fmla="*/ 2147483647 w 285"/>
                <a:gd name="T29" fmla="*/ 2147483647 h 228"/>
                <a:gd name="T30" fmla="*/ 2147483647 w 285"/>
                <a:gd name="T31" fmla="*/ 2147483647 h 228"/>
                <a:gd name="T32" fmla="*/ 2147483647 w 285"/>
                <a:gd name="T33" fmla="*/ 2147483647 h 228"/>
                <a:gd name="T34" fmla="*/ 2147483647 w 285"/>
                <a:gd name="T35" fmla="*/ 2147483647 h 228"/>
                <a:gd name="T36" fmla="*/ 2147483647 w 285"/>
                <a:gd name="T37" fmla="*/ 2147483647 h 228"/>
                <a:gd name="T38" fmla="*/ 2147483647 w 285"/>
                <a:gd name="T39" fmla="*/ 2147483647 h 228"/>
                <a:gd name="T40" fmla="*/ 2147483647 w 285"/>
                <a:gd name="T41" fmla="*/ 2147483647 h 228"/>
                <a:gd name="T42" fmla="*/ 2147483647 w 285"/>
                <a:gd name="T43" fmla="*/ 2147483647 h 228"/>
                <a:gd name="T44" fmla="*/ 2147483647 w 285"/>
                <a:gd name="T45" fmla="*/ 2147483647 h 228"/>
                <a:gd name="T46" fmla="*/ 0 w 285"/>
                <a:gd name="T47" fmla="*/ 2147483647 h 2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5"/>
                <a:gd name="T73" fmla="*/ 0 h 228"/>
                <a:gd name="T74" fmla="*/ 285 w 285"/>
                <a:gd name="T75" fmla="*/ 228 h 2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5" h="228">
                  <a:moveTo>
                    <a:pt x="0" y="42"/>
                  </a:moveTo>
                  <a:lnTo>
                    <a:pt x="4" y="27"/>
                  </a:lnTo>
                  <a:lnTo>
                    <a:pt x="180" y="0"/>
                  </a:lnTo>
                  <a:lnTo>
                    <a:pt x="192" y="30"/>
                  </a:lnTo>
                  <a:lnTo>
                    <a:pt x="222" y="26"/>
                  </a:lnTo>
                  <a:lnTo>
                    <a:pt x="241" y="54"/>
                  </a:lnTo>
                  <a:lnTo>
                    <a:pt x="172" y="54"/>
                  </a:lnTo>
                  <a:lnTo>
                    <a:pt x="163" y="87"/>
                  </a:lnTo>
                  <a:lnTo>
                    <a:pt x="186" y="87"/>
                  </a:lnTo>
                  <a:lnTo>
                    <a:pt x="192" y="117"/>
                  </a:lnTo>
                  <a:lnTo>
                    <a:pt x="285" y="122"/>
                  </a:lnTo>
                  <a:lnTo>
                    <a:pt x="271" y="153"/>
                  </a:lnTo>
                  <a:lnTo>
                    <a:pt x="247" y="141"/>
                  </a:lnTo>
                  <a:lnTo>
                    <a:pt x="208" y="191"/>
                  </a:lnTo>
                  <a:lnTo>
                    <a:pt x="199" y="228"/>
                  </a:lnTo>
                  <a:lnTo>
                    <a:pt x="144" y="179"/>
                  </a:lnTo>
                  <a:lnTo>
                    <a:pt x="144" y="155"/>
                  </a:lnTo>
                  <a:lnTo>
                    <a:pt x="106" y="141"/>
                  </a:lnTo>
                  <a:lnTo>
                    <a:pt x="76" y="188"/>
                  </a:lnTo>
                  <a:lnTo>
                    <a:pt x="48" y="189"/>
                  </a:lnTo>
                  <a:lnTo>
                    <a:pt x="1" y="95"/>
                  </a:lnTo>
                  <a:lnTo>
                    <a:pt x="19" y="80"/>
                  </a:lnTo>
                  <a:lnTo>
                    <a:pt x="10" y="44"/>
                  </a:lnTo>
                  <a:lnTo>
                    <a:pt x="0" y="4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5" name="Freeform 1170"/>
            <p:cNvSpPr>
              <a:spLocks/>
            </p:cNvSpPr>
            <p:nvPr/>
          </p:nvSpPr>
          <p:spPr bwMode="auto">
            <a:xfrm>
              <a:off x="2503488" y="4240291"/>
              <a:ext cx="584200" cy="1155700"/>
            </a:xfrm>
            <a:custGeom>
              <a:avLst/>
              <a:gdLst>
                <a:gd name="T0" fmla="*/ 0 w 368"/>
                <a:gd name="T1" fmla="*/ 2147483647 h 728"/>
                <a:gd name="T2" fmla="*/ 2147483647 w 368"/>
                <a:gd name="T3" fmla="*/ 2147483647 h 728"/>
                <a:gd name="T4" fmla="*/ 2147483647 w 368"/>
                <a:gd name="T5" fmla="*/ 2147483647 h 728"/>
                <a:gd name="T6" fmla="*/ 2147483647 w 368"/>
                <a:gd name="T7" fmla="*/ 2147483647 h 728"/>
                <a:gd name="T8" fmla="*/ 2147483647 w 368"/>
                <a:gd name="T9" fmla="*/ 2147483647 h 728"/>
                <a:gd name="T10" fmla="*/ 2147483647 w 368"/>
                <a:gd name="T11" fmla="*/ 2147483647 h 728"/>
                <a:gd name="T12" fmla="*/ 2147483647 w 368"/>
                <a:gd name="T13" fmla="*/ 2147483647 h 728"/>
                <a:gd name="T14" fmla="*/ 2147483647 w 368"/>
                <a:gd name="T15" fmla="*/ 2147483647 h 728"/>
                <a:gd name="T16" fmla="*/ 2147483647 w 368"/>
                <a:gd name="T17" fmla="*/ 2147483647 h 728"/>
                <a:gd name="T18" fmla="*/ 2147483647 w 368"/>
                <a:gd name="T19" fmla="*/ 2147483647 h 728"/>
                <a:gd name="T20" fmla="*/ 2147483647 w 368"/>
                <a:gd name="T21" fmla="*/ 2147483647 h 728"/>
                <a:gd name="T22" fmla="*/ 2147483647 w 368"/>
                <a:gd name="T23" fmla="*/ 2147483647 h 728"/>
                <a:gd name="T24" fmla="*/ 2147483647 w 368"/>
                <a:gd name="T25" fmla="*/ 2147483647 h 728"/>
                <a:gd name="T26" fmla="*/ 2147483647 w 368"/>
                <a:gd name="T27" fmla="*/ 2147483647 h 728"/>
                <a:gd name="T28" fmla="*/ 2147483647 w 368"/>
                <a:gd name="T29" fmla="*/ 2147483647 h 728"/>
                <a:gd name="T30" fmla="*/ 2147483647 w 368"/>
                <a:gd name="T31" fmla="*/ 2147483647 h 728"/>
                <a:gd name="T32" fmla="*/ 2147483647 w 368"/>
                <a:gd name="T33" fmla="*/ 2147483647 h 728"/>
                <a:gd name="T34" fmla="*/ 2147483647 w 368"/>
                <a:gd name="T35" fmla="*/ 2147483647 h 728"/>
                <a:gd name="T36" fmla="*/ 2147483647 w 368"/>
                <a:gd name="T37" fmla="*/ 2147483647 h 728"/>
                <a:gd name="T38" fmla="*/ 2147483647 w 368"/>
                <a:gd name="T39" fmla="*/ 2147483647 h 728"/>
                <a:gd name="T40" fmla="*/ 2147483647 w 368"/>
                <a:gd name="T41" fmla="*/ 2147483647 h 728"/>
                <a:gd name="T42" fmla="*/ 2147483647 w 368"/>
                <a:gd name="T43" fmla="*/ 2147483647 h 728"/>
                <a:gd name="T44" fmla="*/ 2147483647 w 368"/>
                <a:gd name="T45" fmla="*/ 2147483647 h 728"/>
                <a:gd name="T46" fmla="*/ 2147483647 w 368"/>
                <a:gd name="T47" fmla="*/ 0 h 72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8"/>
                <a:gd name="T73" fmla="*/ 0 h 728"/>
                <a:gd name="T74" fmla="*/ 368 w 368"/>
                <a:gd name="T75" fmla="*/ 728 h 72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8" h="728">
                  <a:moveTo>
                    <a:pt x="0" y="594"/>
                  </a:moveTo>
                  <a:cubicBezTo>
                    <a:pt x="19" y="610"/>
                    <a:pt x="38" y="627"/>
                    <a:pt x="54" y="642"/>
                  </a:cubicBezTo>
                  <a:cubicBezTo>
                    <a:pt x="70" y="657"/>
                    <a:pt x="86" y="675"/>
                    <a:pt x="99" y="687"/>
                  </a:cubicBezTo>
                  <a:cubicBezTo>
                    <a:pt x="112" y="699"/>
                    <a:pt x="120" y="708"/>
                    <a:pt x="132" y="714"/>
                  </a:cubicBezTo>
                  <a:cubicBezTo>
                    <a:pt x="144" y="720"/>
                    <a:pt x="157" y="725"/>
                    <a:pt x="174" y="726"/>
                  </a:cubicBezTo>
                  <a:cubicBezTo>
                    <a:pt x="191" y="727"/>
                    <a:pt x="219" y="728"/>
                    <a:pt x="235" y="722"/>
                  </a:cubicBezTo>
                  <a:cubicBezTo>
                    <a:pt x="251" y="716"/>
                    <a:pt x="258" y="699"/>
                    <a:pt x="274" y="689"/>
                  </a:cubicBezTo>
                  <a:cubicBezTo>
                    <a:pt x="290" y="679"/>
                    <a:pt x="315" y="670"/>
                    <a:pt x="328" y="663"/>
                  </a:cubicBezTo>
                  <a:cubicBezTo>
                    <a:pt x="341" y="656"/>
                    <a:pt x="346" y="655"/>
                    <a:pt x="351" y="645"/>
                  </a:cubicBezTo>
                  <a:cubicBezTo>
                    <a:pt x="356" y="635"/>
                    <a:pt x="356" y="618"/>
                    <a:pt x="357" y="605"/>
                  </a:cubicBezTo>
                  <a:cubicBezTo>
                    <a:pt x="358" y="592"/>
                    <a:pt x="355" y="584"/>
                    <a:pt x="357" y="567"/>
                  </a:cubicBezTo>
                  <a:cubicBezTo>
                    <a:pt x="359" y="550"/>
                    <a:pt x="368" y="520"/>
                    <a:pt x="367" y="501"/>
                  </a:cubicBezTo>
                  <a:cubicBezTo>
                    <a:pt x="366" y="482"/>
                    <a:pt x="358" y="467"/>
                    <a:pt x="349" y="455"/>
                  </a:cubicBezTo>
                  <a:cubicBezTo>
                    <a:pt x="340" y="443"/>
                    <a:pt x="324" y="436"/>
                    <a:pt x="315" y="428"/>
                  </a:cubicBezTo>
                  <a:cubicBezTo>
                    <a:pt x="306" y="420"/>
                    <a:pt x="301" y="424"/>
                    <a:pt x="294" y="408"/>
                  </a:cubicBezTo>
                  <a:cubicBezTo>
                    <a:pt x="287" y="392"/>
                    <a:pt x="279" y="354"/>
                    <a:pt x="270" y="330"/>
                  </a:cubicBezTo>
                  <a:cubicBezTo>
                    <a:pt x="261" y="306"/>
                    <a:pt x="252" y="287"/>
                    <a:pt x="240" y="263"/>
                  </a:cubicBezTo>
                  <a:cubicBezTo>
                    <a:pt x="228" y="239"/>
                    <a:pt x="212" y="208"/>
                    <a:pt x="195" y="186"/>
                  </a:cubicBezTo>
                  <a:cubicBezTo>
                    <a:pt x="178" y="164"/>
                    <a:pt x="151" y="142"/>
                    <a:pt x="138" y="129"/>
                  </a:cubicBezTo>
                  <a:cubicBezTo>
                    <a:pt x="125" y="116"/>
                    <a:pt x="123" y="115"/>
                    <a:pt x="118" y="105"/>
                  </a:cubicBezTo>
                  <a:cubicBezTo>
                    <a:pt x="113" y="95"/>
                    <a:pt x="113" y="81"/>
                    <a:pt x="111" y="72"/>
                  </a:cubicBezTo>
                  <a:cubicBezTo>
                    <a:pt x="109" y="63"/>
                    <a:pt x="108" y="61"/>
                    <a:pt x="103" y="53"/>
                  </a:cubicBezTo>
                  <a:cubicBezTo>
                    <a:pt x="98" y="45"/>
                    <a:pt x="88" y="32"/>
                    <a:pt x="82" y="23"/>
                  </a:cubicBezTo>
                  <a:cubicBezTo>
                    <a:pt x="76" y="14"/>
                    <a:pt x="69" y="5"/>
                    <a:pt x="66"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6" name="Freeform 1171"/>
            <p:cNvSpPr>
              <a:spLocks/>
            </p:cNvSpPr>
            <p:nvPr/>
          </p:nvSpPr>
          <p:spPr bwMode="auto">
            <a:xfrm>
              <a:off x="1046163" y="3138566"/>
              <a:ext cx="219075" cy="233363"/>
            </a:xfrm>
            <a:custGeom>
              <a:avLst/>
              <a:gdLst>
                <a:gd name="T0" fmla="*/ 2147483647 w 138"/>
                <a:gd name="T1" fmla="*/ 2147483647 h 147"/>
                <a:gd name="T2" fmla="*/ 2147483647 w 138"/>
                <a:gd name="T3" fmla="*/ 2147483647 h 147"/>
                <a:gd name="T4" fmla="*/ 2147483647 w 138"/>
                <a:gd name="T5" fmla="*/ 2147483647 h 147"/>
                <a:gd name="T6" fmla="*/ 2147483647 w 138"/>
                <a:gd name="T7" fmla="*/ 2147483647 h 147"/>
                <a:gd name="T8" fmla="*/ 0 w 138"/>
                <a:gd name="T9" fmla="*/ 2147483647 h 147"/>
                <a:gd name="T10" fmla="*/ 2147483647 w 138"/>
                <a:gd name="T11" fmla="*/ 2147483647 h 147"/>
                <a:gd name="T12" fmla="*/ 2147483647 w 138"/>
                <a:gd name="T13" fmla="*/ 2147483647 h 147"/>
                <a:gd name="T14" fmla="*/ 2147483647 w 138"/>
                <a:gd name="T15" fmla="*/ 0 h 147"/>
                <a:gd name="T16" fmla="*/ 2147483647 w 138"/>
                <a:gd name="T17" fmla="*/ 0 h 147"/>
                <a:gd name="T18" fmla="*/ 2147483647 w 138"/>
                <a:gd name="T19" fmla="*/ 2147483647 h 147"/>
                <a:gd name="T20" fmla="*/ 2147483647 w 138"/>
                <a:gd name="T21" fmla="*/ 2147483647 h 147"/>
                <a:gd name="T22" fmla="*/ 2147483647 w 138"/>
                <a:gd name="T23" fmla="*/ 2147483647 h 147"/>
                <a:gd name="T24" fmla="*/ 2147483647 w 138"/>
                <a:gd name="T25" fmla="*/ 2147483647 h 147"/>
                <a:gd name="T26" fmla="*/ 2147483647 w 138"/>
                <a:gd name="T27" fmla="*/ 2147483647 h 1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8"/>
                <a:gd name="T43" fmla="*/ 0 h 147"/>
                <a:gd name="T44" fmla="*/ 138 w 138"/>
                <a:gd name="T45" fmla="*/ 147 h 1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8" h="147">
                  <a:moveTo>
                    <a:pt x="76" y="118"/>
                  </a:moveTo>
                  <a:lnTo>
                    <a:pt x="76" y="147"/>
                  </a:lnTo>
                  <a:lnTo>
                    <a:pt x="42" y="145"/>
                  </a:lnTo>
                  <a:lnTo>
                    <a:pt x="45" y="99"/>
                  </a:lnTo>
                  <a:lnTo>
                    <a:pt x="0" y="94"/>
                  </a:lnTo>
                  <a:lnTo>
                    <a:pt x="4" y="70"/>
                  </a:lnTo>
                  <a:lnTo>
                    <a:pt x="81" y="22"/>
                  </a:lnTo>
                  <a:lnTo>
                    <a:pt x="79" y="0"/>
                  </a:lnTo>
                  <a:lnTo>
                    <a:pt x="94" y="0"/>
                  </a:lnTo>
                  <a:lnTo>
                    <a:pt x="108" y="49"/>
                  </a:lnTo>
                  <a:lnTo>
                    <a:pt x="138" y="57"/>
                  </a:lnTo>
                  <a:lnTo>
                    <a:pt x="135" y="90"/>
                  </a:lnTo>
                  <a:lnTo>
                    <a:pt x="108" y="115"/>
                  </a:lnTo>
                  <a:lnTo>
                    <a:pt x="76" y="11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7" name="Freeform 1172"/>
            <p:cNvSpPr>
              <a:spLocks/>
            </p:cNvSpPr>
            <p:nvPr/>
          </p:nvSpPr>
          <p:spPr bwMode="auto">
            <a:xfrm>
              <a:off x="1828800" y="4078366"/>
              <a:ext cx="133350" cy="369888"/>
            </a:xfrm>
            <a:custGeom>
              <a:avLst/>
              <a:gdLst>
                <a:gd name="T0" fmla="*/ 2147483647 w 84"/>
                <a:gd name="T1" fmla="*/ 0 h 233"/>
                <a:gd name="T2" fmla="*/ 0 w 84"/>
                <a:gd name="T3" fmla="*/ 2147483647 h 233"/>
                <a:gd name="T4" fmla="*/ 2147483647 w 84"/>
                <a:gd name="T5" fmla="*/ 2147483647 h 233"/>
                <a:gd name="T6" fmla="*/ 2147483647 w 84"/>
                <a:gd name="T7" fmla="*/ 2147483647 h 233"/>
                <a:gd name="T8" fmla="*/ 2147483647 w 84"/>
                <a:gd name="T9" fmla="*/ 2147483647 h 233"/>
                <a:gd name="T10" fmla="*/ 2147483647 w 84"/>
                <a:gd name="T11" fmla="*/ 2147483647 h 233"/>
                <a:gd name="T12" fmla="*/ 2147483647 w 84"/>
                <a:gd name="T13" fmla="*/ 2147483647 h 233"/>
                <a:gd name="T14" fmla="*/ 0 60000 65536"/>
                <a:gd name="T15" fmla="*/ 0 60000 65536"/>
                <a:gd name="T16" fmla="*/ 0 60000 65536"/>
                <a:gd name="T17" fmla="*/ 0 60000 65536"/>
                <a:gd name="T18" fmla="*/ 0 60000 65536"/>
                <a:gd name="T19" fmla="*/ 0 60000 65536"/>
                <a:gd name="T20" fmla="*/ 0 60000 65536"/>
                <a:gd name="T21" fmla="*/ 0 w 84"/>
                <a:gd name="T22" fmla="*/ 0 h 233"/>
                <a:gd name="T23" fmla="*/ 84 w 84"/>
                <a:gd name="T24" fmla="*/ 233 h 2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4" h="233">
                  <a:moveTo>
                    <a:pt x="8" y="0"/>
                  </a:moveTo>
                  <a:cubicBezTo>
                    <a:pt x="7" y="6"/>
                    <a:pt x="0" y="28"/>
                    <a:pt x="0" y="35"/>
                  </a:cubicBezTo>
                  <a:cubicBezTo>
                    <a:pt x="0" y="42"/>
                    <a:pt x="7" y="34"/>
                    <a:pt x="11" y="41"/>
                  </a:cubicBezTo>
                  <a:cubicBezTo>
                    <a:pt x="15" y="48"/>
                    <a:pt x="24" y="69"/>
                    <a:pt x="26" y="80"/>
                  </a:cubicBezTo>
                  <a:cubicBezTo>
                    <a:pt x="28" y="91"/>
                    <a:pt x="20" y="90"/>
                    <a:pt x="23" y="109"/>
                  </a:cubicBezTo>
                  <a:cubicBezTo>
                    <a:pt x="26" y="128"/>
                    <a:pt x="34" y="174"/>
                    <a:pt x="44" y="195"/>
                  </a:cubicBezTo>
                  <a:cubicBezTo>
                    <a:pt x="54" y="216"/>
                    <a:pt x="77" y="227"/>
                    <a:pt x="84" y="233"/>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8" name="Freeform 1173"/>
            <p:cNvSpPr>
              <a:spLocks/>
            </p:cNvSpPr>
            <p:nvPr/>
          </p:nvSpPr>
          <p:spPr bwMode="auto">
            <a:xfrm>
              <a:off x="1974850" y="5022928"/>
              <a:ext cx="95250" cy="117475"/>
            </a:xfrm>
            <a:custGeom>
              <a:avLst/>
              <a:gdLst>
                <a:gd name="T0" fmla="*/ 2147483647 w 198"/>
                <a:gd name="T1" fmla="*/ 2147483647 h 220"/>
                <a:gd name="T2" fmla="*/ 2147483647 w 198"/>
                <a:gd name="T3" fmla="*/ 2147483647 h 220"/>
                <a:gd name="T4" fmla="*/ 2147483647 w 198"/>
                <a:gd name="T5" fmla="*/ 2147483647 h 220"/>
                <a:gd name="T6" fmla="*/ 2147483647 w 198"/>
                <a:gd name="T7" fmla="*/ 2147483647 h 220"/>
                <a:gd name="T8" fmla="*/ 2147483647 w 198"/>
                <a:gd name="T9" fmla="*/ 2147483647 h 220"/>
                <a:gd name="T10" fmla="*/ 2147483647 w 198"/>
                <a:gd name="T11" fmla="*/ 2147483647 h 220"/>
                <a:gd name="T12" fmla="*/ 2147483647 w 198"/>
                <a:gd name="T13" fmla="*/ 2147483647 h 220"/>
                <a:gd name="T14" fmla="*/ 2147483647 w 198"/>
                <a:gd name="T15" fmla="*/ 2147483647 h 220"/>
                <a:gd name="T16" fmla="*/ 2147483647 w 198"/>
                <a:gd name="T17" fmla="*/ 2147483647 h 220"/>
                <a:gd name="T18" fmla="*/ 2147483647 w 198"/>
                <a:gd name="T19" fmla="*/ 2147483647 h 220"/>
                <a:gd name="T20" fmla="*/ 2147483647 w 198"/>
                <a:gd name="T21" fmla="*/ 2147483647 h 220"/>
                <a:gd name="T22" fmla="*/ 2147483647 w 198"/>
                <a:gd name="T23" fmla="*/ 2147483647 h 220"/>
                <a:gd name="T24" fmla="*/ 2147483647 w 198"/>
                <a:gd name="T25" fmla="*/ 2147483647 h 220"/>
                <a:gd name="T26" fmla="*/ 2147483647 w 198"/>
                <a:gd name="T27" fmla="*/ 2147483647 h 220"/>
                <a:gd name="T28" fmla="*/ 2147483647 w 198"/>
                <a:gd name="T29" fmla="*/ 2147483647 h 2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8"/>
                <a:gd name="T46" fmla="*/ 0 h 220"/>
                <a:gd name="T47" fmla="*/ 198 w 198"/>
                <a:gd name="T48" fmla="*/ 220 h 2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8" h="220">
                  <a:moveTo>
                    <a:pt x="19" y="61"/>
                  </a:moveTo>
                  <a:cubicBezTo>
                    <a:pt x="20" y="53"/>
                    <a:pt x="17" y="33"/>
                    <a:pt x="20" y="25"/>
                  </a:cubicBezTo>
                  <a:cubicBezTo>
                    <a:pt x="23" y="17"/>
                    <a:pt x="12" y="0"/>
                    <a:pt x="38" y="10"/>
                  </a:cubicBezTo>
                  <a:cubicBezTo>
                    <a:pt x="64" y="20"/>
                    <a:pt x="154" y="67"/>
                    <a:pt x="176" y="82"/>
                  </a:cubicBezTo>
                  <a:cubicBezTo>
                    <a:pt x="198" y="97"/>
                    <a:pt x="172" y="97"/>
                    <a:pt x="170" y="103"/>
                  </a:cubicBezTo>
                  <a:cubicBezTo>
                    <a:pt x="168" y="109"/>
                    <a:pt x="164" y="111"/>
                    <a:pt x="163" y="119"/>
                  </a:cubicBezTo>
                  <a:cubicBezTo>
                    <a:pt x="162" y="127"/>
                    <a:pt x="166" y="144"/>
                    <a:pt x="166" y="154"/>
                  </a:cubicBezTo>
                  <a:cubicBezTo>
                    <a:pt x="166" y="164"/>
                    <a:pt x="165" y="170"/>
                    <a:pt x="161" y="179"/>
                  </a:cubicBezTo>
                  <a:cubicBezTo>
                    <a:pt x="157" y="188"/>
                    <a:pt x="148" y="203"/>
                    <a:pt x="143" y="209"/>
                  </a:cubicBezTo>
                  <a:cubicBezTo>
                    <a:pt x="138" y="215"/>
                    <a:pt x="148" y="220"/>
                    <a:pt x="130" y="214"/>
                  </a:cubicBezTo>
                  <a:cubicBezTo>
                    <a:pt x="112" y="208"/>
                    <a:pt x="58" y="186"/>
                    <a:pt x="37" y="175"/>
                  </a:cubicBezTo>
                  <a:cubicBezTo>
                    <a:pt x="16" y="164"/>
                    <a:pt x="10" y="159"/>
                    <a:pt x="5" y="146"/>
                  </a:cubicBezTo>
                  <a:cubicBezTo>
                    <a:pt x="0" y="133"/>
                    <a:pt x="7" y="110"/>
                    <a:pt x="8" y="98"/>
                  </a:cubicBezTo>
                  <a:cubicBezTo>
                    <a:pt x="9" y="86"/>
                    <a:pt x="11" y="82"/>
                    <a:pt x="13" y="76"/>
                  </a:cubicBezTo>
                  <a:cubicBezTo>
                    <a:pt x="15" y="70"/>
                    <a:pt x="18" y="69"/>
                    <a:pt x="19" y="61"/>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79" name="Freeform 1174"/>
            <p:cNvSpPr>
              <a:spLocks/>
            </p:cNvSpPr>
            <p:nvPr/>
          </p:nvSpPr>
          <p:spPr bwMode="auto">
            <a:xfrm>
              <a:off x="808038" y="4311728"/>
              <a:ext cx="1112838" cy="1119188"/>
            </a:xfrm>
            <a:custGeom>
              <a:avLst/>
              <a:gdLst>
                <a:gd name="T0" fmla="*/ 2147483647 w 2327"/>
                <a:gd name="T1" fmla="*/ 2147483647 h 2095"/>
                <a:gd name="T2" fmla="*/ 2147483647 w 2327"/>
                <a:gd name="T3" fmla="*/ 2147483647 h 2095"/>
                <a:gd name="T4" fmla="*/ 2147483647 w 2327"/>
                <a:gd name="T5" fmla="*/ 2147483647 h 2095"/>
                <a:gd name="T6" fmla="*/ 2147483647 w 2327"/>
                <a:gd name="T7" fmla="*/ 2147483647 h 2095"/>
                <a:gd name="T8" fmla="*/ 2147483647 w 2327"/>
                <a:gd name="T9" fmla="*/ 2147483647 h 2095"/>
                <a:gd name="T10" fmla="*/ 2147483647 w 2327"/>
                <a:gd name="T11" fmla="*/ 2147483647 h 2095"/>
                <a:gd name="T12" fmla="*/ 2147483647 w 2327"/>
                <a:gd name="T13" fmla="*/ 2147483647 h 2095"/>
                <a:gd name="T14" fmla="*/ 2147483647 w 2327"/>
                <a:gd name="T15" fmla="*/ 2147483647 h 2095"/>
                <a:gd name="T16" fmla="*/ 2147483647 w 2327"/>
                <a:gd name="T17" fmla="*/ 2147483647 h 2095"/>
                <a:gd name="T18" fmla="*/ 2147483647 w 2327"/>
                <a:gd name="T19" fmla="*/ 2147483647 h 2095"/>
                <a:gd name="T20" fmla="*/ 2147483647 w 2327"/>
                <a:gd name="T21" fmla="*/ 2147483647 h 2095"/>
                <a:gd name="T22" fmla="*/ 2147483647 w 2327"/>
                <a:gd name="T23" fmla="*/ 2147483647 h 2095"/>
                <a:gd name="T24" fmla="*/ 2147483647 w 2327"/>
                <a:gd name="T25" fmla="*/ 2147483647 h 2095"/>
                <a:gd name="T26" fmla="*/ 2147483647 w 2327"/>
                <a:gd name="T27" fmla="*/ 2147483647 h 2095"/>
                <a:gd name="T28" fmla="*/ 2147483647 w 2327"/>
                <a:gd name="T29" fmla="*/ 2147483647 h 2095"/>
                <a:gd name="T30" fmla="*/ 2147483647 w 2327"/>
                <a:gd name="T31" fmla="*/ 2147483647 h 2095"/>
                <a:gd name="T32" fmla="*/ 2147483647 w 2327"/>
                <a:gd name="T33" fmla="*/ 2147483647 h 2095"/>
                <a:gd name="T34" fmla="*/ 2147483647 w 2327"/>
                <a:gd name="T35" fmla="*/ 2147483647 h 2095"/>
                <a:gd name="T36" fmla="*/ 2147483647 w 2327"/>
                <a:gd name="T37" fmla="*/ 2147483647 h 2095"/>
                <a:gd name="T38" fmla="*/ 2147483647 w 2327"/>
                <a:gd name="T39" fmla="*/ 2147483647 h 2095"/>
                <a:gd name="T40" fmla="*/ 2147483647 w 2327"/>
                <a:gd name="T41" fmla="*/ 2147483647 h 2095"/>
                <a:gd name="T42" fmla="*/ 2147483647 w 2327"/>
                <a:gd name="T43" fmla="*/ 2147483647 h 2095"/>
                <a:gd name="T44" fmla="*/ 2147483647 w 2327"/>
                <a:gd name="T45" fmla="*/ 2147483647 h 2095"/>
                <a:gd name="T46" fmla="*/ 2147483647 w 2327"/>
                <a:gd name="T47" fmla="*/ 2147483647 h 2095"/>
                <a:gd name="T48" fmla="*/ 2147483647 w 2327"/>
                <a:gd name="T49" fmla="*/ 2147483647 h 2095"/>
                <a:gd name="T50" fmla="*/ 2147483647 w 2327"/>
                <a:gd name="T51" fmla="*/ 2147483647 h 2095"/>
                <a:gd name="T52" fmla="*/ 2147483647 w 2327"/>
                <a:gd name="T53" fmla="*/ 2147483647 h 2095"/>
                <a:gd name="T54" fmla="*/ 2147483647 w 2327"/>
                <a:gd name="T55" fmla="*/ 2147483647 h 2095"/>
                <a:gd name="T56" fmla="*/ 2147483647 w 2327"/>
                <a:gd name="T57" fmla="*/ 2147483647 h 2095"/>
                <a:gd name="T58" fmla="*/ 2147483647 w 2327"/>
                <a:gd name="T59" fmla="*/ 2147483647 h 2095"/>
                <a:gd name="T60" fmla="*/ 2147483647 w 2327"/>
                <a:gd name="T61" fmla="*/ 2147483647 h 2095"/>
                <a:gd name="T62" fmla="*/ 2147483647 w 2327"/>
                <a:gd name="T63" fmla="*/ 2147483647 h 2095"/>
                <a:gd name="T64" fmla="*/ 2147483647 w 2327"/>
                <a:gd name="T65" fmla="*/ 2147483647 h 2095"/>
                <a:gd name="T66" fmla="*/ 2147483647 w 2327"/>
                <a:gd name="T67" fmla="*/ 2147483647 h 2095"/>
                <a:gd name="T68" fmla="*/ 2147483647 w 2327"/>
                <a:gd name="T69" fmla="*/ 2147483647 h 2095"/>
                <a:gd name="T70" fmla="*/ 2147483647 w 2327"/>
                <a:gd name="T71" fmla="*/ 2147483647 h 2095"/>
                <a:gd name="T72" fmla="*/ 2147483647 w 2327"/>
                <a:gd name="T73" fmla="*/ 2147483647 h 2095"/>
                <a:gd name="T74" fmla="*/ 2147483647 w 2327"/>
                <a:gd name="T75" fmla="*/ 2147483647 h 2095"/>
                <a:gd name="T76" fmla="*/ 2147483647 w 2327"/>
                <a:gd name="T77" fmla="*/ 2147483647 h 2095"/>
                <a:gd name="T78" fmla="*/ 2147483647 w 2327"/>
                <a:gd name="T79" fmla="*/ 2147483647 h 2095"/>
                <a:gd name="T80" fmla="*/ 2147483647 w 2327"/>
                <a:gd name="T81" fmla="*/ 2147483647 h 2095"/>
                <a:gd name="T82" fmla="*/ 2147483647 w 2327"/>
                <a:gd name="T83" fmla="*/ 2147483647 h 2095"/>
                <a:gd name="T84" fmla="*/ 2147483647 w 2327"/>
                <a:gd name="T85" fmla="*/ 2147483647 h 2095"/>
                <a:gd name="T86" fmla="*/ 2147483647 w 2327"/>
                <a:gd name="T87" fmla="*/ 2147483647 h 2095"/>
                <a:gd name="T88" fmla="*/ 2147483647 w 2327"/>
                <a:gd name="T89" fmla="*/ 2147483647 h 2095"/>
                <a:gd name="T90" fmla="*/ 2147483647 w 2327"/>
                <a:gd name="T91" fmla="*/ 2147483647 h 20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27"/>
                <a:gd name="T139" fmla="*/ 0 h 2095"/>
                <a:gd name="T140" fmla="*/ 2327 w 2327"/>
                <a:gd name="T141" fmla="*/ 2095 h 20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27" h="2095">
                  <a:moveTo>
                    <a:pt x="804" y="2044"/>
                  </a:moveTo>
                  <a:cubicBezTo>
                    <a:pt x="738" y="2060"/>
                    <a:pt x="502" y="2095"/>
                    <a:pt x="429" y="2092"/>
                  </a:cubicBezTo>
                  <a:cubicBezTo>
                    <a:pt x="356" y="2089"/>
                    <a:pt x="390" y="2034"/>
                    <a:pt x="363" y="2023"/>
                  </a:cubicBezTo>
                  <a:cubicBezTo>
                    <a:pt x="336" y="2012"/>
                    <a:pt x="293" y="2026"/>
                    <a:pt x="270" y="2023"/>
                  </a:cubicBezTo>
                  <a:cubicBezTo>
                    <a:pt x="247" y="2020"/>
                    <a:pt x="234" y="2017"/>
                    <a:pt x="222" y="2002"/>
                  </a:cubicBezTo>
                  <a:cubicBezTo>
                    <a:pt x="210" y="1987"/>
                    <a:pt x="199" y="1962"/>
                    <a:pt x="201" y="1933"/>
                  </a:cubicBezTo>
                  <a:cubicBezTo>
                    <a:pt x="203" y="1904"/>
                    <a:pt x="228" y="1854"/>
                    <a:pt x="234" y="1825"/>
                  </a:cubicBezTo>
                  <a:cubicBezTo>
                    <a:pt x="240" y="1796"/>
                    <a:pt x="244" y="1792"/>
                    <a:pt x="237" y="1759"/>
                  </a:cubicBezTo>
                  <a:cubicBezTo>
                    <a:pt x="230" y="1726"/>
                    <a:pt x="212" y="1666"/>
                    <a:pt x="195" y="1627"/>
                  </a:cubicBezTo>
                  <a:cubicBezTo>
                    <a:pt x="178" y="1588"/>
                    <a:pt x="154" y="1559"/>
                    <a:pt x="135" y="1528"/>
                  </a:cubicBezTo>
                  <a:cubicBezTo>
                    <a:pt x="116" y="1497"/>
                    <a:pt x="100" y="1482"/>
                    <a:pt x="81" y="1438"/>
                  </a:cubicBezTo>
                  <a:cubicBezTo>
                    <a:pt x="62" y="1394"/>
                    <a:pt x="28" y="1311"/>
                    <a:pt x="24" y="1267"/>
                  </a:cubicBezTo>
                  <a:cubicBezTo>
                    <a:pt x="20" y="1223"/>
                    <a:pt x="50" y="1205"/>
                    <a:pt x="54" y="1174"/>
                  </a:cubicBezTo>
                  <a:cubicBezTo>
                    <a:pt x="58" y="1143"/>
                    <a:pt x="59" y="1104"/>
                    <a:pt x="51" y="1078"/>
                  </a:cubicBezTo>
                  <a:cubicBezTo>
                    <a:pt x="43" y="1052"/>
                    <a:pt x="11" y="1036"/>
                    <a:pt x="6" y="1018"/>
                  </a:cubicBezTo>
                  <a:cubicBezTo>
                    <a:pt x="1" y="1000"/>
                    <a:pt x="0" y="994"/>
                    <a:pt x="18" y="970"/>
                  </a:cubicBezTo>
                  <a:cubicBezTo>
                    <a:pt x="36" y="946"/>
                    <a:pt x="69" y="904"/>
                    <a:pt x="111" y="874"/>
                  </a:cubicBezTo>
                  <a:cubicBezTo>
                    <a:pt x="153" y="844"/>
                    <a:pt x="231" y="815"/>
                    <a:pt x="270" y="793"/>
                  </a:cubicBezTo>
                  <a:cubicBezTo>
                    <a:pt x="309" y="771"/>
                    <a:pt x="332" y="764"/>
                    <a:pt x="345" y="745"/>
                  </a:cubicBezTo>
                  <a:cubicBezTo>
                    <a:pt x="358" y="726"/>
                    <a:pt x="336" y="700"/>
                    <a:pt x="345" y="676"/>
                  </a:cubicBezTo>
                  <a:cubicBezTo>
                    <a:pt x="354" y="652"/>
                    <a:pt x="367" y="623"/>
                    <a:pt x="402" y="601"/>
                  </a:cubicBezTo>
                  <a:cubicBezTo>
                    <a:pt x="437" y="579"/>
                    <a:pt x="523" y="547"/>
                    <a:pt x="555" y="541"/>
                  </a:cubicBezTo>
                  <a:cubicBezTo>
                    <a:pt x="587" y="535"/>
                    <a:pt x="580" y="551"/>
                    <a:pt x="597" y="565"/>
                  </a:cubicBezTo>
                  <a:cubicBezTo>
                    <a:pt x="614" y="579"/>
                    <a:pt x="640" y="608"/>
                    <a:pt x="660" y="625"/>
                  </a:cubicBezTo>
                  <a:cubicBezTo>
                    <a:pt x="680" y="642"/>
                    <a:pt x="694" y="656"/>
                    <a:pt x="714" y="664"/>
                  </a:cubicBezTo>
                  <a:cubicBezTo>
                    <a:pt x="734" y="672"/>
                    <a:pt x="757" y="677"/>
                    <a:pt x="780" y="676"/>
                  </a:cubicBezTo>
                  <a:cubicBezTo>
                    <a:pt x="803" y="675"/>
                    <a:pt x="834" y="672"/>
                    <a:pt x="852" y="658"/>
                  </a:cubicBezTo>
                  <a:cubicBezTo>
                    <a:pt x="870" y="644"/>
                    <a:pt x="874" y="613"/>
                    <a:pt x="885" y="589"/>
                  </a:cubicBezTo>
                  <a:cubicBezTo>
                    <a:pt x="896" y="565"/>
                    <a:pt x="898" y="536"/>
                    <a:pt x="918" y="514"/>
                  </a:cubicBezTo>
                  <a:cubicBezTo>
                    <a:pt x="938" y="492"/>
                    <a:pt x="969" y="479"/>
                    <a:pt x="1002" y="460"/>
                  </a:cubicBezTo>
                  <a:cubicBezTo>
                    <a:pt x="1035" y="441"/>
                    <a:pt x="1088" y="416"/>
                    <a:pt x="1119" y="397"/>
                  </a:cubicBezTo>
                  <a:cubicBezTo>
                    <a:pt x="1150" y="378"/>
                    <a:pt x="1159" y="376"/>
                    <a:pt x="1188" y="346"/>
                  </a:cubicBezTo>
                  <a:cubicBezTo>
                    <a:pt x="1217" y="316"/>
                    <a:pt x="1264" y="252"/>
                    <a:pt x="1293" y="217"/>
                  </a:cubicBezTo>
                  <a:cubicBezTo>
                    <a:pt x="1322" y="182"/>
                    <a:pt x="1323" y="160"/>
                    <a:pt x="1359" y="133"/>
                  </a:cubicBezTo>
                  <a:cubicBezTo>
                    <a:pt x="1395" y="106"/>
                    <a:pt x="1471" y="76"/>
                    <a:pt x="1512" y="55"/>
                  </a:cubicBezTo>
                  <a:cubicBezTo>
                    <a:pt x="1553" y="34"/>
                    <a:pt x="1572" y="14"/>
                    <a:pt x="1605" y="7"/>
                  </a:cubicBezTo>
                  <a:cubicBezTo>
                    <a:pt x="1638" y="0"/>
                    <a:pt x="1682" y="3"/>
                    <a:pt x="1710" y="10"/>
                  </a:cubicBezTo>
                  <a:cubicBezTo>
                    <a:pt x="1738" y="17"/>
                    <a:pt x="1752" y="42"/>
                    <a:pt x="1776" y="52"/>
                  </a:cubicBezTo>
                  <a:cubicBezTo>
                    <a:pt x="1800" y="62"/>
                    <a:pt x="1820" y="71"/>
                    <a:pt x="1857" y="73"/>
                  </a:cubicBezTo>
                  <a:cubicBezTo>
                    <a:pt x="1894" y="75"/>
                    <a:pt x="1965" y="54"/>
                    <a:pt x="1998" y="64"/>
                  </a:cubicBezTo>
                  <a:cubicBezTo>
                    <a:pt x="2031" y="74"/>
                    <a:pt x="2040" y="110"/>
                    <a:pt x="2055" y="133"/>
                  </a:cubicBezTo>
                  <a:cubicBezTo>
                    <a:pt x="2070" y="156"/>
                    <a:pt x="2072" y="178"/>
                    <a:pt x="2091" y="202"/>
                  </a:cubicBezTo>
                  <a:cubicBezTo>
                    <a:pt x="2110" y="226"/>
                    <a:pt x="2131" y="254"/>
                    <a:pt x="2169" y="280"/>
                  </a:cubicBezTo>
                  <a:cubicBezTo>
                    <a:pt x="2207" y="306"/>
                    <a:pt x="2311" y="310"/>
                    <a:pt x="2319" y="361"/>
                  </a:cubicBezTo>
                  <a:cubicBezTo>
                    <a:pt x="2327" y="412"/>
                    <a:pt x="2274" y="512"/>
                    <a:pt x="2217" y="583"/>
                  </a:cubicBezTo>
                  <a:cubicBezTo>
                    <a:pt x="2160" y="654"/>
                    <a:pt x="2036" y="722"/>
                    <a:pt x="1974" y="790"/>
                  </a:cubicBezTo>
                  <a:cubicBezTo>
                    <a:pt x="1912" y="858"/>
                    <a:pt x="1849" y="937"/>
                    <a:pt x="1842" y="994"/>
                  </a:cubicBezTo>
                  <a:cubicBezTo>
                    <a:pt x="1835" y="1051"/>
                    <a:pt x="1880" y="1112"/>
                    <a:pt x="1929" y="1132"/>
                  </a:cubicBezTo>
                  <a:cubicBezTo>
                    <a:pt x="1978" y="1152"/>
                    <a:pt x="2093" y="1105"/>
                    <a:pt x="2139" y="1117"/>
                  </a:cubicBezTo>
                  <a:cubicBezTo>
                    <a:pt x="2185" y="1129"/>
                    <a:pt x="2191" y="1176"/>
                    <a:pt x="2205" y="1204"/>
                  </a:cubicBezTo>
                  <a:cubicBezTo>
                    <a:pt x="2219" y="1232"/>
                    <a:pt x="2222" y="1249"/>
                    <a:pt x="2220" y="1282"/>
                  </a:cubicBezTo>
                  <a:cubicBezTo>
                    <a:pt x="2218" y="1315"/>
                    <a:pt x="2205" y="1369"/>
                    <a:pt x="2193" y="1402"/>
                  </a:cubicBezTo>
                  <a:cubicBezTo>
                    <a:pt x="2181" y="1435"/>
                    <a:pt x="2165" y="1451"/>
                    <a:pt x="2148" y="1480"/>
                  </a:cubicBezTo>
                  <a:cubicBezTo>
                    <a:pt x="2131" y="1509"/>
                    <a:pt x="2117" y="1549"/>
                    <a:pt x="2091" y="1573"/>
                  </a:cubicBezTo>
                  <a:cubicBezTo>
                    <a:pt x="2065" y="1597"/>
                    <a:pt x="2034" y="1619"/>
                    <a:pt x="1992" y="1627"/>
                  </a:cubicBezTo>
                  <a:cubicBezTo>
                    <a:pt x="1950" y="1635"/>
                    <a:pt x="1913" y="1624"/>
                    <a:pt x="1836" y="1624"/>
                  </a:cubicBezTo>
                  <a:cubicBezTo>
                    <a:pt x="1759" y="1624"/>
                    <a:pt x="1587" y="1628"/>
                    <a:pt x="1530" y="1624"/>
                  </a:cubicBezTo>
                  <a:cubicBezTo>
                    <a:pt x="1473" y="1620"/>
                    <a:pt x="1513" y="1617"/>
                    <a:pt x="1494" y="1600"/>
                  </a:cubicBezTo>
                  <a:cubicBezTo>
                    <a:pt x="1475" y="1583"/>
                    <a:pt x="1442" y="1549"/>
                    <a:pt x="1416" y="1522"/>
                  </a:cubicBezTo>
                  <a:cubicBezTo>
                    <a:pt x="1390" y="1495"/>
                    <a:pt x="1354" y="1463"/>
                    <a:pt x="1338" y="1438"/>
                  </a:cubicBezTo>
                  <a:cubicBezTo>
                    <a:pt x="1322" y="1413"/>
                    <a:pt x="1320" y="1394"/>
                    <a:pt x="1317" y="1369"/>
                  </a:cubicBezTo>
                  <a:cubicBezTo>
                    <a:pt x="1314" y="1344"/>
                    <a:pt x="1324" y="1313"/>
                    <a:pt x="1317" y="1285"/>
                  </a:cubicBezTo>
                  <a:cubicBezTo>
                    <a:pt x="1310" y="1257"/>
                    <a:pt x="1295" y="1217"/>
                    <a:pt x="1277" y="1201"/>
                  </a:cubicBezTo>
                  <a:cubicBezTo>
                    <a:pt x="1259" y="1185"/>
                    <a:pt x="1222" y="1179"/>
                    <a:pt x="1211" y="1188"/>
                  </a:cubicBezTo>
                  <a:cubicBezTo>
                    <a:pt x="1200" y="1197"/>
                    <a:pt x="1210" y="1235"/>
                    <a:pt x="1214" y="1257"/>
                  </a:cubicBezTo>
                  <a:cubicBezTo>
                    <a:pt x="1218" y="1279"/>
                    <a:pt x="1229" y="1299"/>
                    <a:pt x="1236" y="1318"/>
                  </a:cubicBezTo>
                  <a:cubicBezTo>
                    <a:pt x="1243" y="1337"/>
                    <a:pt x="1250" y="1350"/>
                    <a:pt x="1254" y="1375"/>
                  </a:cubicBezTo>
                  <a:cubicBezTo>
                    <a:pt x="1258" y="1400"/>
                    <a:pt x="1265" y="1451"/>
                    <a:pt x="1263" y="1471"/>
                  </a:cubicBezTo>
                  <a:cubicBezTo>
                    <a:pt x="1261" y="1491"/>
                    <a:pt x="1257" y="1490"/>
                    <a:pt x="1242" y="1495"/>
                  </a:cubicBezTo>
                  <a:cubicBezTo>
                    <a:pt x="1227" y="1500"/>
                    <a:pt x="1193" y="1498"/>
                    <a:pt x="1173" y="1501"/>
                  </a:cubicBezTo>
                  <a:cubicBezTo>
                    <a:pt x="1153" y="1504"/>
                    <a:pt x="1125" y="1503"/>
                    <a:pt x="1124" y="1513"/>
                  </a:cubicBezTo>
                  <a:cubicBezTo>
                    <a:pt x="1123" y="1523"/>
                    <a:pt x="1152" y="1556"/>
                    <a:pt x="1164" y="1564"/>
                  </a:cubicBezTo>
                  <a:cubicBezTo>
                    <a:pt x="1176" y="1572"/>
                    <a:pt x="1165" y="1558"/>
                    <a:pt x="1194" y="1558"/>
                  </a:cubicBezTo>
                  <a:cubicBezTo>
                    <a:pt x="1223" y="1558"/>
                    <a:pt x="1311" y="1560"/>
                    <a:pt x="1341" y="1567"/>
                  </a:cubicBezTo>
                  <a:cubicBezTo>
                    <a:pt x="1371" y="1574"/>
                    <a:pt x="1362" y="1587"/>
                    <a:pt x="1377" y="1603"/>
                  </a:cubicBezTo>
                  <a:cubicBezTo>
                    <a:pt x="1392" y="1619"/>
                    <a:pt x="1418" y="1642"/>
                    <a:pt x="1434" y="1663"/>
                  </a:cubicBezTo>
                  <a:cubicBezTo>
                    <a:pt x="1450" y="1684"/>
                    <a:pt x="1465" y="1717"/>
                    <a:pt x="1476" y="1732"/>
                  </a:cubicBezTo>
                  <a:cubicBezTo>
                    <a:pt x="1487" y="1747"/>
                    <a:pt x="1502" y="1743"/>
                    <a:pt x="1500" y="1756"/>
                  </a:cubicBezTo>
                  <a:cubicBezTo>
                    <a:pt x="1498" y="1769"/>
                    <a:pt x="1476" y="1801"/>
                    <a:pt x="1461" y="1813"/>
                  </a:cubicBezTo>
                  <a:cubicBezTo>
                    <a:pt x="1446" y="1825"/>
                    <a:pt x="1425" y="1824"/>
                    <a:pt x="1410" y="1828"/>
                  </a:cubicBezTo>
                  <a:cubicBezTo>
                    <a:pt x="1395" y="1832"/>
                    <a:pt x="1383" y="1826"/>
                    <a:pt x="1368" y="1837"/>
                  </a:cubicBezTo>
                  <a:cubicBezTo>
                    <a:pt x="1353" y="1848"/>
                    <a:pt x="1339" y="1880"/>
                    <a:pt x="1320" y="1894"/>
                  </a:cubicBezTo>
                  <a:cubicBezTo>
                    <a:pt x="1301" y="1908"/>
                    <a:pt x="1279" y="1922"/>
                    <a:pt x="1251" y="1924"/>
                  </a:cubicBezTo>
                  <a:cubicBezTo>
                    <a:pt x="1223" y="1926"/>
                    <a:pt x="1180" y="1914"/>
                    <a:pt x="1152" y="1903"/>
                  </a:cubicBezTo>
                  <a:cubicBezTo>
                    <a:pt x="1124" y="1892"/>
                    <a:pt x="1116" y="1870"/>
                    <a:pt x="1083" y="1861"/>
                  </a:cubicBezTo>
                  <a:cubicBezTo>
                    <a:pt x="1050" y="1852"/>
                    <a:pt x="998" y="1854"/>
                    <a:pt x="954" y="1852"/>
                  </a:cubicBezTo>
                  <a:cubicBezTo>
                    <a:pt x="910" y="1850"/>
                    <a:pt x="852" y="1852"/>
                    <a:pt x="819" y="1852"/>
                  </a:cubicBezTo>
                  <a:cubicBezTo>
                    <a:pt x="786" y="1852"/>
                    <a:pt x="762" y="1843"/>
                    <a:pt x="753" y="1851"/>
                  </a:cubicBezTo>
                  <a:cubicBezTo>
                    <a:pt x="744" y="1859"/>
                    <a:pt x="756" y="1885"/>
                    <a:pt x="762" y="1903"/>
                  </a:cubicBezTo>
                  <a:cubicBezTo>
                    <a:pt x="768" y="1921"/>
                    <a:pt x="782" y="1945"/>
                    <a:pt x="792" y="1960"/>
                  </a:cubicBezTo>
                  <a:cubicBezTo>
                    <a:pt x="802" y="1975"/>
                    <a:pt x="822" y="1983"/>
                    <a:pt x="825" y="1996"/>
                  </a:cubicBezTo>
                  <a:cubicBezTo>
                    <a:pt x="828" y="2009"/>
                    <a:pt x="870" y="2028"/>
                    <a:pt x="804" y="2044"/>
                  </a:cubicBezTo>
                  <a:close/>
                </a:path>
              </a:pathLst>
            </a:custGeom>
            <a:solidFill>
              <a:srgbClr val="FFFF00"/>
            </a:solidFill>
            <a:ln w="9525" cap="flat" cmpd="sng">
              <a:solidFill>
                <a:srgbClr val="FFFF00"/>
              </a:solidFill>
              <a:prstDash val="solid"/>
              <a:round/>
              <a:headEnd/>
              <a:tailEnd/>
            </a:ln>
          </p:spPr>
          <p:txBody>
            <a:bodyPr lIns="0" tIns="0" rIns="0" bIns="0">
              <a:spAutoFit/>
            </a:bodyPr>
            <a:lstStyle/>
            <a:p>
              <a:endParaRPr lang="de-DE"/>
            </a:p>
          </p:txBody>
        </p:sp>
        <p:sp>
          <p:nvSpPr>
            <p:cNvPr id="80" name="Freeform 1175"/>
            <p:cNvSpPr>
              <a:spLocks/>
            </p:cNvSpPr>
            <p:nvPr/>
          </p:nvSpPr>
          <p:spPr bwMode="auto">
            <a:xfrm>
              <a:off x="1084263" y="4641928"/>
              <a:ext cx="287338" cy="558800"/>
            </a:xfrm>
            <a:custGeom>
              <a:avLst/>
              <a:gdLst>
                <a:gd name="T0" fmla="*/ 2147483647 w 602"/>
                <a:gd name="T1" fmla="*/ 2147483647 h 1047"/>
                <a:gd name="T2" fmla="*/ 2147483647 w 602"/>
                <a:gd name="T3" fmla="*/ 2147483647 h 1047"/>
                <a:gd name="T4" fmla="*/ 2147483647 w 602"/>
                <a:gd name="T5" fmla="*/ 2147483647 h 1047"/>
                <a:gd name="T6" fmla="*/ 2147483647 w 602"/>
                <a:gd name="T7" fmla="*/ 2147483647 h 1047"/>
                <a:gd name="T8" fmla="*/ 2147483647 w 602"/>
                <a:gd name="T9" fmla="*/ 2147483647 h 1047"/>
                <a:gd name="T10" fmla="*/ 2147483647 w 602"/>
                <a:gd name="T11" fmla="*/ 2147483647 h 1047"/>
                <a:gd name="T12" fmla="*/ 2147483647 w 602"/>
                <a:gd name="T13" fmla="*/ 2147483647 h 1047"/>
                <a:gd name="T14" fmla="*/ 2147483647 w 602"/>
                <a:gd name="T15" fmla="*/ 2147483647 h 1047"/>
                <a:gd name="T16" fmla="*/ 2147483647 w 602"/>
                <a:gd name="T17" fmla="*/ 2147483647 h 1047"/>
                <a:gd name="T18" fmla="*/ 2147483647 w 602"/>
                <a:gd name="T19" fmla="*/ 2147483647 h 1047"/>
                <a:gd name="T20" fmla="*/ 2147483647 w 602"/>
                <a:gd name="T21" fmla="*/ 2147483647 h 1047"/>
                <a:gd name="T22" fmla="*/ 2147483647 w 602"/>
                <a:gd name="T23" fmla="*/ 2147483647 h 1047"/>
                <a:gd name="T24" fmla="*/ 2147483647 w 602"/>
                <a:gd name="T25" fmla="*/ 2147483647 h 1047"/>
                <a:gd name="T26" fmla="*/ 2147483647 w 602"/>
                <a:gd name="T27" fmla="*/ 2147483647 h 1047"/>
                <a:gd name="T28" fmla="*/ 2147483647 w 602"/>
                <a:gd name="T29" fmla="*/ 2147483647 h 1047"/>
                <a:gd name="T30" fmla="*/ 2147483647 w 602"/>
                <a:gd name="T31" fmla="*/ 2147483647 h 1047"/>
                <a:gd name="T32" fmla="*/ 2147483647 w 602"/>
                <a:gd name="T33" fmla="*/ 2147483647 h 1047"/>
                <a:gd name="T34" fmla="*/ 2147483647 w 602"/>
                <a:gd name="T35" fmla="*/ 2147483647 h 1047"/>
                <a:gd name="T36" fmla="*/ 2147483647 w 602"/>
                <a:gd name="T37" fmla="*/ 2147483647 h 1047"/>
                <a:gd name="T38" fmla="*/ 2147483647 w 602"/>
                <a:gd name="T39" fmla="*/ 2147483647 h 1047"/>
                <a:gd name="T40" fmla="*/ 2147483647 w 602"/>
                <a:gd name="T41" fmla="*/ 2147483647 h 1047"/>
                <a:gd name="T42" fmla="*/ 2147483647 w 602"/>
                <a:gd name="T43" fmla="*/ 2147483647 h 1047"/>
                <a:gd name="T44" fmla="*/ 2147483647 w 602"/>
                <a:gd name="T45" fmla="*/ 2147483647 h 1047"/>
                <a:gd name="T46" fmla="*/ 2147483647 w 602"/>
                <a:gd name="T47" fmla="*/ 2147483647 h 1047"/>
                <a:gd name="T48" fmla="*/ 2147483647 w 602"/>
                <a:gd name="T49" fmla="*/ 2147483647 h 1047"/>
                <a:gd name="T50" fmla="*/ 2147483647 w 602"/>
                <a:gd name="T51" fmla="*/ 2147483647 h 1047"/>
                <a:gd name="T52" fmla="*/ 2147483647 w 602"/>
                <a:gd name="T53" fmla="*/ 2147483647 h 1047"/>
                <a:gd name="T54" fmla="*/ 2147483647 w 602"/>
                <a:gd name="T55" fmla="*/ 2147483647 h 1047"/>
                <a:gd name="T56" fmla="*/ 2147483647 w 602"/>
                <a:gd name="T57" fmla="*/ 0 h 1047"/>
                <a:gd name="T58" fmla="*/ 2147483647 w 602"/>
                <a:gd name="T59" fmla="*/ 2147483647 h 1047"/>
                <a:gd name="T60" fmla="*/ 2147483647 w 602"/>
                <a:gd name="T61" fmla="*/ 2147483647 h 1047"/>
                <a:gd name="T62" fmla="*/ 2147483647 w 602"/>
                <a:gd name="T63" fmla="*/ 2147483647 h 1047"/>
                <a:gd name="T64" fmla="*/ 2147483647 w 602"/>
                <a:gd name="T65" fmla="*/ 2147483647 h 1047"/>
                <a:gd name="T66" fmla="*/ 2147483647 w 602"/>
                <a:gd name="T67" fmla="*/ 2147483647 h 1047"/>
                <a:gd name="T68" fmla="*/ 2147483647 w 602"/>
                <a:gd name="T69" fmla="*/ 2147483647 h 1047"/>
                <a:gd name="T70" fmla="*/ 2147483647 w 602"/>
                <a:gd name="T71" fmla="*/ 2147483647 h 1047"/>
                <a:gd name="T72" fmla="*/ 2147483647 w 602"/>
                <a:gd name="T73" fmla="*/ 2147483647 h 1047"/>
                <a:gd name="T74" fmla="*/ 2147483647 w 602"/>
                <a:gd name="T75" fmla="*/ 2147483647 h 1047"/>
                <a:gd name="T76" fmla="*/ 2147483647 w 602"/>
                <a:gd name="T77" fmla="*/ 2147483647 h 1047"/>
                <a:gd name="T78" fmla="*/ 2147483647 w 602"/>
                <a:gd name="T79" fmla="*/ 2147483647 h 1047"/>
                <a:gd name="T80" fmla="*/ 2147483647 w 602"/>
                <a:gd name="T81" fmla="*/ 2147483647 h 1047"/>
                <a:gd name="T82" fmla="*/ 2147483647 w 602"/>
                <a:gd name="T83" fmla="*/ 2147483647 h 1047"/>
                <a:gd name="T84" fmla="*/ 2147483647 w 602"/>
                <a:gd name="T85" fmla="*/ 2147483647 h 1047"/>
                <a:gd name="T86" fmla="*/ 2147483647 w 602"/>
                <a:gd name="T87" fmla="*/ 2147483647 h 1047"/>
                <a:gd name="T88" fmla="*/ 2147483647 w 602"/>
                <a:gd name="T89" fmla="*/ 2147483647 h 1047"/>
                <a:gd name="T90" fmla="*/ 2147483647 w 602"/>
                <a:gd name="T91" fmla="*/ 2147483647 h 1047"/>
                <a:gd name="T92" fmla="*/ 2147483647 w 602"/>
                <a:gd name="T93" fmla="*/ 2147483647 h 1047"/>
                <a:gd name="T94" fmla="*/ 2147483647 w 602"/>
                <a:gd name="T95" fmla="*/ 2147483647 h 1047"/>
                <a:gd name="T96" fmla="*/ 2147483647 w 602"/>
                <a:gd name="T97" fmla="*/ 2147483647 h 1047"/>
                <a:gd name="T98" fmla="*/ 2147483647 w 602"/>
                <a:gd name="T99" fmla="*/ 2147483647 h 1047"/>
                <a:gd name="T100" fmla="*/ 2147483647 w 602"/>
                <a:gd name="T101" fmla="*/ 2147483647 h 1047"/>
                <a:gd name="T102" fmla="*/ 2147483647 w 602"/>
                <a:gd name="T103" fmla="*/ 2147483647 h 1047"/>
                <a:gd name="T104" fmla="*/ 2147483647 w 602"/>
                <a:gd name="T105" fmla="*/ 2147483647 h 1047"/>
                <a:gd name="T106" fmla="*/ 2147483647 w 602"/>
                <a:gd name="T107" fmla="*/ 2147483647 h 1047"/>
                <a:gd name="T108" fmla="*/ 2147483647 w 602"/>
                <a:gd name="T109" fmla="*/ 2147483647 h 1047"/>
                <a:gd name="T110" fmla="*/ 2147483647 w 602"/>
                <a:gd name="T111" fmla="*/ 2147483647 h 1047"/>
                <a:gd name="T112" fmla="*/ 2147483647 w 602"/>
                <a:gd name="T113" fmla="*/ 2147483647 h 1047"/>
                <a:gd name="T114" fmla="*/ 2147483647 w 602"/>
                <a:gd name="T115" fmla="*/ 2147483647 h 10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2"/>
                <a:gd name="T175" fmla="*/ 0 h 1047"/>
                <a:gd name="T176" fmla="*/ 602 w 602"/>
                <a:gd name="T177" fmla="*/ 1047 h 10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2" h="1047">
                  <a:moveTo>
                    <a:pt x="413" y="1047"/>
                  </a:moveTo>
                  <a:lnTo>
                    <a:pt x="383" y="983"/>
                  </a:lnTo>
                  <a:cubicBezTo>
                    <a:pt x="373" y="973"/>
                    <a:pt x="363" y="993"/>
                    <a:pt x="350" y="984"/>
                  </a:cubicBezTo>
                  <a:lnTo>
                    <a:pt x="305" y="930"/>
                  </a:lnTo>
                  <a:cubicBezTo>
                    <a:pt x="289" y="908"/>
                    <a:pt x="272" y="868"/>
                    <a:pt x="257" y="849"/>
                  </a:cubicBezTo>
                  <a:lnTo>
                    <a:pt x="212" y="813"/>
                  </a:lnTo>
                  <a:cubicBezTo>
                    <a:pt x="196" y="806"/>
                    <a:pt x="180" y="800"/>
                    <a:pt x="161" y="804"/>
                  </a:cubicBezTo>
                  <a:cubicBezTo>
                    <a:pt x="142" y="808"/>
                    <a:pt x="113" y="840"/>
                    <a:pt x="95" y="840"/>
                  </a:cubicBezTo>
                  <a:cubicBezTo>
                    <a:pt x="77" y="840"/>
                    <a:pt x="61" y="816"/>
                    <a:pt x="53" y="804"/>
                  </a:cubicBezTo>
                  <a:cubicBezTo>
                    <a:pt x="45" y="792"/>
                    <a:pt x="36" y="781"/>
                    <a:pt x="50" y="767"/>
                  </a:cubicBezTo>
                  <a:cubicBezTo>
                    <a:pt x="64" y="753"/>
                    <a:pt x="117" y="732"/>
                    <a:pt x="136" y="717"/>
                  </a:cubicBezTo>
                  <a:cubicBezTo>
                    <a:pt x="155" y="702"/>
                    <a:pt x="160" y="693"/>
                    <a:pt x="167" y="678"/>
                  </a:cubicBezTo>
                  <a:lnTo>
                    <a:pt x="179" y="627"/>
                  </a:lnTo>
                  <a:lnTo>
                    <a:pt x="191" y="590"/>
                  </a:lnTo>
                  <a:cubicBezTo>
                    <a:pt x="201" y="581"/>
                    <a:pt x="231" y="579"/>
                    <a:pt x="242" y="570"/>
                  </a:cubicBezTo>
                  <a:cubicBezTo>
                    <a:pt x="253" y="561"/>
                    <a:pt x="262" y="554"/>
                    <a:pt x="256" y="536"/>
                  </a:cubicBezTo>
                  <a:lnTo>
                    <a:pt x="203" y="459"/>
                  </a:lnTo>
                  <a:lnTo>
                    <a:pt x="158" y="402"/>
                  </a:lnTo>
                  <a:cubicBezTo>
                    <a:pt x="144" y="389"/>
                    <a:pt x="127" y="385"/>
                    <a:pt x="116" y="378"/>
                  </a:cubicBezTo>
                  <a:lnTo>
                    <a:pt x="94" y="362"/>
                  </a:lnTo>
                  <a:cubicBezTo>
                    <a:pt x="86" y="358"/>
                    <a:pt x="68" y="361"/>
                    <a:pt x="65" y="351"/>
                  </a:cubicBezTo>
                  <a:cubicBezTo>
                    <a:pt x="62" y="341"/>
                    <a:pt x="78" y="316"/>
                    <a:pt x="77" y="300"/>
                  </a:cubicBezTo>
                  <a:cubicBezTo>
                    <a:pt x="76" y="284"/>
                    <a:pt x="67" y="268"/>
                    <a:pt x="58" y="255"/>
                  </a:cubicBezTo>
                  <a:lnTo>
                    <a:pt x="20" y="219"/>
                  </a:lnTo>
                  <a:cubicBezTo>
                    <a:pt x="11" y="206"/>
                    <a:pt x="0" y="192"/>
                    <a:pt x="2" y="177"/>
                  </a:cubicBezTo>
                  <a:cubicBezTo>
                    <a:pt x="4" y="162"/>
                    <a:pt x="28" y="148"/>
                    <a:pt x="32" y="129"/>
                  </a:cubicBezTo>
                  <a:cubicBezTo>
                    <a:pt x="36" y="110"/>
                    <a:pt x="23" y="79"/>
                    <a:pt x="26" y="60"/>
                  </a:cubicBezTo>
                  <a:lnTo>
                    <a:pt x="50" y="12"/>
                  </a:lnTo>
                  <a:lnTo>
                    <a:pt x="71" y="0"/>
                  </a:lnTo>
                  <a:lnTo>
                    <a:pt x="131" y="54"/>
                  </a:lnTo>
                  <a:cubicBezTo>
                    <a:pt x="139" y="71"/>
                    <a:pt x="123" y="81"/>
                    <a:pt x="118" y="105"/>
                  </a:cubicBezTo>
                  <a:cubicBezTo>
                    <a:pt x="113" y="129"/>
                    <a:pt x="102" y="176"/>
                    <a:pt x="98" y="201"/>
                  </a:cubicBezTo>
                  <a:cubicBezTo>
                    <a:pt x="94" y="226"/>
                    <a:pt x="86" y="235"/>
                    <a:pt x="92" y="258"/>
                  </a:cubicBezTo>
                  <a:lnTo>
                    <a:pt x="134" y="342"/>
                  </a:lnTo>
                  <a:lnTo>
                    <a:pt x="209" y="396"/>
                  </a:lnTo>
                  <a:lnTo>
                    <a:pt x="293" y="479"/>
                  </a:lnTo>
                  <a:cubicBezTo>
                    <a:pt x="320" y="505"/>
                    <a:pt x="348" y="534"/>
                    <a:pt x="371" y="552"/>
                  </a:cubicBezTo>
                  <a:lnTo>
                    <a:pt x="431" y="588"/>
                  </a:lnTo>
                  <a:cubicBezTo>
                    <a:pt x="449" y="592"/>
                    <a:pt x="461" y="583"/>
                    <a:pt x="479" y="573"/>
                  </a:cubicBezTo>
                  <a:lnTo>
                    <a:pt x="541" y="528"/>
                  </a:lnTo>
                  <a:cubicBezTo>
                    <a:pt x="552" y="519"/>
                    <a:pt x="541" y="521"/>
                    <a:pt x="547" y="518"/>
                  </a:cubicBezTo>
                  <a:cubicBezTo>
                    <a:pt x="553" y="515"/>
                    <a:pt x="570" y="503"/>
                    <a:pt x="578" y="510"/>
                  </a:cubicBezTo>
                  <a:lnTo>
                    <a:pt x="596" y="558"/>
                  </a:lnTo>
                  <a:cubicBezTo>
                    <a:pt x="594" y="567"/>
                    <a:pt x="576" y="559"/>
                    <a:pt x="566" y="563"/>
                  </a:cubicBezTo>
                  <a:cubicBezTo>
                    <a:pt x="556" y="567"/>
                    <a:pt x="545" y="575"/>
                    <a:pt x="536" y="582"/>
                  </a:cubicBezTo>
                  <a:cubicBezTo>
                    <a:pt x="527" y="589"/>
                    <a:pt x="518" y="600"/>
                    <a:pt x="509" y="606"/>
                  </a:cubicBezTo>
                  <a:lnTo>
                    <a:pt x="479" y="618"/>
                  </a:lnTo>
                  <a:cubicBezTo>
                    <a:pt x="475" y="628"/>
                    <a:pt x="485" y="649"/>
                    <a:pt x="485" y="666"/>
                  </a:cubicBezTo>
                  <a:lnTo>
                    <a:pt x="476" y="720"/>
                  </a:lnTo>
                  <a:cubicBezTo>
                    <a:pt x="473" y="734"/>
                    <a:pt x="471" y="739"/>
                    <a:pt x="469" y="749"/>
                  </a:cubicBezTo>
                  <a:lnTo>
                    <a:pt x="461" y="783"/>
                  </a:lnTo>
                  <a:cubicBezTo>
                    <a:pt x="460" y="797"/>
                    <a:pt x="463" y="815"/>
                    <a:pt x="461" y="834"/>
                  </a:cubicBezTo>
                  <a:lnTo>
                    <a:pt x="452" y="897"/>
                  </a:lnTo>
                  <a:cubicBezTo>
                    <a:pt x="452" y="911"/>
                    <a:pt x="452" y="915"/>
                    <a:pt x="458" y="921"/>
                  </a:cubicBezTo>
                  <a:cubicBezTo>
                    <a:pt x="464" y="927"/>
                    <a:pt x="476" y="941"/>
                    <a:pt x="491" y="936"/>
                  </a:cubicBezTo>
                  <a:lnTo>
                    <a:pt x="551" y="891"/>
                  </a:lnTo>
                  <a:lnTo>
                    <a:pt x="602" y="936"/>
                  </a:lnTo>
                  <a:lnTo>
                    <a:pt x="413" y="1047"/>
                  </a:ln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81" name="Freeform 1176"/>
            <p:cNvSpPr>
              <a:spLocks/>
            </p:cNvSpPr>
            <p:nvPr/>
          </p:nvSpPr>
          <p:spPr bwMode="auto">
            <a:xfrm>
              <a:off x="1166813" y="4926091"/>
              <a:ext cx="133350" cy="195263"/>
            </a:xfrm>
            <a:custGeom>
              <a:avLst/>
              <a:gdLst>
                <a:gd name="T0" fmla="*/ 2147483647 w 276"/>
                <a:gd name="T1" fmla="*/ 2147483647 h 365"/>
                <a:gd name="T2" fmla="*/ 2147483647 w 276"/>
                <a:gd name="T3" fmla="*/ 2147483647 h 365"/>
                <a:gd name="T4" fmla="*/ 2147483647 w 276"/>
                <a:gd name="T5" fmla="*/ 2147483647 h 365"/>
                <a:gd name="T6" fmla="*/ 2147483647 w 276"/>
                <a:gd name="T7" fmla="*/ 2147483647 h 365"/>
                <a:gd name="T8" fmla="*/ 2147483647 w 276"/>
                <a:gd name="T9" fmla="*/ 2147483647 h 365"/>
                <a:gd name="T10" fmla="*/ 2147483647 w 276"/>
                <a:gd name="T11" fmla="*/ 2147483647 h 365"/>
                <a:gd name="T12" fmla="*/ 2147483647 w 276"/>
                <a:gd name="T13" fmla="*/ 2147483647 h 365"/>
                <a:gd name="T14" fmla="*/ 2147483647 w 276"/>
                <a:gd name="T15" fmla="*/ 2147483647 h 365"/>
                <a:gd name="T16" fmla="*/ 2147483647 w 276"/>
                <a:gd name="T17" fmla="*/ 2147483647 h 365"/>
                <a:gd name="T18" fmla="*/ 2147483647 w 276"/>
                <a:gd name="T19" fmla="*/ 2147483647 h 365"/>
                <a:gd name="T20" fmla="*/ 2147483647 w 276"/>
                <a:gd name="T21" fmla="*/ 2147483647 h 365"/>
                <a:gd name="T22" fmla="*/ 2147483647 w 276"/>
                <a:gd name="T23" fmla="*/ 2147483647 h 365"/>
                <a:gd name="T24" fmla="*/ 2147483647 w 276"/>
                <a:gd name="T25" fmla="*/ 2147483647 h 365"/>
                <a:gd name="T26" fmla="*/ 2147483647 w 276"/>
                <a:gd name="T27" fmla="*/ 2147483647 h 365"/>
                <a:gd name="T28" fmla="*/ 2147483647 w 276"/>
                <a:gd name="T29" fmla="*/ 2147483647 h 365"/>
                <a:gd name="T30" fmla="*/ 2147483647 w 276"/>
                <a:gd name="T31" fmla="*/ 2147483647 h 365"/>
                <a:gd name="T32" fmla="*/ 2147483647 w 276"/>
                <a:gd name="T33" fmla="*/ 2147483647 h 365"/>
                <a:gd name="T34" fmla="*/ 2147483647 w 276"/>
                <a:gd name="T35" fmla="*/ 2147483647 h 365"/>
                <a:gd name="T36" fmla="*/ 2147483647 w 276"/>
                <a:gd name="T37" fmla="*/ 2147483647 h 365"/>
                <a:gd name="T38" fmla="*/ 2147483647 w 276"/>
                <a:gd name="T39" fmla="*/ 2147483647 h 365"/>
                <a:gd name="T40" fmla="*/ 2147483647 w 276"/>
                <a:gd name="T41" fmla="*/ 2147483647 h 365"/>
                <a:gd name="T42" fmla="*/ 2147483647 w 276"/>
                <a:gd name="T43" fmla="*/ 2147483647 h 365"/>
                <a:gd name="T44" fmla="*/ 2147483647 w 276"/>
                <a:gd name="T45" fmla="*/ 2147483647 h 365"/>
                <a:gd name="T46" fmla="*/ 2147483647 w 276"/>
                <a:gd name="T47" fmla="*/ 2147483647 h 365"/>
                <a:gd name="T48" fmla="*/ 2147483647 w 276"/>
                <a:gd name="T49" fmla="*/ 2147483647 h 365"/>
                <a:gd name="T50" fmla="*/ 2147483647 w 276"/>
                <a:gd name="T51" fmla="*/ 2147483647 h 365"/>
                <a:gd name="T52" fmla="*/ 2147483647 w 276"/>
                <a:gd name="T53" fmla="*/ 2147483647 h 365"/>
                <a:gd name="T54" fmla="*/ 2147483647 w 276"/>
                <a:gd name="T55" fmla="*/ 2147483647 h 365"/>
                <a:gd name="T56" fmla="*/ 2147483647 w 276"/>
                <a:gd name="T57" fmla="*/ 2147483647 h 365"/>
                <a:gd name="T58" fmla="*/ 2147483647 w 276"/>
                <a:gd name="T59" fmla="*/ 2147483647 h 365"/>
                <a:gd name="T60" fmla="*/ 2147483647 w 276"/>
                <a:gd name="T61" fmla="*/ 2147483647 h 365"/>
                <a:gd name="T62" fmla="*/ 2147483647 w 276"/>
                <a:gd name="T63" fmla="*/ 2147483647 h 3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76"/>
                <a:gd name="T97" fmla="*/ 0 h 365"/>
                <a:gd name="T98" fmla="*/ 276 w 276"/>
                <a:gd name="T99" fmla="*/ 365 h 3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76" h="365">
                  <a:moveTo>
                    <a:pt x="171" y="349"/>
                  </a:moveTo>
                  <a:cubicBezTo>
                    <a:pt x="164" y="341"/>
                    <a:pt x="149" y="325"/>
                    <a:pt x="139" y="313"/>
                  </a:cubicBezTo>
                  <a:cubicBezTo>
                    <a:pt x="129" y="301"/>
                    <a:pt x="118" y="285"/>
                    <a:pt x="109" y="274"/>
                  </a:cubicBezTo>
                  <a:cubicBezTo>
                    <a:pt x="100" y="263"/>
                    <a:pt x="92" y="249"/>
                    <a:pt x="84" y="245"/>
                  </a:cubicBezTo>
                  <a:cubicBezTo>
                    <a:pt x="76" y="241"/>
                    <a:pt x="67" y="253"/>
                    <a:pt x="61" y="251"/>
                  </a:cubicBezTo>
                  <a:cubicBezTo>
                    <a:pt x="55" y="249"/>
                    <a:pt x="55" y="236"/>
                    <a:pt x="49" y="232"/>
                  </a:cubicBezTo>
                  <a:cubicBezTo>
                    <a:pt x="43" y="228"/>
                    <a:pt x="30" y="233"/>
                    <a:pt x="22" y="229"/>
                  </a:cubicBezTo>
                  <a:cubicBezTo>
                    <a:pt x="14" y="225"/>
                    <a:pt x="2" y="217"/>
                    <a:pt x="1" y="206"/>
                  </a:cubicBezTo>
                  <a:cubicBezTo>
                    <a:pt x="0" y="195"/>
                    <a:pt x="12" y="174"/>
                    <a:pt x="16" y="161"/>
                  </a:cubicBezTo>
                  <a:cubicBezTo>
                    <a:pt x="20" y="148"/>
                    <a:pt x="26" y="139"/>
                    <a:pt x="28" y="128"/>
                  </a:cubicBezTo>
                  <a:cubicBezTo>
                    <a:pt x="30" y="117"/>
                    <a:pt x="25" y="104"/>
                    <a:pt x="28" y="92"/>
                  </a:cubicBezTo>
                  <a:cubicBezTo>
                    <a:pt x="31" y="80"/>
                    <a:pt x="39" y="63"/>
                    <a:pt x="45" y="56"/>
                  </a:cubicBezTo>
                  <a:cubicBezTo>
                    <a:pt x="51" y="49"/>
                    <a:pt x="60" y="51"/>
                    <a:pt x="67" y="49"/>
                  </a:cubicBezTo>
                  <a:cubicBezTo>
                    <a:pt x="74" y="47"/>
                    <a:pt x="85" y="49"/>
                    <a:pt x="90" y="44"/>
                  </a:cubicBezTo>
                  <a:cubicBezTo>
                    <a:pt x="95" y="39"/>
                    <a:pt x="91" y="26"/>
                    <a:pt x="96" y="19"/>
                  </a:cubicBezTo>
                  <a:cubicBezTo>
                    <a:pt x="101" y="12"/>
                    <a:pt x="112" y="6"/>
                    <a:pt x="121" y="4"/>
                  </a:cubicBezTo>
                  <a:cubicBezTo>
                    <a:pt x="130" y="2"/>
                    <a:pt x="143" y="0"/>
                    <a:pt x="153" y="8"/>
                  </a:cubicBezTo>
                  <a:cubicBezTo>
                    <a:pt x="163" y="16"/>
                    <a:pt x="173" y="41"/>
                    <a:pt x="184" y="50"/>
                  </a:cubicBezTo>
                  <a:cubicBezTo>
                    <a:pt x="195" y="59"/>
                    <a:pt x="206" y="56"/>
                    <a:pt x="220" y="64"/>
                  </a:cubicBezTo>
                  <a:cubicBezTo>
                    <a:pt x="234" y="72"/>
                    <a:pt x="258" y="88"/>
                    <a:pt x="267" y="100"/>
                  </a:cubicBezTo>
                  <a:cubicBezTo>
                    <a:pt x="276" y="112"/>
                    <a:pt x="273" y="119"/>
                    <a:pt x="274" y="134"/>
                  </a:cubicBezTo>
                  <a:cubicBezTo>
                    <a:pt x="275" y="149"/>
                    <a:pt x="273" y="173"/>
                    <a:pt x="271" y="188"/>
                  </a:cubicBezTo>
                  <a:cubicBezTo>
                    <a:pt x="269" y="203"/>
                    <a:pt x="260" y="212"/>
                    <a:pt x="259" y="224"/>
                  </a:cubicBezTo>
                  <a:cubicBezTo>
                    <a:pt x="258" y="236"/>
                    <a:pt x="262" y="253"/>
                    <a:pt x="262" y="263"/>
                  </a:cubicBezTo>
                  <a:cubicBezTo>
                    <a:pt x="262" y="273"/>
                    <a:pt x="264" y="279"/>
                    <a:pt x="262" y="283"/>
                  </a:cubicBezTo>
                  <a:cubicBezTo>
                    <a:pt x="260" y="287"/>
                    <a:pt x="252" y="281"/>
                    <a:pt x="250" y="287"/>
                  </a:cubicBezTo>
                  <a:cubicBezTo>
                    <a:pt x="248" y="293"/>
                    <a:pt x="250" y="310"/>
                    <a:pt x="249" y="319"/>
                  </a:cubicBezTo>
                  <a:cubicBezTo>
                    <a:pt x="248" y="328"/>
                    <a:pt x="248" y="336"/>
                    <a:pt x="244" y="343"/>
                  </a:cubicBezTo>
                  <a:cubicBezTo>
                    <a:pt x="240" y="350"/>
                    <a:pt x="228" y="357"/>
                    <a:pt x="222" y="361"/>
                  </a:cubicBezTo>
                  <a:cubicBezTo>
                    <a:pt x="216" y="365"/>
                    <a:pt x="212" y="365"/>
                    <a:pt x="205" y="365"/>
                  </a:cubicBezTo>
                  <a:cubicBezTo>
                    <a:pt x="198" y="365"/>
                    <a:pt x="188" y="363"/>
                    <a:pt x="181" y="359"/>
                  </a:cubicBezTo>
                  <a:cubicBezTo>
                    <a:pt x="174" y="355"/>
                    <a:pt x="178" y="357"/>
                    <a:pt x="171" y="349"/>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82" name="Freeform 1177"/>
            <p:cNvSpPr>
              <a:spLocks/>
            </p:cNvSpPr>
            <p:nvPr/>
          </p:nvSpPr>
          <p:spPr bwMode="auto">
            <a:xfrm>
              <a:off x="1217613" y="4494291"/>
              <a:ext cx="263525" cy="404813"/>
            </a:xfrm>
            <a:custGeom>
              <a:avLst/>
              <a:gdLst>
                <a:gd name="T0" fmla="*/ 2147483647 w 552"/>
                <a:gd name="T1" fmla="*/ 2147483647 h 756"/>
                <a:gd name="T2" fmla="*/ 2147483647 w 552"/>
                <a:gd name="T3" fmla="*/ 2147483647 h 756"/>
                <a:gd name="T4" fmla="*/ 2147483647 w 552"/>
                <a:gd name="T5" fmla="*/ 2147483647 h 756"/>
                <a:gd name="T6" fmla="*/ 2147483647 w 552"/>
                <a:gd name="T7" fmla="*/ 2147483647 h 756"/>
                <a:gd name="T8" fmla="*/ 2147483647 w 552"/>
                <a:gd name="T9" fmla="*/ 2147483647 h 756"/>
                <a:gd name="T10" fmla="*/ 2147483647 w 552"/>
                <a:gd name="T11" fmla="*/ 2147483647 h 756"/>
                <a:gd name="T12" fmla="*/ 2147483647 w 552"/>
                <a:gd name="T13" fmla="*/ 2147483647 h 756"/>
                <a:gd name="T14" fmla="*/ 2147483647 w 552"/>
                <a:gd name="T15" fmla="*/ 2147483647 h 756"/>
                <a:gd name="T16" fmla="*/ 2147483647 w 552"/>
                <a:gd name="T17" fmla="*/ 2147483647 h 756"/>
                <a:gd name="T18" fmla="*/ 2147483647 w 552"/>
                <a:gd name="T19" fmla="*/ 2147483647 h 756"/>
                <a:gd name="T20" fmla="*/ 2147483647 w 552"/>
                <a:gd name="T21" fmla="*/ 2147483647 h 756"/>
                <a:gd name="T22" fmla="*/ 2147483647 w 552"/>
                <a:gd name="T23" fmla="*/ 2147483647 h 756"/>
                <a:gd name="T24" fmla="*/ 2147483647 w 552"/>
                <a:gd name="T25" fmla="*/ 2147483647 h 756"/>
                <a:gd name="T26" fmla="*/ 2147483647 w 552"/>
                <a:gd name="T27" fmla="*/ 2147483647 h 756"/>
                <a:gd name="T28" fmla="*/ 2147483647 w 552"/>
                <a:gd name="T29" fmla="*/ 2147483647 h 756"/>
                <a:gd name="T30" fmla="*/ 2147483647 w 552"/>
                <a:gd name="T31" fmla="*/ 2147483647 h 756"/>
                <a:gd name="T32" fmla="*/ 2147483647 w 552"/>
                <a:gd name="T33" fmla="*/ 2147483647 h 756"/>
                <a:gd name="T34" fmla="*/ 2147483647 w 552"/>
                <a:gd name="T35" fmla="*/ 2147483647 h 756"/>
                <a:gd name="T36" fmla="*/ 2147483647 w 552"/>
                <a:gd name="T37" fmla="*/ 2147483647 h 756"/>
                <a:gd name="T38" fmla="*/ 2147483647 w 552"/>
                <a:gd name="T39" fmla="*/ 2147483647 h 756"/>
                <a:gd name="T40" fmla="*/ 2147483647 w 552"/>
                <a:gd name="T41" fmla="*/ 2147483647 h 756"/>
                <a:gd name="T42" fmla="*/ 2147483647 w 552"/>
                <a:gd name="T43" fmla="*/ 2147483647 h 756"/>
                <a:gd name="T44" fmla="*/ 2147483647 w 552"/>
                <a:gd name="T45" fmla="*/ 2147483647 h 756"/>
                <a:gd name="T46" fmla="*/ 2147483647 w 552"/>
                <a:gd name="T47" fmla="*/ 2147483647 h 756"/>
                <a:gd name="T48" fmla="*/ 2147483647 w 552"/>
                <a:gd name="T49" fmla="*/ 2147483647 h 756"/>
                <a:gd name="T50" fmla="*/ 2147483647 w 552"/>
                <a:gd name="T51" fmla="*/ 2147483647 h 756"/>
                <a:gd name="T52" fmla="*/ 2147483647 w 552"/>
                <a:gd name="T53" fmla="*/ 2147483647 h 756"/>
                <a:gd name="T54" fmla="*/ 2147483647 w 552"/>
                <a:gd name="T55" fmla="*/ 2147483647 h 756"/>
                <a:gd name="T56" fmla="*/ 2147483647 w 552"/>
                <a:gd name="T57" fmla="*/ 2147483647 h 756"/>
                <a:gd name="T58" fmla="*/ 2147483647 w 552"/>
                <a:gd name="T59" fmla="*/ 2147483647 h 756"/>
                <a:gd name="T60" fmla="*/ 2147483647 w 552"/>
                <a:gd name="T61" fmla="*/ 2147483647 h 756"/>
                <a:gd name="T62" fmla="*/ 2147483647 w 552"/>
                <a:gd name="T63" fmla="*/ 2147483647 h 756"/>
                <a:gd name="T64" fmla="*/ 2147483647 w 552"/>
                <a:gd name="T65" fmla="*/ 2147483647 h 756"/>
                <a:gd name="T66" fmla="*/ 2147483647 w 552"/>
                <a:gd name="T67" fmla="*/ 2147483647 h 756"/>
                <a:gd name="T68" fmla="*/ 2147483647 w 552"/>
                <a:gd name="T69" fmla="*/ 2147483647 h 756"/>
                <a:gd name="T70" fmla="*/ 2147483647 w 552"/>
                <a:gd name="T71" fmla="*/ 2147483647 h 756"/>
                <a:gd name="T72" fmla="*/ 2147483647 w 552"/>
                <a:gd name="T73" fmla="*/ 2147483647 h 7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52"/>
                <a:gd name="T112" fmla="*/ 0 h 756"/>
                <a:gd name="T113" fmla="*/ 552 w 552"/>
                <a:gd name="T114" fmla="*/ 756 h 7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52" h="756">
                  <a:moveTo>
                    <a:pt x="378" y="756"/>
                  </a:moveTo>
                  <a:cubicBezTo>
                    <a:pt x="374" y="756"/>
                    <a:pt x="374" y="736"/>
                    <a:pt x="379" y="726"/>
                  </a:cubicBezTo>
                  <a:cubicBezTo>
                    <a:pt x="384" y="716"/>
                    <a:pt x="397" y="704"/>
                    <a:pt x="406" y="693"/>
                  </a:cubicBezTo>
                  <a:cubicBezTo>
                    <a:pt x="415" y="682"/>
                    <a:pt x="429" y="669"/>
                    <a:pt x="433" y="660"/>
                  </a:cubicBezTo>
                  <a:cubicBezTo>
                    <a:pt x="437" y="651"/>
                    <a:pt x="435" y="645"/>
                    <a:pt x="433" y="639"/>
                  </a:cubicBezTo>
                  <a:cubicBezTo>
                    <a:pt x="431" y="633"/>
                    <a:pt x="424" y="627"/>
                    <a:pt x="420" y="622"/>
                  </a:cubicBezTo>
                  <a:cubicBezTo>
                    <a:pt x="416" y="617"/>
                    <a:pt x="409" y="613"/>
                    <a:pt x="406" y="609"/>
                  </a:cubicBezTo>
                  <a:cubicBezTo>
                    <a:pt x="403" y="605"/>
                    <a:pt x="404" y="598"/>
                    <a:pt x="400" y="597"/>
                  </a:cubicBezTo>
                  <a:cubicBezTo>
                    <a:pt x="396" y="596"/>
                    <a:pt x="386" y="601"/>
                    <a:pt x="382" y="604"/>
                  </a:cubicBezTo>
                  <a:cubicBezTo>
                    <a:pt x="378" y="607"/>
                    <a:pt x="379" y="613"/>
                    <a:pt x="376" y="616"/>
                  </a:cubicBezTo>
                  <a:cubicBezTo>
                    <a:pt x="373" y="619"/>
                    <a:pt x="366" y="625"/>
                    <a:pt x="364" y="624"/>
                  </a:cubicBezTo>
                  <a:cubicBezTo>
                    <a:pt x="362" y="623"/>
                    <a:pt x="364" y="613"/>
                    <a:pt x="366" y="607"/>
                  </a:cubicBezTo>
                  <a:cubicBezTo>
                    <a:pt x="368" y="601"/>
                    <a:pt x="378" y="595"/>
                    <a:pt x="379" y="589"/>
                  </a:cubicBezTo>
                  <a:cubicBezTo>
                    <a:pt x="380" y="583"/>
                    <a:pt x="380" y="584"/>
                    <a:pt x="370" y="570"/>
                  </a:cubicBezTo>
                  <a:cubicBezTo>
                    <a:pt x="360" y="556"/>
                    <a:pt x="335" y="526"/>
                    <a:pt x="319" y="505"/>
                  </a:cubicBezTo>
                  <a:cubicBezTo>
                    <a:pt x="303" y="484"/>
                    <a:pt x="296" y="476"/>
                    <a:pt x="276" y="447"/>
                  </a:cubicBezTo>
                  <a:cubicBezTo>
                    <a:pt x="256" y="418"/>
                    <a:pt x="223" y="365"/>
                    <a:pt x="201" y="333"/>
                  </a:cubicBezTo>
                  <a:cubicBezTo>
                    <a:pt x="179" y="301"/>
                    <a:pt x="161" y="274"/>
                    <a:pt x="144" y="253"/>
                  </a:cubicBezTo>
                  <a:cubicBezTo>
                    <a:pt x="127" y="232"/>
                    <a:pt x="112" y="213"/>
                    <a:pt x="102" y="204"/>
                  </a:cubicBezTo>
                  <a:cubicBezTo>
                    <a:pt x="92" y="195"/>
                    <a:pt x="90" y="196"/>
                    <a:pt x="85" y="196"/>
                  </a:cubicBezTo>
                  <a:cubicBezTo>
                    <a:pt x="80" y="196"/>
                    <a:pt x="74" y="200"/>
                    <a:pt x="69" y="202"/>
                  </a:cubicBezTo>
                  <a:cubicBezTo>
                    <a:pt x="64" y="204"/>
                    <a:pt x="61" y="212"/>
                    <a:pt x="57" y="211"/>
                  </a:cubicBezTo>
                  <a:cubicBezTo>
                    <a:pt x="53" y="210"/>
                    <a:pt x="50" y="207"/>
                    <a:pt x="42" y="198"/>
                  </a:cubicBezTo>
                  <a:cubicBezTo>
                    <a:pt x="34" y="189"/>
                    <a:pt x="17" y="168"/>
                    <a:pt x="10" y="159"/>
                  </a:cubicBezTo>
                  <a:cubicBezTo>
                    <a:pt x="3" y="150"/>
                    <a:pt x="0" y="147"/>
                    <a:pt x="0" y="141"/>
                  </a:cubicBezTo>
                  <a:cubicBezTo>
                    <a:pt x="0" y="135"/>
                    <a:pt x="5" y="128"/>
                    <a:pt x="9" y="123"/>
                  </a:cubicBezTo>
                  <a:cubicBezTo>
                    <a:pt x="13" y="118"/>
                    <a:pt x="17" y="111"/>
                    <a:pt x="22" y="109"/>
                  </a:cubicBezTo>
                  <a:cubicBezTo>
                    <a:pt x="27" y="107"/>
                    <a:pt x="36" y="107"/>
                    <a:pt x="42" y="109"/>
                  </a:cubicBezTo>
                  <a:cubicBezTo>
                    <a:pt x="48" y="111"/>
                    <a:pt x="53" y="114"/>
                    <a:pt x="58" y="121"/>
                  </a:cubicBezTo>
                  <a:cubicBezTo>
                    <a:pt x="63" y="128"/>
                    <a:pt x="65" y="139"/>
                    <a:pt x="73" y="151"/>
                  </a:cubicBezTo>
                  <a:cubicBezTo>
                    <a:pt x="81" y="163"/>
                    <a:pt x="89" y="167"/>
                    <a:pt x="109" y="192"/>
                  </a:cubicBezTo>
                  <a:cubicBezTo>
                    <a:pt x="129" y="217"/>
                    <a:pt x="175" y="276"/>
                    <a:pt x="196" y="303"/>
                  </a:cubicBezTo>
                  <a:cubicBezTo>
                    <a:pt x="217" y="330"/>
                    <a:pt x="223" y="352"/>
                    <a:pt x="237" y="357"/>
                  </a:cubicBezTo>
                  <a:cubicBezTo>
                    <a:pt x="251" y="362"/>
                    <a:pt x="264" y="341"/>
                    <a:pt x="280" y="333"/>
                  </a:cubicBezTo>
                  <a:cubicBezTo>
                    <a:pt x="296" y="325"/>
                    <a:pt x="319" y="315"/>
                    <a:pt x="331" y="309"/>
                  </a:cubicBezTo>
                  <a:cubicBezTo>
                    <a:pt x="343" y="303"/>
                    <a:pt x="345" y="298"/>
                    <a:pt x="351" y="294"/>
                  </a:cubicBezTo>
                  <a:cubicBezTo>
                    <a:pt x="357" y="290"/>
                    <a:pt x="360" y="287"/>
                    <a:pt x="367" y="282"/>
                  </a:cubicBezTo>
                  <a:cubicBezTo>
                    <a:pt x="374" y="277"/>
                    <a:pt x="385" y="268"/>
                    <a:pt x="394" y="262"/>
                  </a:cubicBezTo>
                  <a:cubicBezTo>
                    <a:pt x="403" y="256"/>
                    <a:pt x="408" y="256"/>
                    <a:pt x="420" y="249"/>
                  </a:cubicBezTo>
                  <a:cubicBezTo>
                    <a:pt x="432" y="242"/>
                    <a:pt x="454" y="228"/>
                    <a:pt x="468" y="220"/>
                  </a:cubicBezTo>
                  <a:cubicBezTo>
                    <a:pt x="482" y="212"/>
                    <a:pt x="499" y="204"/>
                    <a:pt x="504" y="198"/>
                  </a:cubicBezTo>
                  <a:cubicBezTo>
                    <a:pt x="509" y="192"/>
                    <a:pt x="501" y="194"/>
                    <a:pt x="495" y="183"/>
                  </a:cubicBezTo>
                  <a:cubicBezTo>
                    <a:pt x="489" y="172"/>
                    <a:pt x="472" y="142"/>
                    <a:pt x="465" y="130"/>
                  </a:cubicBezTo>
                  <a:cubicBezTo>
                    <a:pt x="458" y="118"/>
                    <a:pt x="457" y="120"/>
                    <a:pt x="453" y="112"/>
                  </a:cubicBezTo>
                  <a:cubicBezTo>
                    <a:pt x="449" y="104"/>
                    <a:pt x="446" y="91"/>
                    <a:pt x="439" y="84"/>
                  </a:cubicBezTo>
                  <a:cubicBezTo>
                    <a:pt x="432" y="77"/>
                    <a:pt x="421" y="73"/>
                    <a:pt x="412" y="67"/>
                  </a:cubicBezTo>
                  <a:cubicBezTo>
                    <a:pt x="403" y="61"/>
                    <a:pt x="393" y="56"/>
                    <a:pt x="381" y="48"/>
                  </a:cubicBezTo>
                  <a:cubicBezTo>
                    <a:pt x="369" y="40"/>
                    <a:pt x="350" y="27"/>
                    <a:pt x="342" y="21"/>
                  </a:cubicBezTo>
                  <a:cubicBezTo>
                    <a:pt x="334" y="15"/>
                    <a:pt x="333" y="15"/>
                    <a:pt x="333" y="13"/>
                  </a:cubicBezTo>
                  <a:cubicBezTo>
                    <a:pt x="333" y="11"/>
                    <a:pt x="339" y="7"/>
                    <a:pt x="343" y="7"/>
                  </a:cubicBezTo>
                  <a:cubicBezTo>
                    <a:pt x="347" y="7"/>
                    <a:pt x="334" y="0"/>
                    <a:pt x="357" y="15"/>
                  </a:cubicBezTo>
                  <a:cubicBezTo>
                    <a:pt x="380" y="30"/>
                    <a:pt x="465" y="83"/>
                    <a:pt x="483" y="100"/>
                  </a:cubicBezTo>
                  <a:cubicBezTo>
                    <a:pt x="501" y="117"/>
                    <a:pt x="459" y="107"/>
                    <a:pt x="468" y="117"/>
                  </a:cubicBezTo>
                  <a:cubicBezTo>
                    <a:pt x="477" y="127"/>
                    <a:pt x="528" y="154"/>
                    <a:pt x="540" y="163"/>
                  </a:cubicBezTo>
                  <a:cubicBezTo>
                    <a:pt x="552" y="172"/>
                    <a:pt x="545" y="169"/>
                    <a:pt x="543" y="174"/>
                  </a:cubicBezTo>
                  <a:cubicBezTo>
                    <a:pt x="541" y="179"/>
                    <a:pt x="539" y="187"/>
                    <a:pt x="528" y="196"/>
                  </a:cubicBezTo>
                  <a:cubicBezTo>
                    <a:pt x="517" y="205"/>
                    <a:pt x="492" y="219"/>
                    <a:pt x="477" y="229"/>
                  </a:cubicBezTo>
                  <a:cubicBezTo>
                    <a:pt x="462" y="239"/>
                    <a:pt x="452" y="249"/>
                    <a:pt x="438" y="258"/>
                  </a:cubicBezTo>
                  <a:cubicBezTo>
                    <a:pt x="424" y="267"/>
                    <a:pt x="407" y="275"/>
                    <a:pt x="393" y="283"/>
                  </a:cubicBezTo>
                  <a:cubicBezTo>
                    <a:pt x="379" y="291"/>
                    <a:pt x="367" y="296"/>
                    <a:pt x="352" y="306"/>
                  </a:cubicBezTo>
                  <a:cubicBezTo>
                    <a:pt x="337" y="316"/>
                    <a:pt x="319" y="332"/>
                    <a:pt x="303" y="342"/>
                  </a:cubicBezTo>
                  <a:cubicBezTo>
                    <a:pt x="287" y="352"/>
                    <a:pt x="261" y="361"/>
                    <a:pt x="255" y="369"/>
                  </a:cubicBezTo>
                  <a:cubicBezTo>
                    <a:pt x="249" y="377"/>
                    <a:pt x="257" y="380"/>
                    <a:pt x="264" y="393"/>
                  </a:cubicBezTo>
                  <a:cubicBezTo>
                    <a:pt x="271" y="406"/>
                    <a:pt x="286" y="428"/>
                    <a:pt x="298" y="445"/>
                  </a:cubicBezTo>
                  <a:cubicBezTo>
                    <a:pt x="310" y="462"/>
                    <a:pt x="327" y="486"/>
                    <a:pt x="334" y="496"/>
                  </a:cubicBezTo>
                  <a:cubicBezTo>
                    <a:pt x="341" y="506"/>
                    <a:pt x="332" y="495"/>
                    <a:pt x="340" y="504"/>
                  </a:cubicBezTo>
                  <a:cubicBezTo>
                    <a:pt x="348" y="513"/>
                    <a:pt x="370" y="536"/>
                    <a:pt x="385" y="553"/>
                  </a:cubicBezTo>
                  <a:cubicBezTo>
                    <a:pt x="400" y="570"/>
                    <a:pt x="418" y="594"/>
                    <a:pt x="432" y="607"/>
                  </a:cubicBezTo>
                  <a:cubicBezTo>
                    <a:pt x="446" y="620"/>
                    <a:pt x="464" y="626"/>
                    <a:pt x="469" y="631"/>
                  </a:cubicBezTo>
                  <a:cubicBezTo>
                    <a:pt x="474" y="636"/>
                    <a:pt x="464" y="634"/>
                    <a:pt x="462" y="639"/>
                  </a:cubicBezTo>
                  <a:cubicBezTo>
                    <a:pt x="460" y="644"/>
                    <a:pt x="460" y="654"/>
                    <a:pt x="454" y="663"/>
                  </a:cubicBezTo>
                  <a:cubicBezTo>
                    <a:pt x="448" y="672"/>
                    <a:pt x="434" y="684"/>
                    <a:pt x="426" y="694"/>
                  </a:cubicBezTo>
                  <a:cubicBezTo>
                    <a:pt x="418" y="704"/>
                    <a:pt x="413" y="713"/>
                    <a:pt x="405" y="723"/>
                  </a:cubicBezTo>
                  <a:cubicBezTo>
                    <a:pt x="397" y="733"/>
                    <a:pt x="382" y="756"/>
                    <a:pt x="378" y="756"/>
                  </a:cubicBez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83" name="Freeform 1178"/>
            <p:cNvSpPr>
              <a:spLocks/>
            </p:cNvSpPr>
            <p:nvPr/>
          </p:nvSpPr>
          <p:spPr bwMode="auto">
            <a:xfrm>
              <a:off x="1611313" y="5483303"/>
              <a:ext cx="188913" cy="200025"/>
            </a:xfrm>
            <a:custGeom>
              <a:avLst/>
              <a:gdLst>
                <a:gd name="T0" fmla="*/ 2147483647 w 397"/>
                <a:gd name="T1" fmla="*/ 2147483647 h 373"/>
                <a:gd name="T2" fmla="*/ 2147483647 w 397"/>
                <a:gd name="T3" fmla="*/ 2147483647 h 373"/>
                <a:gd name="T4" fmla="*/ 2147483647 w 397"/>
                <a:gd name="T5" fmla="*/ 2147483647 h 373"/>
                <a:gd name="T6" fmla="*/ 2147483647 w 397"/>
                <a:gd name="T7" fmla="*/ 2147483647 h 373"/>
                <a:gd name="T8" fmla="*/ 2147483647 w 397"/>
                <a:gd name="T9" fmla="*/ 2147483647 h 373"/>
                <a:gd name="T10" fmla="*/ 2147483647 w 397"/>
                <a:gd name="T11" fmla="*/ 2147483647 h 373"/>
                <a:gd name="T12" fmla="*/ 2147483647 w 397"/>
                <a:gd name="T13" fmla="*/ 2147483647 h 373"/>
                <a:gd name="T14" fmla="*/ 2147483647 w 397"/>
                <a:gd name="T15" fmla="*/ 2147483647 h 373"/>
                <a:gd name="T16" fmla="*/ 2147483647 w 397"/>
                <a:gd name="T17" fmla="*/ 2147483647 h 373"/>
                <a:gd name="T18" fmla="*/ 2147483647 w 397"/>
                <a:gd name="T19" fmla="*/ 2147483647 h 373"/>
                <a:gd name="T20" fmla="*/ 2147483647 w 397"/>
                <a:gd name="T21" fmla="*/ 2147483647 h 373"/>
                <a:gd name="T22" fmla="*/ 2147483647 w 397"/>
                <a:gd name="T23" fmla="*/ 2147483647 h 373"/>
                <a:gd name="T24" fmla="*/ 2147483647 w 397"/>
                <a:gd name="T25" fmla="*/ 2147483647 h 373"/>
                <a:gd name="T26" fmla="*/ 2147483647 w 397"/>
                <a:gd name="T27" fmla="*/ 2147483647 h 373"/>
                <a:gd name="T28" fmla="*/ 2147483647 w 397"/>
                <a:gd name="T29" fmla="*/ 2147483647 h 373"/>
                <a:gd name="T30" fmla="*/ 2147483647 w 397"/>
                <a:gd name="T31" fmla="*/ 2147483647 h 373"/>
                <a:gd name="T32" fmla="*/ 2147483647 w 397"/>
                <a:gd name="T33" fmla="*/ 2147483647 h 373"/>
                <a:gd name="T34" fmla="*/ 2147483647 w 397"/>
                <a:gd name="T35" fmla="*/ 2147483647 h 373"/>
                <a:gd name="T36" fmla="*/ 2147483647 w 397"/>
                <a:gd name="T37" fmla="*/ 2147483647 h 373"/>
                <a:gd name="T38" fmla="*/ 2147483647 w 397"/>
                <a:gd name="T39" fmla="*/ 2147483647 h 373"/>
                <a:gd name="T40" fmla="*/ 2147483647 w 397"/>
                <a:gd name="T41" fmla="*/ 2147483647 h 3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7"/>
                <a:gd name="T64" fmla="*/ 0 h 373"/>
                <a:gd name="T65" fmla="*/ 397 w 397"/>
                <a:gd name="T66" fmla="*/ 373 h 3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7" h="373">
                  <a:moveTo>
                    <a:pt x="211" y="368"/>
                  </a:moveTo>
                  <a:cubicBezTo>
                    <a:pt x="197" y="363"/>
                    <a:pt x="183" y="356"/>
                    <a:pt x="160" y="335"/>
                  </a:cubicBezTo>
                  <a:cubicBezTo>
                    <a:pt x="137" y="314"/>
                    <a:pt x="96" y="264"/>
                    <a:pt x="76" y="240"/>
                  </a:cubicBezTo>
                  <a:cubicBezTo>
                    <a:pt x="56" y="216"/>
                    <a:pt x="51" y="205"/>
                    <a:pt x="40" y="192"/>
                  </a:cubicBezTo>
                  <a:cubicBezTo>
                    <a:pt x="29" y="179"/>
                    <a:pt x="16" y="171"/>
                    <a:pt x="10" y="162"/>
                  </a:cubicBezTo>
                  <a:cubicBezTo>
                    <a:pt x="4" y="153"/>
                    <a:pt x="1" y="148"/>
                    <a:pt x="1" y="138"/>
                  </a:cubicBezTo>
                  <a:cubicBezTo>
                    <a:pt x="1" y="128"/>
                    <a:pt x="0" y="114"/>
                    <a:pt x="9" y="102"/>
                  </a:cubicBezTo>
                  <a:cubicBezTo>
                    <a:pt x="18" y="90"/>
                    <a:pt x="36" y="80"/>
                    <a:pt x="57" y="68"/>
                  </a:cubicBezTo>
                  <a:cubicBezTo>
                    <a:pt x="78" y="56"/>
                    <a:pt x="110" y="39"/>
                    <a:pt x="133" y="29"/>
                  </a:cubicBezTo>
                  <a:cubicBezTo>
                    <a:pt x="156" y="19"/>
                    <a:pt x="176" y="9"/>
                    <a:pt x="196" y="5"/>
                  </a:cubicBezTo>
                  <a:cubicBezTo>
                    <a:pt x="216" y="1"/>
                    <a:pt x="235" y="0"/>
                    <a:pt x="252" y="5"/>
                  </a:cubicBezTo>
                  <a:cubicBezTo>
                    <a:pt x="269" y="10"/>
                    <a:pt x="285" y="20"/>
                    <a:pt x="298" y="33"/>
                  </a:cubicBezTo>
                  <a:cubicBezTo>
                    <a:pt x="311" y="46"/>
                    <a:pt x="319" y="67"/>
                    <a:pt x="328" y="81"/>
                  </a:cubicBezTo>
                  <a:cubicBezTo>
                    <a:pt x="337" y="95"/>
                    <a:pt x="344" y="105"/>
                    <a:pt x="354" y="119"/>
                  </a:cubicBezTo>
                  <a:cubicBezTo>
                    <a:pt x="364" y="133"/>
                    <a:pt x="382" y="155"/>
                    <a:pt x="388" y="168"/>
                  </a:cubicBezTo>
                  <a:cubicBezTo>
                    <a:pt x="394" y="181"/>
                    <a:pt x="397" y="184"/>
                    <a:pt x="393" y="197"/>
                  </a:cubicBezTo>
                  <a:cubicBezTo>
                    <a:pt x="389" y="210"/>
                    <a:pt x="374" y="228"/>
                    <a:pt x="361" y="245"/>
                  </a:cubicBezTo>
                  <a:cubicBezTo>
                    <a:pt x="348" y="262"/>
                    <a:pt x="325" y="287"/>
                    <a:pt x="312" y="300"/>
                  </a:cubicBezTo>
                  <a:cubicBezTo>
                    <a:pt x="299" y="313"/>
                    <a:pt x="293" y="316"/>
                    <a:pt x="282" y="326"/>
                  </a:cubicBezTo>
                  <a:cubicBezTo>
                    <a:pt x="271" y="336"/>
                    <a:pt x="256" y="355"/>
                    <a:pt x="244" y="362"/>
                  </a:cubicBezTo>
                  <a:cubicBezTo>
                    <a:pt x="232" y="369"/>
                    <a:pt x="225" y="373"/>
                    <a:pt x="211" y="368"/>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84" name="Freeform 1179"/>
            <p:cNvSpPr>
              <a:spLocks/>
            </p:cNvSpPr>
            <p:nvPr/>
          </p:nvSpPr>
          <p:spPr bwMode="auto">
            <a:xfrm>
              <a:off x="1663700" y="5519816"/>
              <a:ext cx="119063" cy="119063"/>
            </a:xfrm>
            <a:custGeom>
              <a:avLst/>
              <a:gdLst>
                <a:gd name="T0" fmla="*/ 2147483647 w 247"/>
                <a:gd name="T1" fmla="*/ 2147483647 h 224"/>
                <a:gd name="T2" fmla="*/ 2147483647 w 247"/>
                <a:gd name="T3" fmla="*/ 2147483647 h 224"/>
                <a:gd name="T4" fmla="*/ 2147483647 w 247"/>
                <a:gd name="T5" fmla="*/ 2147483647 h 224"/>
                <a:gd name="T6" fmla="*/ 0 w 247"/>
                <a:gd name="T7" fmla="*/ 2147483647 h 224"/>
                <a:gd name="T8" fmla="*/ 2147483647 w 247"/>
                <a:gd name="T9" fmla="*/ 2147483647 h 224"/>
                <a:gd name="T10" fmla="*/ 2147483647 w 247"/>
                <a:gd name="T11" fmla="*/ 2147483647 h 224"/>
                <a:gd name="T12" fmla="*/ 2147483647 w 247"/>
                <a:gd name="T13" fmla="*/ 2147483647 h 224"/>
                <a:gd name="T14" fmla="*/ 2147483647 w 247"/>
                <a:gd name="T15" fmla="*/ 2147483647 h 224"/>
                <a:gd name="T16" fmla="*/ 2147483647 w 247"/>
                <a:gd name="T17" fmla="*/ 2147483647 h 224"/>
                <a:gd name="T18" fmla="*/ 2147483647 w 247"/>
                <a:gd name="T19" fmla="*/ 2147483647 h 224"/>
                <a:gd name="T20" fmla="*/ 2147483647 w 247"/>
                <a:gd name="T21" fmla="*/ 2147483647 h 224"/>
                <a:gd name="T22" fmla="*/ 2147483647 w 247"/>
                <a:gd name="T23" fmla="*/ 2147483647 h 224"/>
                <a:gd name="T24" fmla="*/ 2147483647 w 247"/>
                <a:gd name="T25" fmla="*/ 2147483647 h 224"/>
                <a:gd name="T26" fmla="*/ 2147483647 w 247"/>
                <a:gd name="T27" fmla="*/ 2147483647 h 2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7"/>
                <a:gd name="T43" fmla="*/ 0 h 224"/>
                <a:gd name="T44" fmla="*/ 247 w 247"/>
                <a:gd name="T45" fmla="*/ 224 h 2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7" h="224">
                  <a:moveTo>
                    <a:pt x="134" y="218"/>
                  </a:moveTo>
                  <a:cubicBezTo>
                    <a:pt x="120" y="212"/>
                    <a:pt x="97" y="188"/>
                    <a:pt x="78" y="167"/>
                  </a:cubicBezTo>
                  <a:cubicBezTo>
                    <a:pt x="59" y="146"/>
                    <a:pt x="31" y="112"/>
                    <a:pt x="18" y="95"/>
                  </a:cubicBezTo>
                  <a:cubicBezTo>
                    <a:pt x="5" y="78"/>
                    <a:pt x="0" y="75"/>
                    <a:pt x="0" y="67"/>
                  </a:cubicBezTo>
                  <a:cubicBezTo>
                    <a:pt x="0" y="59"/>
                    <a:pt x="3" y="55"/>
                    <a:pt x="17" y="46"/>
                  </a:cubicBezTo>
                  <a:cubicBezTo>
                    <a:pt x="31" y="37"/>
                    <a:pt x="67" y="17"/>
                    <a:pt x="87" y="10"/>
                  </a:cubicBezTo>
                  <a:cubicBezTo>
                    <a:pt x="107" y="3"/>
                    <a:pt x="123" y="0"/>
                    <a:pt x="138" y="4"/>
                  </a:cubicBezTo>
                  <a:cubicBezTo>
                    <a:pt x="153" y="8"/>
                    <a:pt x="164" y="22"/>
                    <a:pt x="176" y="34"/>
                  </a:cubicBezTo>
                  <a:cubicBezTo>
                    <a:pt x="188" y="46"/>
                    <a:pt x="203" y="67"/>
                    <a:pt x="213" y="79"/>
                  </a:cubicBezTo>
                  <a:cubicBezTo>
                    <a:pt x="223" y="91"/>
                    <a:pt x="231" y="98"/>
                    <a:pt x="236" y="106"/>
                  </a:cubicBezTo>
                  <a:cubicBezTo>
                    <a:pt x="241" y="114"/>
                    <a:pt x="247" y="117"/>
                    <a:pt x="243" y="125"/>
                  </a:cubicBezTo>
                  <a:cubicBezTo>
                    <a:pt x="239" y="133"/>
                    <a:pt x="226" y="144"/>
                    <a:pt x="213" y="157"/>
                  </a:cubicBezTo>
                  <a:cubicBezTo>
                    <a:pt x="200" y="170"/>
                    <a:pt x="178" y="193"/>
                    <a:pt x="165" y="203"/>
                  </a:cubicBezTo>
                  <a:cubicBezTo>
                    <a:pt x="152" y="213"/>
                    <a:pt x="148" y="224"/>
                    <a:pt x="134" y="218"/>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85" name="Freeform 1180"/>
            <p:cNvSpPr>
              <a:spLocks/>
            </p:cNvSpPr>
            <p:nvPr/>
          </p:nvSpPr>
          <p:spPr bwMode="auto">
            <a:xfrm>
              <a:off x="1652588" y="4237116"/>
              <a:ext cx="112713" cy="88900"/>
            </a:xfrm>
            <a:custGeom>
              <a:avLst/>
              <a:gdLst>
                <a:gd name="T0" fmla="*/ 2147483647 w 237"/>
                <a:gd name="T1" fmla="*/ 2147483647 h 166"/>
                <a:gd name="T2" fmla="*/ 2147483647 w 237"/>
                <a:gd name="T3" fmla="*/ 2147483647 h 166"/>
                <a:gd name="T4" fmla="*/ 0 w 237"/>
                <a:gd name="T5" fmla="*/ 2147483647 h 166"/>
                <a:gd name="T6" fmla="*/ 2147483647 w 237"/>
                <a:gd name="T7" fmla="*/ 2147483647 h 166"/>
                <a:gd name="T8" fmla="*/ 2147483647 w 237"/>
                <a:gd name="T9" fmla="*/ 0 h 166"/>
                <a:gd name="T10" fmla="*/ 2147483647 w 237"/>
                <a:gd name="T11" fmla="*/ 2147483647 h 166"/>
                <a:gd name="T12" fmla="*/ 0 60000 65536"/>
                <a:gd name="T13" fmla="*/ 0 60000 65536"/>
                <a:gd name="T14" fmla="*/ 0 60000 65536"/>
                <a:gd name="T15" fmla="*/ 0 60000 65536"/>
                <a:gd name="T16" fmla="*/ 0 60000 65536"/>
                <a:gd name="T17" fmla="*/ 0 60000 65536"/>
                <a:gd name="T18" fmla="*/ 0 w 237"/>
                <a:gd name="T19" fmla="*/ 0 h 166"/>
                <a:gd name="T20" fmla="*/ 237 w 237"/>
                <a:gd name="T21" fmla="*/ 166 h 166"/>
              </a:gdLst>
              <a:ahLst/>
              <a:cxnLst>
                <a:cxn ang="T12">
                  <a:pos x="T0" y="T1"/>
                </a:cxn>
                <a:cxn ang="T13">
                  <a:pos x="T2" y="T3"/>
                </a:cxn>
                <a:cxn ang="T14">
                  <a:pos x="T4" y="T5"/>
                </a:cxn>
                <a:cxn ang="T15">
                  <a:pos x="T6" y="T7"/>
                </a:cxn>
                <a:cxn ang="T16">
                  <a:pos x="T8" y="T9"/>
                </a:cxn>
                <a:cxn ang="T17">
                  <a:pos x="T10" y="T11"/>
                </a:cxn>
              </a:cxnLst>
              <a:rect l="T18" t="T19" r="T20" b="T21"/>
              <a:pathLst>
                <a:path w="237" h="166">
                  <a:moveTo>
                    <a:pt x="237" y="45"/>
                  </a:moveTo>
                  <a:lnTo>
                    <a:pt x="123" y="166"/>
                  </a:lnTo>
                  <a:lnTo>
                    <a:pt x="0" y="144"/>
                  </a:lnTo>
                  <a:lnTo>
                    <a:pt x="63" y="54"/>
                  </a:lnTo>
                  <a:lnTo>
                    <a:pt x="172" y="0"/>
                  </a:lnTo>
                  <a:lnTo>
                    <a:pt x="237" y="4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86" name="Freeform 1181"/>
            <p:cNvSpPr>
              <a:spLocks/>
            </p:cNvSpPr>
            <p:nvPr/>
          </p:nvSpPr>
          <p:spPr bwMode="auto">
            <a:xfrm>
              <a:off x="1827213" y="4243466"/>
              <a:ext cx="136525" cy="176213"/>
            </a:xfrm>
            <a:custGeom>
              <a:avLst/>
              <a:gdLst>
                <a:gd name="T0" fmla="*/ 2147483647 w 285"/>
                <a:gd name="T1" fmla="*/ 2147483647 h 329"/>
                <a:gd name="T2" fmla="*/ 2147483647 w 285"/>
                <a:gd name="T3" fmla="*/ 2147483647 h 329"/>
                <a:gd name="T4" fmla="*/ 2147483647 w 285"/>
                <a:gd name="T5" fmla="*/ 2147483647 h 329"/>
                <a:gd name="T6" fmla="*/ 0 w 285"/>
                <a:gd name="T7" fmla="*/ 2147483647 h 329"/>
                <a:gd name="T8" fmla="*/ 2147483647 w 285"/>
                <a:gd name="T9" fmla="*/ 2147483647 h 329"/>
                <a:gd name="T10" fmla="*/ 2147483647 w 285"/>
                <a:gd name="T11" fmla="*/ 2147483647 h 329"/>
                <a:gd name="T12" fmla="*/ 2147483647 w 285"/>
                <a:gd name="T13" fmla="*/ 0 h 329"/>
                <a:gd name="T14" fmla="*/ 2147483647 w 285"/>
                <a:gd name="T15" fmla="*/ 2147483647 h 329"/>
                <a:gd name="T16" fmla="*/ 2147483647 w 285"/>
                <a:gd name="T17" fmla="*/ 2147483647 h 329"/>
                <a:gd name="T18" fmla="*/ 2147483647 w 285"/>
                <a:gd name="T19" fmla="*/ 2147483647 h 329"/>
                <a:gd name="T20" fmla="*/ 2147483647 w 285"/>
                <a:gd name="T21" fmla="*/ 2147483647 h 3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329"/>
                <a:gd name="T35" fmla="*/ 285 w 285"/>
                <a:gd name="T36" fmla="*/ 329 h 3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329">
                  <a:moveTo>
                    <a:pt x="285" y="173"/>
                  </a:moveTo>
                  <a:lnTo>
                    <a:pt x="276" y="278"/>
                  </a:lnTo>
                  <a:lnTo>
                    <a:pt x="222" y="329"/>
                  </a:lnTo>
                  <a:lnTo>
                    <a:pt x="0" y="294"/>
                  </a:lnTo>
                  <a:lnTo>
                    <a:pt x="42" y="107"/>
                  </a:lnTo>
                  <a:lnTo>
                    <a:pt x="13" y="36"/>
                  </a:lnTo>
                  <a:lnTo>
                    <a:pt x="205" y="0"/>
                  </a:lnTo>
                  <a:lnTo>
                    <a:pt x="213" y="38"/>
                  </a:lnTo>
                  <a:lnTo>
                    <a:pt x="244" y="71"/>
                  </a:lnTo>
                  <a:lnTo>
                    <a:pt x="241" y="138"/>
                  </a:lnTo>
                  <a:lnTo>
                    <a:pt x="285" y="173"/>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87" name="Freeform 1182"/>
            <p:cNvSpPr>
              <a:spLocks/>
            </p:cNvSpPr>
            <p:nvPr/>
          </p:nvSpPr>
          <p:spPr bwMode="auto">
            <a:xfrm>
              <a:off x="2112963" y="4511753"/>
              <a:ext cx="30163" cy="34925"/>
            </a:xfrm>
            <a:custGeom>
              <a:avLst/>
              <a:gdLst>
                <a:gd name="T0" fmla="*/ 2147483647 w 65"/>
                <a:gd name="T1" fmla="*/ 2147483647 h 65"/>
                <a:gd name="T2" fmla="*/ 2147483647 w 65"/>
                <a:gd name="T3" fmla="*/ 2147483647 h 65"/>
                <a:gd name="T4" fmla="*/ 0 w 65"/>
                <a:gd name="T5" fmla="*/ 2147483647 h 65"/>
                <a:gd name="T6" fmla="*/ 2147483647 w 65"/>
                <a:gd name="T7" fmla="*/ 2147483647 h 65"/>
                <a:gd name="T8" fmla="*/ 2147483647 w 65"/>
                <a:gd name="T9" fmla="*/ 0 h 65"/>
                <a:gd name="T10" fmla="*/ 2147483647 w 65"/>
                <a:gd name="T11" fmla="*/ 2147483647 h 65"/>
                <a:gd name="T12" fmla="*/ 0 60000 65536"/>
                <a:gd name="T13" fmla="*/ 0 60000 65536"/>
                <a:gd name="T14" fmla="*/ 0 60000 65536"/>
                <a:gd name="T15" fmla="*/ 0 60000 65536"/>
                <a:gd name="T16" fmla="*/ 0 60000 65536"/>
                <a:gd name="T17" fmla="*/ 0 60000 65536"/>
                <a:gd name="T18" fmla="*/ 0 w 65"/>
                <a:gd name="T19" fmla="*/ 0 h 65"/>
                <a:gd name="T20" fmla="*/ 65 w 6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65" h="65">
                  <a:moveTo>
                    <a:pt x="65" y="29"/>
                  </a:moveTo>
                  <a:lnTo>
                    <a:pt x="24" y="65"/>
                  </a:lnTo>
                  <a:lnTo>
                    <a:pt x="0" y="33"/>
                  </a:lnTo>
                  <a:lnTo>
                    <a:pt x="9" y="8"/>
                  </a:lnTo>
                  <a:lnTo>
                    <a:pt x="30" y="0"/>
                  </a:lnTo>
                  <a:lnTo>
                    <a:pt x="65" y="29"/>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88" name="Freeform 1183"/>
            <p:cNvSpPr>
              <a:spLocks/>
            </p:cNvSpPr>
            <p:nvPr/>
          </p:nvSpPr>
          <p:spPr bwMode="auto">
            <a:xfrm>
              <a:off x="2382838" y="5018166"/>
              <a:ext cx="42863" cy="38100"/>
            </a:xfrm>
            <a:custGeom>
              <a:avLst/>
              <a:gdLst>
                <a:gd name="T0" fmla="*/ 2147483647 w 90"/>
                <a:gd name="T1" fmla="*/ 2147483647 h 69"/>
                <a:gd name="T2" fmla="*/ 2147483647 w 90"/>
                <a:gd name="T3" fmla="*/ 2147483647 h 69"/>
                <a:gd name="T4" fmla="*/ 0 w 90"/>
                <a:gd name="T5" fmla="*/ 2147483647 h 69"/>
                <a:gd name="T6" fmla="*/ 2147483647 w 90"/>
                <a:gd name="T7" fmla="*/ 0 h 69"/>
                <a:gd name="T8" fmla="*/ 2147483647 w 90"/>
                <a:gd name="T9" fmla="*/ 2147483647 h 69"/>
                <a:gd name="T10" fmla="*/ 0 60000 65536"/>
                <a:gd name="T11" fmla="*/ 0 60000 65536"/>
                <a:gd name="T12" fmla="*/ 0 60000 65536"/>
                <a:gd name="T13" fmla="*/ 0 60000 65536"/>
                <a:gd name="T14" fmla="*/ 0 60000 65536"/>
                <a:gd name="T15" fmla="*/ 0 w 90"/>
                <a:gd name="T16" fmla="*/ 0 h 69"/>
                <a:gd name="T17" fmla="*/ 90 w 90"/>
                <a:gd name="T18" fmla="*/ 69 h 69"/>
              </a:gdLst>
              <a:ahLst/>
              <a:cxnLst>
                <a:cxn ang="T10">
                  <a:pos x="T0" y="T1"/>
                </a:cxn>
                <a:cxn ang="T11">
                  <a:pos x="T2" y="T3"/>
                </a:cxn>
                <a:cxn ang="T12">
                  <a:pos x="T4" y="T5"/>
                </a:cxn>
                <a:cxn ang="T13">
                  <a:pos x="T6" y="T7"/>
                </a:cxn>
                <a:cxn ang="T14">
                  <a:pos x="T8" y="T9"/>
                </a:cxn>
              </a:cxnLst>
              <a:rect l="T15" t="T16" r="T17" b="T18"/>
              <a:pathLst>
                <a:path w="90" h="69">
                  <a:moveTo>
                    <a:pt x="90" y="37"/>
                  </a:moveTo>
                  <a:lnTo>
                    <a:pt x="49" y="69"/>
                  </a:lnTo>
                  <a:lnTo>
                    <a:pt x="0" y="52"/>
                  </a:lnTo>
                  <a:lnTo>
                    <a:pt x="57" y="0"/>
                  </a:lnTo>
                  <a:lnTo>
                    <a:pt x="90" y="37"/>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89" name="Freeform 1185"/>
            <p:cNvSpPr>
              <a:spLocks/>
            </p:cNvSpPr>
            <p:nvPr/>
          </p:nvSpPr>
          <p:spPr bwMode="auto">
            <a:xfrm>
              <a:off x="1876425" y="5048328"/>
              <a:ext cx="241300" cy="244475"/>
            </a:xfrm>
            <a:custGeom>
              <a:avLst/>
              <a:gdLst>
                <a:gd name="T0" fmla="*/ 2147483647 w 503"/>
                <a:gd name="T1" fmla="*/ 2147483647 h 457"/>
                <a:gd name="T2" fmla="*/ 2147483647 w 503"/>
                <a:gd name="T3" fmla="*/ 2147483647 h 457"/>
                <a:gd name="T4" fmla="*/ 2147483647 w 503"/>
                <a:gd name="T5" fmla="*/ 2147483647 h 457"/>
                <a:gd name="T6" fmla="*/ 2147483647 w 503"/>
                <a:gd name="T7" fmla="*/ 2147483647 h 457"/>
                <a:gd name="T8" fmla="*/ 2147483647 w 503"/>
                <a:gd name="T9" fmla="*/ 2147483647 h 457"/>
                <a:gd name="T10" fmla="*/ 0 w 503"/>
                <a:gd name="T11" fmla="*/ 2147483647 h 457"/>
                <a:gd name="T12" fmla="*/ 2147483647 w 503"/>
                <a:gd name="T13" fmla="*/ 2147483647 h 457"/>
                <a:gd name="T14" fmla="*/ 2147483647 w 503"/>
                <a:gd name="T15" fmla="*/ 2147483647 h 457"/>
                <a:gd name="T16" fmla="*/ 2147483647 w 503"/>
                <a:gd name="T17" fmla="*/ 2147483647 h 457"/>
                <a:gd name="T18" fmla="*/ 2147483647 w 503"/>
                <a:gd name="T19" fmla="*/ 2147483647 h 457"/>
                <a:gd name="T20" fmla="*/ 2147483647 w 503"/>
                <a:gd name="T21" fmla="*/ 2147483647 h 457"/>
                <a:gd name="T22" fmla="*/ 2147483647 w 503"/>
                <a:gd name="T23" fmla="*/ 2147483647 h 457"/>
                <a:gd name="T24" fmla="*/ 2147483647 w 503"/>
                <a:gd name="T25" fmla="*/ 2147483647 h 457"/>
                <a:gd name="T26" fmla="*/ 2147483647 w 503"/>
                <a:gd name="T27" fmla="*/ 2147483647 h 457"/>
                <a:gd name="T28" fmla="*/ 2147483647 w 503"/>
                <a:gd name="T29" fmla="*/ 2147483647 h 457"/>
                <a:gd name="T30" fmla="*/ 2147483647 w 503"/>
                <a:gd name="T31" fmla="*/ 2147483647 h 457"/>
                <a:gd name="T32" fmla="*/ 2147483647 w 503"/>
                <a:gd name="T33" fmla="*/ 2147483647 h 457"/>
                <a:gd name="T34" fmla="*/ 2147483647 w 503"/>
                <a:gd name="T35" fmla="*/ 2147483647 h 457"/>
                <a:gd name="T36" fmla="*/ 2147483647 w 503"/>
                <a:gd name="T37" fmla="*/ 0 h 457"/>
                <a:gd name="T38" fmla="*/ 2147483647 w 503"/>
                <a:gd name="T39" fmla="*/ 2147483647 h 457"/>
                <a:gd name="T40" fmla="*/ 2147483647 w 503"/>
                <a:gd name="T41" fmla="*/ 2147483647 h 457"/>
                <a:gd name="T42" fmla="*/ 2147483647 w 503"/>
                <a:gd name="T43" fmla="*/ 2147483647 h 457"/>
                <a:gd name="T44" fmla="*/ 2147483647 w 503"/>
                <a:gd name="T45" fmla="*/ 2147483647 h 457"/>
                <a:gd name="T46" fmla="*/ 2147483647 w 503"/>
                <a:gd name="T47" fmla="*/ 2147483647 h 457"/>
                <a:gd name="T48" fmla="*/ 2147483647 w 503"/>
                <a:gd name="T49" fmla="*/ 2147483647 h 457"/>
                <a:gd name="T50" fmla="*/ 2147483647 w 503"/>
                <a:gd name="T51" fmla="*/ 2147483647 h 457"/>
                <a:gd name="T52" fmla="*/ 2147483647 w 503"/>
                <a:gd name="T53" fmla="*/ 2147483647 h 457"/>
                <a:gd name="T54" fmla="*/ 2147483647 w 503"/>
                <a:gd name="T55" fmla="*/ 2147483647 h 457"/>
                <a:gd name="T56" fmla="*/ 2147483647 w 503"/>
                <a:gd name="T57" fmla="*/ 2147483647 h 457"/>
                <a:gd name="T58" fmla="*/ 2147483647 w 503"/>
                <a:gd name="T59" fmla="*/ 2147483647 h 457"/>
                <a:gd name="T60" fmla="*/ 2147483647 w 503"/>
                <a:gd name="T61" fmla="*/ 2147483647 h 457"/>
                <a:gd name="T62" fmla="*/ 2147483647 w 503"/>
                <a:gd name="T63" fmla="*/ 2147483647 h 457"/>
                <a:gd name="T64" fmla="*/ 2147483647 w 503"/>
                <a:gd name="T65" fmla="*/ 2147483647 h 457"/>
                <a:gd name="T66" fmla="*/ 2147483647 w 503"/>
                <a:gd name="T67" fmla="*/ 2147483647 h 45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3"/>
                <a:gd name="T103" fmla="*/ 0 h 457"/>
                <a:gd name="T104" fmla="*/ 503 w 503"/>
                <a:gd name="T105" fmla="*/ 457 h 45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3" h="457">
                  <a:moveTo>
                    <a:pt x="288" y="357"/>
                  </a:moveTo>
                  <a:lnTo>
                    <a:pt x="239" y="393"/>
                  </a:lnTo>
                  <a:lnTo>
                    <a:pt x="161" y="420"/>
                  </a:lnTo>
                  <a:lnTo>
                    <a:pt x="125" y="423"/>
                  </a:lnTo>
                  <a:lnTo>
                    <a:pt x="30" y="457"/>
                  </a:lnTo>
                  <a:lnTo>
                    <a:pt x="0" y="436"/>
                  </a:lnTo>
                  <a:lnTo>
                    <a:pt x="44" y="388"/>
                  </a:lnTo>
                  <a:lnTo>
                    <a:pt x="12" y="337"/>
                  </a:lnTo>
                  <a:lnTo>
                    <a:pt x="27" y="316"/>
                  </a:lnTo>
                  <a:lnTo>
                    <a:pt x="6" y="298"/>
                  </a:lnTo>
                  <a:lnTo>
                    <a:pt x="26" y="267"/>
                  </a:lnTo>
                  <a:lnTo>
                    <a:pt x="54" y="276"/>
                  </a:lnTo>
                  <a:lnTo>
                    <a:pt x="117" y="187"/>
                  </a:lnTo>
                  <a:lnTo>
                    <a:pt x="128" y="193"/>
                  </a:lnTo>
                  <a:lnTo>
                    <a:pt x="132" y="171"/>
                  </a:lnTo>
                  <a:lnTo>
                    <a:pt x="110" y="144"/>
                  </a:lnTo>
                  <a:lnTo>
                    <a:pt x="134" y="111"/>
                  </a:lnTo>
                  <a:lnTo>
                    <a:pt x="132" y="3"/>
                  </a:lnTo>
                  <a:lnTo>
                    <a:pt x="209" y="0"/>
                  </a:lnTo>
                  <a:lnTo>
                    <a:pt x="210" y="87"/>
                  </a:lnTo>
                  <a:lnTo>
                    <a:pt x="326" y="159"/>
                  </a:lnTo>
                  <a:lnTo>
                    <a:pt x="354" y="171"/>
                  </a:lnTo>
                  <a:lnTo>
                    <a:pt x="390" y="142"/>
                  </a:lnTo>
                  <a:lnTo>
                    <a:pt x="380" y="112"/>
                  </a:lnTo>
                  <a:lnTo>
                    <a:pt x="411" y="90"/>
                  </a:lnTo>
                  <a:lnTo>
                    <a:pt x="503" y="180"/>
                  </a:lnTo>
                  <a:lnTo>
                    <a:pt x="422" y="250"/>
                  </a:lnTo>
                  <a:lnTo>
                    <a:pt x="353" y="198"/>
                  </a:lnTo>
                  <a:lnTo>
                    <a:pt x="302" y="166"/>
                  </a:lnTo>
                  <a:lnTo>
                    <a:pt x="234" y="148"/>
                  </a:lnTo>
                  <a:lnTo>
                    <a:pt x="233" y="207"/>
                  </a:lnTo>
                  <a:lnTo>
                    <a:pt x="327" y="265"/>
                  </a:lnTo>
                  <a:lnTo>
                    <a:pt x="252" y="333"/>
                  </a:lnTo>
                  <a:lnTo>
                    <a:pt x="288" y="357"/>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90" name="Freeform 1186"/>
            <p:cNvSpPr>
              <a:spLocks/>
            </p:cNvSpPr>
            <p:nvPr/>
          </p:nvSpPr>
          <p:spPr bwMode="auto">
            <a:xfrm>
              <a:off x="1938309" y="5149970"/>
              <a:ext cx="59006" cy="75429"/>
            </a:xfrm>
            <a:custGeom>
              <a:avLst/>
              <a:gdLst>
                <a:gd name="T0" fmla="*/ 2147483647 w 123"/>
                <a:gd name="T1" fmla="*/ 2147483647 h 141"/>
                <a:gd name="T2" fmla="*/ 2147483647 w 123"/>
                <a:gd name="T3" fmla="*/ 2147483647 h 141"/>
                <a:gd name="T4" fmla="*/ 2147483647 w 123"/>
                <a:gd name="T5" fmla="*/ 2147483647 h 141"/>
                <a:gd name="T6" fmla="*/ 2147483647 w 123"/>
                <a:gd name="T7" fmla="*/ 2147483647 h 141"/>
                <a:gd name="T8" fmla="*/ 2147483647 w 123"/>
                <a:gd name="T9" fmla="*/ 2147483647 h 141"/>
                <a:gd name="T10" fmla="*/ 0 w 123"/>
                <a:gd name="T11" fmla="*/ 0 h 141"/>
                <a:gd name="T12" fmla="*/ 0 60000 65536"/>
                <a:gd name="T13" fmla="*/ 0 60000 65536"/>
                <a:gd name="T14" fmla="*/ 0 60000 65536"/>
                <a:gd name="T15" fmla="*/ 0 60000 65536"/>
                <a:gd name="T16" fmla="*/ 0 60000 65536"/>
                <a:gd name="T17" fmla="*/ 0 60000 65536"/>
                <a:gd name="T18" fmla="*/ 0 w 123"/>
                <a:gd name="T19" fmla="*/ 0 h 141"/>
                <a:gd name="T20" fmla="*/ 123 w 123"/>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123" h="141">
                  <a:moveTo>
                    <a:pt x="123" y="141"/>
                  </a:moveTo>
                  <a:lnTo>
                    <a:pt x="48" y="99"/>
                  </a:lnTo>
                  <a:lnTo>
                    <a:pt x="48" y="69"/>
                  </a:lnTo>
                  <a:lnTo>
                    <a:pt x="29" y="38"/>
                  </a:lnTo>
                  <a:lnTo>
                    <a:pt x="2" y="38"/>
                  </a:lnTo>
                  <a:lnTo>
                    <a:pt x="0" y="0"/>
                  </a:lnTo>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91" name="Freeform 1187"/>
            <p:cNvSpPr>
              <a:spLocks/>
            </p:cNvSpPr>
            <p:nvPr/>
          </p:nvSpPr>
          <p:spPr bwMode="auto">
            <a:xfrm>
              <a:off x="1839913" y="5051503"/>
              <a:ext cx="93663" cy="96838"/>
            </a:xfrm>
            <a:custGeom>
              <a:avLst/>
              <a:gdLst>
                <a:gd name="T0" fmla="*/ 2147483647 w 196"/>
                <a:gd name="T1" fmla="*/ 2147483647 h 183"/>
                <a:gd name="T2" fmla="*/ 0 w 196"/>
                <a:gd name="T3" fmla="*/ 2147483647 h 183"/>
                <a:gd name="T4" fmla="*/ 2147483647 w 196"/>
                <a:gd name="T5" fmla="*/ 0 h 183"/>
                <a:gd name="T6" fmla="*/ 2147483647 w 196"/>
                <a:gd name="T7" fmla="*/ 2147483647 h 183"/>
                <a:gd name="T8" fmla="*/ 2147483647 w 196"/>
                <a:gd name="T9" fmla="*/ 2147483647 h 183"/>
                <a:gd name="T10" fmla="*/ 2147483647 w 196"/>
                <a:gd name="T11" fmla="*/ 2147483647 h 183"/>
                <a:gd name="T12" fmla="*/ 2147483647 w 196"/>
                <a:gd name="T13" fmla="*/ 2147483647 h 183"/>
                <a:gd name="T14" fmla="*/ 2147483647 w 196"/>
                <a:gd name="T15" fmla="*/ 2147483647 h 183"/>
                <a:gd name="T16" fmla="*/ 2147483647 w 196"/>
                <a:gd name="T17" fmla="*/ 2147483647 h 183"/>
                <a:gd name="T18" fmla="*/ 2147483647 w 196"/>
                <a:gd name="T19" fmla="*/ 2147483647 h 183"/>
                <a:gd name="T20" fmla="*/ 2147483647 w 196"/>
                <a:gd name="T21" fmla="*/ 2147483647 h 1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6"/>
                <a:gd name="T34" fmla="*/ 0 h 183"/>
                <a:gd name="T35" fmla="*/ 196 w 196"/>
                <a:gd name="T36" fmla="*/ 183 h 1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6" h="183">
                  <a:moveTo>
                    <a:pt x="52" y="159"/>
                  </a:moveTo>
                  <a:lnTo>
                    <a:pt x="0" y="123"/>
                  </a:lnTo>
                  <a:lnTo>
                    <a:pt x="100" y="0"/>
                  </a:lnTo>
                  <a:lnTo>
                    <a:pt x="150" y="5"/>
                  </a:lnTo>
                  <a:lnTo>
                    <a:pt x="183" y="30"/>
                  </a:lnTo>
                  <a:cubicBezTo>
                    <a:pt x="190" y="42"/>
                    <a:pt x="196" y="64"/>
                    <a:pt x="192" y="80"/>
                  </a:cubicBezTo>
                  <a:lnTo>
                    <a:pt x="160" y="128"/>
                  </a:lnTo>
                  <a:lnTo>
                    <a:pt x="115" y="161"/>
                  </a:lnTo>
                  <a:cubicBezTo>
                    <a:pt x="101" y="170"/>
                    <a:pt x="89" y="177"/>
                    <a:pt x="79" y="180"/>
                  </a:cubicBezTo>
                  <a:cubicBezTo>
                    <a:pt x="69" y="183"/>
                    <a:pt x="61" y="180"/>
                    <a:pt x="57" y="177"/>
                  </a:cubicBezTo>
                  <a:lnTo>
                    <a:pt x="52" y="159"/>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92" name="Freeform 1188"/>
            <p:cNvSpPr>
              <a:spLocks/>
            </p:cNvSpPr>
            <p:nvPr/>
          </p:nvSpPr>
          <p:spPr bwMode="auto">
            <a:xfrm>
              <a:off x="1765300" y="5222953"/>
              <a:ext cx="65088" cy="69850"/>
            </a:xfrm>
            <a:custGeom>
              <a:avLst/>
              <a:gdLst>
                <a:gd name="T0" fmla="*/ 2147483647 w 136"/>
                <a:gd name="T1" fmla="*/ 2147483647 h 129"/>
                <a:gd name="T2" fmla="*/ 2147483647 w 136"/>
                <a:gd name="T3" fmla="*/ 2147483647 h 129"/>
                <a:gd name="T4" fmla="*/ 2147483647 w 136"/>
                <a:gd name="T5" fmla="*/ 2147483647 h 129"/>
                <a:gd name="T6" fmla="*/ 2147483647 w 136"/>
                <a:gd name="T7" fmla="*/ 2147483647 h 129"/>
                <a:gd name="T8" fmla="*/ 0 w 136"/>
                <a:gd name="T9" fmla="*/ 2147483647 h 129"/>
                <a:gd name="T10" fmla="*/ 2147483647 w 136"/>
                <a:gd name="T11" fmla="*/ 2147483647 h 129"/>
                <a:gd name="T12" fmla="*/ 2147483647 w 136"/>
                <a:gd name="T13" fmla="*/ 2147483647 h 129"/>
                <a:gd name="T14" fmla="*/ 2147483647 w 136"/>
                <a:gd name="T15" fmla="*/ 0 h 129"/>
                <a:gd name="T16" fmla="*/ 2147483647 w 136"/>
                <a:gd name="T17" fmla="*/ 2147483647 h 1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6"/>
                <a:gd name="T28" fmla="*/ 0 h 129"/>
                <a:gd name="T29" fmla="*/ 136 w 136"/>
                <a:gd name="T30" fmla="*/ 129 h 1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6" h="129">
                  <a:moveTo>
                    <a:pt x="136" y="15"/>
                  </a:moveTo>
                  <a:lnTo>
                    <a:pt x="118" y="82"/>
                  </a:lnTo>
                  <a:lnTo>
                    <a:pt x="94" y="109"/>
                  </a:lnTo>
                  <a:lnTo>
                    <a:pt x="49" y="129"/>
                  </a:lnTo>
                  <a:lnTo>
                    <a:pt x="0" y="82"/>
                  </a:lnTo>
                  <a:lnTo>
                    <a:pt x="48" y="33"/>
                  </a:lnTo>
                  <a:lnTo>
                    <a:pt x="20" y="5"/>
                  </a:lnTo>
                  <a:lnTo>
                    <a:pt x="90" y="0"/>
                  </a:lnTo>
                  <a:lnTo>
                    <a:pt x="136" y="1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93" name="Freeform 1189"/>
            <p:cNvSpPr>
              <a:spLocks/>
            </p:cNvSpPr>
            <p:nvPr/>
          </p:nvSpPr>
          <p:spPr bwMode="auto">
            <a:xfrm>
              <a:off x="1990725" y="5053091"/>
              <a:ext cx="57150" cy="63500"/>
            </a:xfrm>
            <a:custGeom>
              <a:avLst/>
              <a:gdLst>
                <a:gd name="T0" fmla="*/ 2147483647 w 118"/>
                <a:gd name="T1" fmla="*/ 2147483647 h 117"/>
                <a:gd name="T2" fmla="*/ 2147483647 w 118"/>
                <a:gd name="T3" fmla="*/ 2147483647 h 117"/>
                <a:gd name="T4" fmla="*/ 2147483647 w 118"/>
                <a:gd name="T5" fmla="*/ 2147483647 h 117"/>
                <a:gd name="T6" fmla="*/ 2147483647 w 118"/>
                <a:gd name="T7" fmla="*/ 2147483647 h 117"/>
                <a:gd name="T8" fmla="*/ 2147483647 w 118"/>
                <a:gd name="T9" fmla="*/ 2147483647 h 117"/>
                <a:gd name="T10" fmla="*/ 2147483647 w 118"/>
                <a:gd name="T11" fmla="*/ 2147483647 h 117"/>
                <a:gd name="T12" fmla="*/ 2147483647 w 118"/>
                <a:gd name="T13" fmla="*/ 2147483647 h 117"/>
                <a:gd name="T14" fmla="*/ 2147483647 w 118"/>
                <a:gd name="T15" fmla="*/ 2147483647 h 117"/>
                <a:gd name="T16" fmla="*/ 2147483647 w 118"/>
                <a:gd name="T17" fmla="*/ 2147483647 h 117"/>
                <a:gd name="T18" fmla="*/ 2147483647 w 118"/>
                <a:gd name="T19" fmla="*/ 2147483647 h 117"/>
                <a:gd name="T20" fmla="*/ 2147483647 w 118"/>
                <a:gd name="T21" fmla="*/ 2147483647 h 117"/>
                <a:gd name="T22" fmla="*/ 2147483647 w 118"/>
                <a:gd name="T23" fmla="*/ 2147483647 h 117"/>
                <a:gd name="T24" fmla="*/ 2147483647 w 118"/>
                <a:gd name="T25" fmla="*/ 2147483647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8"/>
                <a:gd name="T40" fmla="*/ 0 h 117"/>
                <a:gd name="T41" fmla="*/ 118 w 118"/>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8" h="117">
                  <a:moveTo>
                    <a:pt x="100" y="115"/>
                  </a:moveTo>
                  <a:cubicBezTo>
                    <a:pt x="94" y="113"/>
                    <a:pt x="88" y="106"/>
                    <a:pt x="76" y="100"/>
                  </a:cubicBezTo>
                  <a:cubicBezTo>
                    <a:pt x="64" y="94"/>
                    <a:pt x="42" y="86"/>
                    <a:pt x="31" y="80"/>
                  </a:cubicBezTo>
                  <a:cubicBezTo>
                    <a:pt x="20" y="74"/>
                    <a:pt x="14" y="70"/>
                    <a:pt x="9" y="64"/>
                  </a:cubicBezTo>
                  <a:cubicBezTo>
                    <a:pt x="4" y="58"/>
                    <a:pt x="0" y="53"/>
                    <a:pt x="1" y="44"/>
                  </a:cubicBezTo>
                  <a:cubicBezTo>
                    <a:pt x="2" y="35"/>
                    <a:pt x="10" y="14"/>
                    <a:pt x="16" y="7"/>
                  </a:cubicBezTo>
                  <a:cubicBezTo>
                    <a:pt x="22" y="0"/>
                    <a:pt x="29" y="0"/>
                    <a:pt x="39" y="4"/>
                  </a:cubicBezTo>
                  <a:cubicBezTo>
                    <a:pt x="49" y="8"/>
                    <a:pt x="65" y="23"/>
                    <a:pt x="75" y="31"/>
                  </a:cubicBezTo>
                  <a:cubicBezTo>
                    <a:pt x="85" y="39"/>
                    <a:pt x="94" y="43"/>
                    <a:pt x="100" y="50"/>
                  </a:cubicBezTo>
                  <a:cubicBezTo>
                    <a:pt x="106" y="57"/>
                    <a:pt x="109" y="68"/>
                    <a:pt x="112" y="76"/>
                  </a:cubicBezTo>
                  <a:cubicBezTo>
                    <a:pt x="115" y="84"/>
                    <a:pt x="118" y="94"/>
                    <a:pt x="118" y="100"/>
                  </a:cubicBezTo>
                  <a:cubicBezTo>
                    <a:pt x="118" y="106"/>
                    <a:pt x="114" y="110"/>
                    <a:pt x="111" y="113"/>
                  </a:cubicBezTo>
                  <a:cubicBezTo>
                    <a:pt x="108" y="116"/>
                    <a:pt x="106" y="117"/>
                    <a:pt x="100" y="115"/>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94" name="Freeform 1190"/>
            <p:cNvSpPr>
              <a:spLocks/>
            </p:cNvSpPr>
            <p:nvPr/>
          </p:nvSpPr>
          <p:spPr bwMode="auto">
            <a:xfrm>
              <a:off x="2003425" y="5141991"/>
              <a:ext cx="57150" cy="69850"/>
            </a:xfrm>
            <a:custGeom>
              <a:avLst/>
              <a:gdLst>
                <a:gd name="T0" fmla="*/ 2147483647 w 36"/>
                <a:gd name="T1" fmla="*/ 2147483647 h 44"/>
                <a:gd name="T2" fmla="*/ 2147483647 w 36"/>
                <a:gd name="T3" fmla="*/ 2147483647 h 44"/>
                <a:gd name="T4" fmla="*/ 2147483647 w 36"/>
                <a:gd name="T5" fmla="*/ 2147483647 h 44"/>
                <a:gd name="T6" fmla="*/ 2147483647 w 36"/>
                <a:gd name="T7" fmla="*/ 2147483647 h 44"/>
                <a:gd name="T8" fmla="*/ 2147483647 w 36"/>
                <a:gd name="T9" fmla="*/ 2147483647 h 44"/>
                <a:gd name="T10" fmla="*/ 0 w 36"/>
                <a:gd name="T11" fmla="*/ 2147483647 h 44"/>
                <a:gd name="T12" fmla="*/ 2147483647 w 36"/>
                <a:gd name="T13" fmla="*/ 2147483647 h 44"/>
                <a:gd name="T14" fmla="*/ 2147483647 w 36"/>
                <a:gd name="T15" fmla="*/ 2147483647 h 44"/>
                <a:gd name="T16" fmla="*/ 2147483647 w 36"/>
                <a:gd name="T17" fmla="*/ 2147483647 h 44"/>
                <a:gd name="T18" fmla="*/ 2147483647 w 36"/>
                <a:gd name="T19" fmla="*/ 2147483647 h 44"/>
                <a:gd name="T20" fmla="*/ 2147483647 w 36"/>
                <a:gd name="T21" fmla="*/ 2147483647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44"/>
                <a:gd name="T35" fmla="*/ 36 w 3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44">
                  <a:moveTo>
                    <a:pt x="33" y="43"/>
                  </a:moveTo>
                  <a:cubicBezTo>
                    <a:pt x="31" y="44"/>
                    <a:pt x="28" y="34"/>
                    <a:pt x="25" y="31"/>
                  </a:cubicBezTo>
                  <a:cubicBezTo>
                    <a:pt x="22" y="28"/>
                    <a:pt x="20" y="25"/>
                    <a:pt x="17" y="23"/>
                  </a:cubicBezTo>
                  <a:cubicBezTo>
                    <a:pt x="14" y="20"/>
                    <a:pt x="10" y="18"/>
                    <a:pt x="8" y="16"/>
                  </a:cubicBezTo>
                  <a:cubicBezTo>
                    <a:pt x="5" y="14"/>
                    <a:pt x="5" y="13"/>
                    <a:pt x="3" y="11"/>
                  </a:cubicBezTo>
                  <a:cubicBezTo>
                    <a:pt x="2" y="10"/>
                    <a:pt x="1" y="8"/>
                    <a:pt x="0" y="6"/>
                  </a:cubicBezTo>
                  <a:cubicBezTo>
                    <a:pt x="0" y="5"/>
                    <a:pt x="1" y="1"/>
                    <a:pt x="2" y="1"/>
                  </a:cubicBezTo>
                  <a:cubicBezTo>
                    <a:pt x="4" y="0"/>
                    <a:pt x="6" y="1"/>
                    <a:pt x="9" y="3"/>
                  </a:cubicBezTo>
                  <a:cubicBezTo>
                    <a:pt x="13" y="5"/>
                    <a:pt x="20" y="9"/>
                    <a:pt x="24" y="13"/>
                  </a:cubicBezTo>
                  <a:cubicBezTo>
                    <a:pt x="29" y="16"/>
                    <a:pt x="34" y="18"/>
                    <a:pt x="35" y="23"/>
                  </a:cubicBezTo>
                  <a:cubicBezTo>
                    <a:pt x="36" y="28"/>
                    <a:pt x="35" y="42"/>
                    <a:pt x="33" y="43"/>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95" name="Freeform 1191"/>
            <p:cNvSpPr>
              <a:spLocks/>
            </p:cNvSpPr>
            <p:nvPr/>
          </p:nvSpPr>
          <p:spPr bwMode="auto">
            <a:xfrm>
              <a:off x="2076450" y="5146753"/>
              <a:ext cx="152400" cy="138113"/>
            </a:xfrm>
            <a:custGeom>
              <a:avLst/>
              <a:gdLst>
                <a:gd name="T0" fmla="*/ 2147483647 w 318"/>
                <a:gd name="T1" fmla="*/ 2147483647 h 261"/>
                <a:gd name="T2" fmla="*/ 2147483647 w 318"/>
                <a:gd name="T3" fmla="*/ 2147483647 h 261"/>
                <a:gd name="T4" fmla="*/ 2147483647 w 318"/>
                <a:gd name="T5" fmla="*/ 2147483647 h 261"/>
                <a:gd name="T6" fmla="*/ 2147483647 w 318"/>
                <a:gd name="T7" fmla="*/ 2147483647 h 261"/>
                <a:gd name="T8" fmla="*/ 2147483647 w 318"/>
                <a:gd name="T9" fmla="*/ 2147483647 h 261"/>
                <a:gd name="T10" fmla="*/ 2147483647 w 318"/>
                <a:gd name="T11" fmla="*/ 2147483647 h 261"/>
                <a:gd name="T12" fmla="*/ 2147483647 w 318"/>
                <a:gd name="T13" fmla="*/ 2147483647 h 261"/>
                <a:gd name="T14" fmla="*/ 2147483647 w 318"/>
                <a:gd name="T15" fmla="*/ 2147483647 h 261"/>
                <a:gd name="T16" fmla="*/ 2147483647 w 318"/>
                <a:gd name="T17" fmla="*/ 2147483647 h 261"/>
                <a:gd name="T18" fmla="*/ 2147483647 w 318"/>
                <a:gd name="T19" fmla="*/ 2147483647 h 261"/>
                <a:gd name="T20" fmla="*/ 2147483647 w 318"/>
                <a:gd name="T21" fmla="*/ 2147483647 h 261"/>
                <a:gd name="T22" fmla="*/ 2147483647 w 318"/>
                <a:gd name="T23" fmla="*/ 2147483647 h 261"/>
                <a:gd name="T24" fmla="*/ 2147483647 w 318"/>
                <a:gd name="T25" fmla="*/ 2147483647 h 261"/>
                <a:gd name="T26" fmla="*/ 2147483647 w 318"/>
                <a:gd name="T27" fmla="*/ 2147483647 h 261"/>
                <a:gd name="T28" fmla="*/ 2147483647 w 318"/>
                <a:gd name="T29" fmla="*/ 2147483647 h 261"/>
                <a:gd name="T30" fmla="*/ 2147483647 w 318"/>
                <a:gd name="T31" fmla="*/ 2147483647 h 2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18"/>
                <a:gd name="T49" fmla="*/ 0 h 261"/>
                <a:gd name="T50" fmla="*/ 318 w 318"/>
                <a:gd name="T51" fmla="*/ 261 h 2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18" h="261">
                  <a:moveTo>
                    <a:pt x="59" y="218"/>
                  </a:moveTo>
                  <a:cubicBezTo>
                    <a:pt x="48" y="199"/>
                    <a:pt x="32" y="160"/>
                    <a:pt x="24" y="139"/>
                  </a:cubicBezTo>
                  <a:cubicBezTo>
                    <a:pt x="16" y="118"/>
                    <a:pt x="9" y="100"/>
                    <a:pt x="8" y="89"/>
                  </a:cubicBezTo>
                  <a:cubicBezTo>
                    <a:pt x="7" y="78"/>
                    <a:pt x="0" y="84"/>
                    <a:pt x="15" y="70"/>
                  </a:cubicBezTo>
                  <a:cubicBezTo>
                    <a:pt x="30" y="56"/>
                    <a:pt x="75" y="16"/>
                    <a:pt x="99" y="8"/>
                  </a:cubicBezTo>
                  <a:cubicBezTo>
                    <a:pt x="123" y="0"/>
                    <a:pt x="138" y="9"/>
                    <a:pt x="158" y="19"/>
                  </a:cubicBezTo>
                  <a:cubicBezTo>
                    <a:pt x="178" y="29"/>
                    <a:pt x="194" y="48"/>
                    <a:pt x="218" y="71"/>
                  </a:cubicBezTo>
                  <a:cubicBezTo>
                    <a:pt x="242" y="94"/>
                    <a:pt x="288" y="137"/>
                    <a:pt x="303" y="154"/>
                  </a:cubicBezTo>
                  <a:cubicBezTo>
                    <a:pt x="318" y="171"/>
                    <a:pt x="310" y="166"/>
                    <a:pt x="308" y="173"/>
                  </a:cubicBezTo>
                  <a:cubicBezTo>
                    <a:pt x="306" y="180"/>
                    <a:pt x="298" y="191"/>
                    <a:pt x="290" y="199"/>
                  </a:cubicBezTo>
                  <a:cubicBezTo>
                    <a:pt x="282" y="207"/>
                    <a:pt x="269" y="215"/>
                    <a:pt x="258" y="223"/>
                  </a:cubicBezTo>
                  <a:cubicBezTo>
                    <a:pt x="247" y="231"/>
                    <a:pt x="238" y="239"/>
                    <a:pt x="221" y="245"/>
                  </a:cubicBezTo>
                  <a:cubicBezTo>
                    <a:pt x="204" y="251"/>
                    <a:pt x="173" y="257"/>
                    <a:pt x="156" y="259"/>
                  </a:cubicBezTo>
                  <a:cubicBezTo>
                    <a:pt x="139" y="261"/>
                    <a:pt x="128" y="261"/>
                    <a:pt x="117" y="260"/>
                  </a:cubicBezTo>
                  <a:cubicBezTo>
                    <a:pt x="106" y="259"/>
                    <a:pt x="99" y="258"/>
                    <a:pt x="89" y="251"/>
                  </a:cubicBezTo>
                  <a:cubicBezTo>
                    <a:pt x="79" y="244"/>
                    <a:pt x="70" y="237"/>
                    <a:pt x="59" y="218"/>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96" name="Freeform 1192"/>
            <p:cNvSpPr>
              <a:spLocks/>
            </p:cNvSpPr>
            <p:nvPr/>
          </p:nvSpPr>
          <p:spPr bwMode="auto">
            <a:xfrm>
              <a:off x="2090738" y="5157866"/>
              <a:ext cx="123825" cy="111125"/>
            </a:xfrm>
            <a:custGeom>
              <a:avLst/>
              <a:gdLst>
                <a:gd name="T0" fmla="*/ 2147483647 w 259"/>
                <a:gd name="T1" fmla="*/ 2147483647 h 209"/>
                <a:gd name="T2" fmla="*/ 2147483647 w 259"/>
                <a:gd name="T3" fmla="*/ 2147483647 h 209"/>
                <a:gd name="T4" fmla="*/ 2147483647 w 259"/>
                <a:gd name="T5" fmla="*/ 2147483647 h 209"/>
                <a:gd name="T6" fmla="*/ 2147483647 w 259"/>
                <a:gd name="T7" fmla="*/ 2147483647 h 209"/>
                <a:gd name="T8" fmla="*/ 2147483647 w 259"/>
                <a:gd name="T9" fmla="*/ 2147483647 h 209"/>
                <a:gd name="T10" fmla="*/ 2147483647 w 259"/>
                <a:gd name="T11" fmla="*/ 2147483647 h 209"/>
                <a:gd name="T12" fmla="*/ 2147483647 w 259"/>
                <a:gd name="T13" fmla="*/ 2147483647 h 209"/>
                <a:gd name="T14" fmla="*/ 2147483647 w 259"/>
                <a:gd name="T15" fmla="*/ 2147483647 h 209"/>
                <a:gd name="T16" fmla="*/ 2147483647 w 259"/>
                <a:gd name="T17" fmla="*/ 2147483647 h 209"/>
                <a:gd name="T18" fmla="*/ 2147483647 w 259"/>
                <a:gd name="T19" fmla="*/ 2147483647 h 209"/>
                <a:gd name="T20" fmla="*/ 2147483647 w 259"/>
                <a:gd name="T21" fmla="*/ 2147483647 h 209"/>
                <a:gd name="T22" fmla="*/ 2147483647 w 259"/>
                <a:gd name="T23" fmla="*/ 2147483647 h 209"/>
                <a:gd name="T24" fmla="*/ 2147483647 w 259"/>
                <a:gd name="T25" fmla="*/ 2147483647 h 209"/>
                <a:gd name="T26" fmla="*/ 2147483647 w 259"/>
                <a:gd name="T27" fmla="*/ 2147483647 h 209"/>
                <a:gd name="T28" fmla="*/ 2147483647 w 259"/>
                <a:gd name="T29" fmla="*/ 2147483647 h 209"/>
                <a:gd name="T30" fmla="*/ 2147483647 w 259"/>
                <a:gd name="T31" fmla="*/ 2147483647 h 209"/>
                <a:gd name="T32" fmla="*/ 2147483647 w 259"/>
                <a:gd name="T33" fmla="*/ 2147483647 h 209"/>
                <a:gd name="T34" fmla="*/ 2147483647 w 259"/>
                <a:gd name="T35" fmla="*/ 2147483647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9"/>
                <a:gd name="T55" fmla="*/ 0 h 209"/>
                <a:gd name="T56" fmla="*/ 259 w 259"/>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9" h="209">
                  <a:moveTo>
                    <a:pt x="32" y="142"/>
                  </a:moveTo>
                  <a:cubicBezTo>
                    <a:pt x="24" y="126"/>
                    <a:pt x="13" y="110"/>
                    <a:pt x="9" y="98"/>
                  </a:cubicBezTo>
                  <a:cubicBezTo>
                    <a:pt x="5" y="86"/>
                    <a:pt x="6" y="76"/>
                    <a:pt x="5" y="68"/>
                  </a:cubicBezTo>
                  <a:cubicBezTo>
                    <a:pt x="4" y="60"/>
                    <a:pt x="0" y="57"/>
                    <a:pt x="6" y="50"/>
                  </a:cubicBezTo>
                  <a:cubicBezTo>
                    <a:pt x="12" y="43"/>
                    <a:pt x="31" y="31"/>
                    <a:pt x="42" y="23"/>
                  </a:cubicBezTo>
                  <a:cubicBezTo>
                    <a:pt x="53" y="15"/>
                    <a:pt x="64" y="4"/>
                    <a:pt x="75" y="2"/>
                  </a:cubicBezTo>
                  <a:cubicBezTo>
                    <a:pt x="86" y="0"/>
                    <a:pt x="91" y="0"/>
                    <a:pt x="107" y="10"/>
                  </a:cubicBezTo>
                  <a:cubicBezTo>
                    <a:pt x="123" y="20"/>
                    <a:pt x="154" y="46"/>
                    <a:pt x="174" y="61"/>
                  </a:cubicBezTo>
                  <a:cubicBezTo>
                    <a:pt x="194" y="76"/>
                    <a:pt x="211" y="89"/>
                    <a:pt x="224" y="100"/>
                  </a:cubicBezTo>
                  <a:cubicBezTo>
                    <a:pt x="237" y="111"/>
                    <a:pt x="246" y="119"/>
                    <a:pt x="251" y="128"/>
                  </a:cubicBezTo>
                  <a:cubicBezTo>
                    <a:pt x="256" y="137"/>
                    <a:pt x="259" y="144"/>
                    <a:pt x="255" y="152"/>
                  </a:cubicBezTo>
                  <a:cubicBezTo>
                    <a:pt x="251" y="160"/>
                    <a:pt x="235" y="170"/>
                    <a:pt x="225" y="178"/>
                  </a:cubicBezTo>
                  <a:cubicBezTo>
                    <a:pt x="215" y="186"/>
                    <a:pt x="206" y="196"/>
                    <a:pt x="195" y="200"/>
                  </a:cubicBezTo>
                  <a:cubicBezTo>
                    <a:pt x="184" y="204"/>
                    <a:pt x="172" y="204"/>
                    <a:pt x="159" y="205"/>
                  </a:cubicBezTo>
                  <a:cubicBezTo>
                    <a:pt x="146" y="206"/>
                    <a:pt x="130" y="209"/>
                    <a:pt x="117" y="208"/>
                  </a:cubicBezTo>
                  <a:cubicBezTo>
                    <a:pt x="104" y="207"/>
                    <a:pt x="91" y="204"/>
                    <a:pt x="81" y="202"/>
                  </a:cubicBezTo>
                  <a:cubicBezTo>
                    <a:pt x="71" y="200"/>
                    <a:pt x="65" y="204"/>
                    <a:pt x="57" y="194"/>
                  </a:cubicBezTo>
                  <a:cubicBezTo>
                    <a:pt x="49" y="184"/>
                    <a:pt x="40" y="158"/>
                    <a:pt x="32" y="142"/>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97" name="Freeform 1193"/>
            <p:cNvSpPr>
              <a:spLocks/>
            </p:cNvSpPr>
            <p:nvPr/>
          </p:nvSpPr>
          <p:spPr bwMode="auto">
            <a:xfrm>
              <a:off x="2414588" y="5032453"/>
              <a:ext cx="98425" cy="180975"/>
            </a:xfrm>
            <a:custGeom>
              <a:avLst/>
              <a:gdLst>
                <a:gd name="T0" fmla="*/ 2147483647 w 207"/>
                <a:gd name="T1" fmla="*/ 2147483647 h 341"/>
                <a:gd name="T2" fmla="*/ 2147483647 w 207"/>
                <a:gd name="T3" fmla="*/ 2147483647 h 341"/>
                <a:gd name="T4" fmla="*/ 2147483647 w 207"/>
                <a:gd name="T5" fmla="*/ 2147483647 h 341"/>
                <a:gd name="T6" fmla="*/ 2147483647 w 207"/>
                <a:gd name="T7" fmla="*/ 2147483647 h 341"/>
                <a:gd name="T8" fmla="*/ 2147483647 w 207"/>
                <a:gd name="T9" fmla="*/ 2147483647 h 341"/>
                <a:gd name="T10" fmla="*/ 2147483647 w 207"/>
                <a:gd name="T11" fmla="*/ 2147483647 h 341"/>
                <a:gd name="T12" fmla="*/ 2147483647 w 207"/>
                <a:gd name="T13" fmla="*/ 2147483647 h 341"/>
                <a:gd name="T14" fmla="*/ 2147483647 w 207"/>
                <a:gd name="T15" fmla="*/ 2147483647 h 341"/>
                <a:gd name="T16" fmla="*/ 2147483647 w 207"/>
                <a:gd name="T17" fmla="*/ 0 h 341"/>
                <a:gd name="T18" fmla="*/ 2147483647 w 207"/>
                <a:gd name="T19" fmla="*/ 2147483647 h 341"/>
                <a:gd name="T20" fmla="*/ 2147483647 w 207"/>
                <a:gd name="T21" fmla="*/ 2147483647 h 341"/>
                <a:gd name="T22" fmla="*/ 2147483647 w 207"/>
                <a:gd name="T23" fmla="*/ 2147483647 h 341"/>
                <a:gd name="T24" fmla="*/ 2147483647 w 207"/>
                <a:gd name="T25" fmla="*/ 2147483647 h 341"/>
                <a:gd name="T26" fmla="*/ 2147483647 w 207"/>
                <a:gd name="T27" fmla="*/ 2147483647 h 341"/>
                <a:gd name="T28" fmla="*/ 2147483647 w 207"/>
                <a:gd name="T29" fmla="*/ 2147483647 h 3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7"/>
                <a:gd name="T46" fmla="*/ 0 h 341"/>
                <a:gd name="T47" fmla="*/ 207 w 207"/>
                <a:gd name="T48" fmla="*/ 341 h 34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7" h="341">
                  <a:moveTo>
                    <a:pt x="126" y="333"/>
                  </a:moveTo>
                  <a:lnTo>
                    <a:pt x="112" y="341"/>
                  </a:lnTo>
                  <a:lnTo>
                    <a:pt x="51" y="255"/>
                  </a:lnTo>
                  <a:lnTo>
                    <a:pt x="24" y="215"/>
                  </a:lnTo>
                  <a:lnTo>
                    <a:pt x="16" y="200"/>
                  </a:lnTo>
                  <a:cubicBezTo>
                    <a:pt x="12" y="189"/>
                    <a:pt x="0" y="164"/>
                    <a:pt x="1" y="149"/>
                  </a:cubicBezTo>
                  <a:cubicBezTo>
                    <a:pt x="2" y="134"/>
                    <a:pt x="12" y="116"/>
                    <a:pt x="21" y="108"/>
                  </a:cubicBezTo>
                  <a:lnTo>
                    <a:pt x="55" y="98"/>
                  </a:lnTo>
                  <a:lnTo>
                    <a:pt x="193" y="0"/>
                  </a:lnTo>
                  <a:lnTo>
                    <a:pt x="207" y="29"/>
                  </a:lnTo>
                  <a:lnTo>
                    <a:pt x="63" y="114"/>
                  </a:lnTo>
                  <a:lnTo>
                    <a:pt x="33" y="123"/>
                  </a:lnTo>
                  <a:lnTo>
                    <a:pt x="21" y="150"/>
                  </a:lnTo>
                  <a:lnTo>
                    <a:pt x="31" y="188"/>
                  </a:lnTo>
                  <a:lnTo>
                    <a:pt x="126" y="333"/>
                  </a:ln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98" name="Freeform 1194"/>
            <p:cNvSpPr>
              <a:spLocks/>
            </p:cNvSpPr>
            <p:nvPr/>
          </p:nvSpPr>
          <p:spPr bwMode="auto">
            <a:xfrm>
              <a:off x="2189163" y="4630816"/>
              <a:ext cx="103188" cy="115888"/>
            </a:xfrm>
            <a:custGeom>
              <a:avLst/>
              <a:gdLst>
                <a:gd name="T0" fmla="*/ 2147483647 w 216"/>
                <a:gd name="T1" fmla="*/ 2147483647 h 219"/>
                <a:gd name="T2" fmla="*/ 2147483647 w 216"/>
                <a:gd name="T3" fmla="*/ 2147483647 h 219"/>
                <a:gd name="T4" fmla="*/ 2147483647 w 216"/>
                <a:gd name="T5" fmla="*/ 2147483647 h 219"/>
                <a:gd name="T6" fmla="*/ 2147483647 w 216"/>
                <a:gd name="T7" fmla="*/ 2147483647 h 219"/>
                <a:gd name="T8" fmla="*/ 2147483647 w 216"/>
                <a:gd name="T9" fmla="*/ 2147483647 h 219"/>
                <a:gd name="T10" fmla="*/ 2147483647 w 216"/>
                <a:gd name="T11" fmla="*/ 2147483647 h 219"/>
                <a:gd name="T12" fmla="*/ 2147483647 w 216"/>
                <a:gd name="T13" fmla="*/ 2147483647 h 219"/>
                <a:gd name="T14" fmla="*/ 2147483647 w 216"/>
                <a:gd name="T15" fmla="*/ 2147483647 h 219"/>
                <a:gd name="T16" fmla="*/ 2147483647 w 216"/>
                <a:gd name="T17" fmla="*/ 2147483647 h 219"/>
                <a:gd name="T18" fmla="*/ 2147483647 w 216"/>
                <a:gd name="T19" fmla="*/ 2147483647 h 219"/>
                <a:gd name="T20" fmla="*/ 2147483647 w 216"/>
                <a:gd name="T21" fmla="*/ 2147483647 h 219"/>
                <a:gd name="T22" fmla="*/ 2147483647 w 216"/>
                <a:gd name="T23" fmla="*/ 2147483647 h 219"/>
                <a:gd name="T24" fmla="*/ 2147483647 w 216"/>
                <a:gd name="T25" fmla="*/ 2147483647 h 219"/>
                <a:gd name="T26" fmla="*/ 2147483647 w 216"/>
                <a:gd name="T27" fmla="*/ 2147483647 h 219"/>
                <a:gd name="T28" fmla="*/ 2147483647 w 216"/>
                <a:gd name="T29" fmla="*/ 2147483647 h 219"/>
                <a:gd name="T30" fmla="*/ 2147483647 w 216"/>
                <a:gd name="T31" fmla="*/ 2147483647 h 2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
                <a:gd name="T49" fmla="*/ 0 h 219"/>
                <a:gd name="T50" fmla="*/ 216 w 216"/>
                <a:gd name="T51" fmla="*/ 219 h 2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 h="219">
                  <a:moveTo>
                    <a:pt x="163" y="181"/>
                  </a:moveTo>
                  <a:cubicBezTo>
                    <a:pt x="149" y="165"/>
                    <a:pt x="124" y="131"/>
                    <a:pt x="106" y="112"/>
                  </a:cubicBezTo>
                  <a:cubicBezTo>
                    <a:pt x="88" y="93"/>
                    <a:pt x="68" y="79"/>
                    <a:pt x="55" y="68"/>
                  </a:cubicBezTo>
                  <a:cubicBezTo>
                    <a:pt x="42" y="57"/>
                    <a:pt x="38" y="50"/>
                    <a:pt x="31" y="44"/>
                  </a:cubicBezTo>
                  <a:cubicBezTo>
                    <a:pt x="24" y="38"/>
                    <a:pt x="18" y="36"/>
                    <a:pt x="13" y="31"/>
                  </a:cubicBezTo>
                  <a:cubicBezTo>
                    <a:pt x="8" y="26"/>
                    <a:pt x="2" y="18"/>
                    <a:pt x="1" y="13"/>
                  </a:cubicBezTo>
                  <a:cubicBezTo>
                    <a:pt x="0" y="8"/>
                    <a:pt x="5" y="3"/>
                    <a:pt x="9" y="2"/>
                  </a:cubicBezTo>
                  <a:cubicBezTo>
                    <a:pt x="13" y="1"/>
                    <a:pt x="17" y="0"/>
                    <a:pt x="25" y="7"/>
                  </a:cubicBezTo>
                  <a:cubicBezTo>
                    <a:pt x="33" y="14"/>
                    <a:pt x="45" y="30"/>
                    <a:pt x="60" y="44"/>
                  </a:cubicBezTo>
                  <a:cubicBezTo>
                    <a:pt x="75" y="58"/>
                    <a:pt x="101" y="79"/>
                    <a:pt x="117" y="94"/>
                  </a:cubicBezTo>
                  <a:cubicBezTo>
                    <a:pt x="133" y="109"/>
                    <a:pt x="142" y="121"/>
                    <a:pt x="157" y="134"/>
                  </a:cubicBezTo>
                  <a:cubicBezTo>
                    <a:pt x="172" y="147"/>
                    <a:pt x="198" y="163"/>
                    <a:pt x="207" y="173"/>
                  </a:cubicBezTo>
                  <a:cubicBezTo>
                    <a:pt x="216" y="183"/>
                    <a:pt x="214" y="190"/>
                    <a:pt x="214" y="197"/>
                  </a:cubicBezTo>
                  <a:cubicBezTo>
                    <a:pt x="214" y="204"/>
                    <a:pt x="209" y="215"/>
                    <a:pt x="205" y="217"/>
                  </a:cubicBezTo>
                  <a:cubicBezTo>
                    <a:pt x="201" y="219"/>
                    <a:pt x="196" y="215"/>
                    <a:pt x="189" y="208"/>
                  </a:cubicBezTo>
                  <a:cubicBezTo>
                    <a:pt x="182" y="201"/>
                    <a:pt x="177" y="197"/>
                    <a:pt x="163" y="181"/>
                  </a:cubicBez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99" name="Freeform 1195"/>
            <p:cNvSpPr>
              <a:spLocks/>
            </p:cNvSpPr>
            <p:nvPr/>
          </p:nvSpPr>
          <p:spPr bwMode="auto">
            <a:xfrm>
              <a:off x="2078038" y="4543503"/>
              <a:ext cx="53975" cy="31750"/>
            </a:xfrm>
            <a:custGeom>
              <a:avLst/>
              <a:gdLst>
                <a:gd name="T0" fmla="*/ 0 w 112"/>
                <a:gd name="T1" fmla="*/ 2147483647 h 61"/>
                <a:gd name="T2" fmla="*/ 2147483647 w 112"/>
                <a:gd name="T3" fmla="*/ 0 h 61"/>
                <a:gd name="T4" fmla="*/ 2147483647 w 112"/>
                <a:gd name="T5" fmla="*/ 2147483647 h 61"/>
                <a:gd name="T6" fmla="*/ 2147483647 w 112"/>
                <a:gd name="T7" fmla="*/ 2147483647 h 61"/>
                <a:gd name="T8" fmla="*/ 2147483647 w 112"/>
                <a:gd name="T9" fmla="*/ 2147483647 h 61"/>
                <a:gd name="T10" fmla="*/ 0 w 112"/>
                <a:gd name="T11" fmla="*/ 2147483647 h 61"/>
                <a:gd name="T12" fmla="*/ 0 60000 65536"/>
                <a:gd name="T13" fmla="*/ 0 60000 65536"/>
                <a:gd name="T14" fmla="*/ 0 60000 65536"/>
                <a:gd name="T15" fmla="*/ 0 60000 65536"/>
                <a:gd name="T16" fmla="*/ 0 60000 65536"/>
                <a:gd name="T17" fmla="*/ 0 60000 65536"/>
                <a:gd name="T18" fmla="*/ 0 w 112"/>
                <a:gd name="T19" fmla="*/ 0 h 61"/>
                <a:gd name="T20" fmla="*/ 112 w 112"/>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12" h="61">
                  <a:moveTo>
                    <a:pt x="0" y="19"/>
                  </a:moveTo>
                  <a:lnTo>
                    <a:pt x="6" y="0"/>
                  </a:lnTo>
                  <a:lnTo>
                    <a:pt x="63" y="25"/>
                  </a:lnTo>
                  <a:lnTo>
                    <a:pt x="101" y="39"/>
                  </a:lnTo>
                  <a:cubicBezTo>
                    <a:pt x="106" y="44"/>
                    <a:pt x="112" y="61"/>
                    <a:pt x="95" y="58"/>
                  </a:cubicBezTo>
                  <a:lnTo>
                    <a:pt x="0" y="19"/>
                  </a:ln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00" name="Freeform 1196"/>
            <p:cNvSpPr>
              <a:spLocks/>
            </p:cNvSpPr>
            <p:nvPr/>
          </p:nvSpPr>
          <p:spPr bwMode="auto">
            <a:xfrm>
              <a:off x="1550989" y="4481591"/>
              <a:ext cx="756452" cy="544513"/>
            </a:xfrm>
            <a:custGeom>
              <a:avLst/>
              <a:gdLst>
                <a:gd name="T0" fmla="*/ 2147483647 w 12409"/>
                <a:gd name="T1" fmla="*/ 2147483647 h 10000"/>
                <a:gd name="T2" fmla="*/ 2147483647 w 12409"/>
                <a:gd name="T3" fmla="*/ 2147483647 h 10000"/>
                <a:gd name="T4" fmla="*/ 2147483647 w 12409"/>
                <a:gd name="T5" fmla="*/ 2147483647 h 10000"/>
                <a:gd name="T6" fmla="*/ 2147483647 w 12409"/>
                <a:gd name="T7" fmla="*/ 2147483647 h 10000"/>
                <a:gd name="T8" fmla="*/ 2147483647 w 12409"/>
                <a:gd name="T9" fmla="*/ 2147483647 h 10000"/>
                <a:gd name="T10" fmla="*/ 2147483647 w 12409"/>
                <a:gd name="T11" fmla="*/ 2147483647 h 10000"/>
                <a:gd name="T12" fmla="*/ 2147483647 w 12409"/>
                <a:gd name="T13" fmla="*/ 2147483647 h 10000"/>
                <a:gd name="T14" fmla="*/ 2147483647 w 12409"/>
                <a:gd name="T15" fmla="*/ 2147483647 h 10000"/>
                <a:gd name="T16" fmla="*/ 2147483647 w 12409"/>
                <a:gd name="T17" fmla="*/ 2147483647 h 10000"/>
                <a:gd name="T18" fmla="*/ 2147483647 w 12409"/>
                <a:gd name="T19" fmla="*/ 2147483647 h 10000"/>
                <a:gd name="T20" fmla="*/ 0 w 12409"/>
                <a:gd name="T21" fmla="*/ 2147483647 h 10000"/>
                <a:gd name="T22" fmla="*/ 2147483647 w 12409"/>
                <a:gd name="T23" fmla="*/ 2147483647 h 10000"/>
                <a:gd name="T24" fmla="*/ 2147483647 w 12409"/>
                <a:gd name="T25" fmla="*/ 2147483647 h 10000"/>
                <a:gd name="T26" fmla="*/ 2147483647 w 12409"/>
                <a:gd name="T27" fmla="*/ 2147483647 h 10000"/>
                <a:gd name="T28" fmla="*/ 2147483647 w 12409"/>
                <a:gd name="T29" fmla="*/ 2147483647 h 10000"/>
                <a:gd name="T30" fmla="*/ 2147483647 w 12409"/>
                <a:gd name="T31" fmla="*/ 2147483647 h 10000"/>
                <a:gd name="T32" fmla="*/ 2147483647 w 12409"/>
                <a:gd name="T33" fmla="*/ 2147483647 h 10000"/>
                <a:gd name="T34" fmla="*/ 2147483647 w 12409"/>
                <a:gd name="T35" fmla="*/ 2147483647 h 10000"/>
                <a:gd name="T36" fmla="*/ 2147483647 w 12409"/>
                <a:gd name="T37" fmla="*/ 2147483647 h 10000"/>
                <a:gd name="T38" fmla="*/ 2147483647 w 12409"/>
                <a:gd name="T39" fmla="*/ 2147483647 h 10000"/>
                <a:gd name="T40" fmla="*/ 2147483647 w 12409"/>
                <a:gd name="T41" fmla="*/ 2147483647 h 10000"/>
                <a:gd name="T42" fmla="*/ 2147483647 w 12409"/>
                <a:gd name="T43" fmla="*/ 2147483647 h 10000"/>
                <a:gd name="T44" fmla="*/ 2147483647 w 12409"/>
                <a:gd name="T45" fmla="*/ 2147483647 h 10000"/>
                <a:gd name="T46" fmla="*/ 2147483647 w 12409"/>
                <a:gd name="T47" fmla="*/ 2147483647 h 10000"/>
                <a:gd name="T48" fmla="*/ 2147483647 w 12409"/>
                <a:gd name="T49" fmla="*/ 2147483647 h 10000"/>
                <a:gd name="T50" fmla="*/ 2147483647 w 12409"/>
                <a:gd name="T51" fmla="*/ 2147483647 h 10000"/>
                <a:gd name="T52" fmla="*/ 2147483647 w 12409"/>
                <a:gd name="T53" fmla="*/ 2147483647 h 10000"/>
                <a:gd name="T54" fmla="*/ 2147483647 w 12409"/>
                <a:gd name="T55" fmla="*/ 2147483647 h 100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409" h="10000">
                  <a:moveTo>
                    <a:pt x="5286" y="10000"/>
                  </a:moveTo>
                  <a:lnTo>
                    <a:pt x="4844" y="9971"/>
                  </a:lnTo>
                  <a:cubicBezTo>
                    <a:pt x="4742" y="9842"/>
                    <a:pt x="4843" y="9343"/>
                    <a:pt x="4791" y="9139"/>
                  </a:cubicBezTo>
                  <a:cubicBezTo>
                    <a:pt x="4739" y="8935"/>
                    <a:pt x="4881" y="8821"/>
                    <a:pt x="4532" y="8746"/>
                  </a:cubicBezTo>
                  <a:lnTo>
                    <a:pt x="2578" y="8776"/>
                  </a:lnTo>
                  <a:lnTo>
                    <a:pt x="2839" y="9271"/>
                  </a:lnTo>
                  <a:cubicBezTo>
                    <a:pt x="2856" y="9446"/>
                    <a:pt x="2874" y="9621"/>
                    <a:pt x="2891" y="9796"/>
                  </a:cubicBezTo>
                  <a:lnTo>
                    <a:pt x="2630" y="9738"/>
                  </a:lnTo>
                  <a:lnTo>
                    <a:pt x="2057" y="9329"/>
                  </a:lnTo>
                  <a:lnTo>
                    <a:pt x="1302" y="8659"/>
                  </a:lnTo>
                  <a:lnTo>
                    <a:pt x="0" y="5015"/>
                  </a:lnTo>
                  <a:lnTo>
                    <a:pt x="1406" y="3061"/>
                  </a:lnTo>
                  <a:lnTo>
                    <a:pt x="2578" y="2799"/>
                  </a:lnTo>
                  <a:lnTo>
                    <a:pt x="4688" y="379"/>
                  </a:lnTo>
                  <a:cubicBezTo>
                    <a:pt x="5078" y="0"/>
                    <a:pt x="4766" y="466"/>
                    <a:pt x="4870" y="525"/>
                  </a:cubicBezTo>
                  <a:cubicBezTo>
                    <a:pt x="4974" y="583"/>
                    <a:pt x="5182" y="641"/>
                    <a:pt x="5339" y="671"/>
                  </a:cubicBezTo>
                  <a:cubicBezTo>
                    <a:pt x="5495" y="700"/>
                    <a:pt x="5677" y="758"/>
                    <a:pt x="5807" y="700"/>
                  </a:cubicBezTo>
                  <a:lnTo>
                    <a:pt x="6094" y="350"/>
                  </a:lnTo>
                  <a:lnTo>
                    <a:pt x="6719" y="437"/>
                  </a:lnTo>
                  <a:lnTo>
                    <a:pt x="8698" y="1254"/>
                  </a:lnTo>
                  <a:lnTo>
                    <a:pt x="9987" y="2391"/>
                  </a:lnTo>
                  <a:lnTo>
                    <a:pt x="11015" y="3717"/>
                  </a:lnTo>
                  <a:lnTo>
                    <a:pt x="12409" y="5640"/>
                  </a:lnTo>
                  <a:lnTo>
                    <a:pt x="7773" y="9038"/>
                  </a:lnTo>
                  <a:cubicBezTo>
                    <a:pt x="7730" y="9144"/>
                    <a:pt x="7061" y="8639"/>
                    <a:pt x="7018" y="8745"/>
                  </a:cubicBezTo>
                  <a:lnTo>
                    <a:pt x="6641" y="9359"/>
                  </a:lnTo>
                  <a:lnTo>
                    <a:pt x="5365" y="9300"/>
                  </a:lnTo>
                  <a:cubicBezTo>
                    <a:pt x="5339" y="9533"/>
                    <a:pt x="5312" y="9767"/>
                    <a:pt x="5286" y="10000"/>
                  </a:cubicBezTo>
                  <a:close/>
                </a:path>
              </a:pathLst>
            </a:custGeom>
            <a:solidFill>
              <a:srgbClr val="663300"/>
            </a:solidFill>
            <a:ln w="9525" cap="flat" cmpd="sng">
              <a:solidFill>
                <a:srgbClr val="663300"/>
              </a:solidFill>
              <a:prstDash val="solid"/>
              <a:round/>
              <a:headEnd type="none" w="med" len="med"/>
              <a:tailEnd type="none" w="med" len="med"/>
            </a:ln>
          </p:spPr>
          <p:txBody>
            <a:bodyPr lIns="0" tIns="0" rIns="0" bIns="0">
              <a:spAutoFit/>
            </a:bodyPr>
            <a:lstStyle/>
            <a:p>
              <a:endParaRPr lang="de-DE"/>
            </a:p>
          </p:txBody>
        </p:sp>
        <p:sp>
          <p:nvSpPr>
            <p:cNvPr id="101" name="Freeform 1197"/>
            <p:cNvSpPr>
              <a:spLocks/>
            </p:cNvSpPr>
            <p:nvPr/>
          </p:nvSpPr>
          <p:spPr bwMode="auto">
            <a:xfrm>
              <a:off x="1517650" y="5145166"/>
              <a:ext cx="204788" cy="34925"/>
            </a:xfrm>
            <a:custGeom>
              <a:avLst/>
              <a:gdLst>
                <a:gd name="T0" fmla="*/ 2147483647 w 429"/>
                <a:gd name="T1" fmla="*/ 2147483647 h 67"/>
                <a:gd name="T2" fmla="*/ 2147483647 w 429"/>
                <a:gd name="T3" fmla="*/ 2147483647 h 67"/>
                <a:gd name="T4" fmla="*/ 2147483647 w 429"/>
                <a:gd name="T5" fmla="*/ 2147483647 h 67"/>
                <a:gd name="T6" fmla="*/ 2147483647 w 429"/>
                <a:gd name="T7" fmla="*/ 2147483647 h 67"/>
                <a:gd name="T8" fmla="*/ 2147483647 w 429"/>
                <a:gd name="T9" fmla="*/ 2147483647 h 67"/>
                <a:gd name="T10" fmla="*/ 2147483647 w 429"/>
                <a:gd name="T11" fmla="*/ 2147483647 h 67"/>
                <a:gd name="T12" fmla="*/ 2147483647 w 429"/>
                <a:gd name="T13" fmla="*/ 2147483647 h 67"/>
                <a:gd name="T14" fmla="*/ 2147483647 w 429"/>
                <a:gd name="T15" fmla="*/ 2147483647 h 67"/>
                <a:gd name="T16" fmla="*/ 2147483647 w 429"/>
                <a:gd name="T17" fmla="*/ 2147483647 h 67"/>
                <a:gd name="T18" fmla="*/ 2147483647 w 429"/>
                <a:gd name="T19" fmla="*/ 2147483647 h 67"/>
                <a:gd name="T20" fmla="*/ 2147483647 w 429"/>
                <a:gd name="T21" fmla="*/ 2147483647 h 67"/>
                <a:gd name="T22" fmla="*/ 2147483647 w 429"/>
                <a:gd name="T23" fmla="*/ 2147483647 h 67"/>
                <a:gd name="T24" fmla="*/ 2147483647 w 429"/>
                <a:gd name="T25" fmla="*/ 2147483647 h 67"/>
                <a:gd name="T26" fmla="*/ 2147483647 w 429"/>
                <a:gd name="T27" fmla="*/ 2147483647 h 67"/>
                <a:gd name="T28" fmla="*/ 2147483647 w 429"/>
                <a:gd name="T29" fmla="*/ 2147483647 h 67"/>
                <a:gd name="T30" fmla="*/ 2147483647 w 429"/>
                <a:gd name="T31" fmla="*/ 2147483647 h 67"/>
                <a:gd name="T32" fmla="*/ 2147483647 w 429"/>
                <a:gd name="T33" fmla="*/ 2147483647 h 67"/>
                <a:gd name="T34" fmla="*/ 2147483647 w 429"/>
                <a:gd name="T35" fmla="*/ 2147483647 h 67"/>
                <a:gd name="T36" fmla="*/ 2147483647 w 429"/>
                <a:gd name="T37" fmla="*/ 2147483647 h 67"/>
                <a:gd name="T38" fmla="*/ 2147483647 w 429"/>
                <a:gd name="T39" fmla="*/ 2147483647 h 67"/>
                <a:gd name="T40" fmla="*/ 2147483647 w 429"/>
                <a:gd name="T41" fmla="*/ 2147483647 h 67"/>
                <a:gd name="T42" fmla="*/ 2147483647 w 429"/>
                <a:gd name="T43" fmla="*/ 2147483647 h 67"/>
                <a:gd name="T44" fmla="*/ 2147483647 w 429"/>
                <a:gd name="T45" fmla="*/ 2147483647 h 67"/>
                <a:gd name="T46" fmla="*/ 2147483647 w 429"/>
                <a:gd name="T47" fmla="*/ 2147483647 h 67"/>
                <a:gd name="T48" fmla="*/ 2147483647 w 429"/>
                <a:gd name="T49" fmla="*/ 2147483647 h 67"/>
                <a:gd name="T50" fmla="*/ 2147483647 w 429"/>
                <a:gd name="T51" fmla="*/ 2147483647 h 67"/>
                <a:gd name="T52" fmla="*/ 2147483647 w 429"/>
                <a:gd name="T53" fmla="*/ 2147483647 h 6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9"/>
                <a:gd name="T82" fmla="*/ 0 h 67"/>
                <a:gd name="T83" fmla="*/ 429 w 429"/>
                <a:gd name="T84" fmla="*/ 67 h 6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9" h="67">
                  <a:moveTo>
                    <a:pt x="294" y="40"/>
                  </a:moveTo>
                  <a:cubicBezTo>
                    <a:pt x="314" y="40"/>
                    <a:pt x="337" y="40"/>
                    <a:pt x="352" y="37"/>
                  </a:cubicBezTo>
                  <a:cubicBezTo>
                    <a:pt x="367" y="34"/>
                    <a:pt x="375" y="25"/>
                    <a:pt x="384" y="20"/>
                  </a:cubicBezTo>
                  <a:cubicBezTo>
                    <a:pt x="393" y="15"/>
                    <a:pt x="399" y="9"/>
                    <a:pt x="406" y="8"/>
                  </a:cubicBezTo>
                  <a:cubicBezTo>
                    <a:pt x="413" y="7"/>
                    <a:pt x="425" y="10"/>
                    <a:pt x="427" y="13"/>
                  </a:cubicBezTo>
                  <a:cubicBezTo>
                    <a:pt x="429" y="16"/>
                    <a:pt x="427" y="23"/>
                    <a:pt x="421" y="29"/>
                  </a:cubicBezTo>
                  <a:cubicBezTo>
                    <a:pt x="415" y="35"/>
                    <a:pt x="397" y="46"/>
                    <a:pt x="388" y="52"/>
                  </a:cubicBezTo>
                  <a:cubicBezTo>
                    <a:pt x="379" y="58"/>
                    <a:pt x="393" y="63"/>
                    <a:pt x="369" y="65"/>
                  </a:cubicBezTo>
                  <a:cubicBezTo>
                    <a:pt x="345" y="67"/>
                    <a:pt x="281" y="65"/>
                    <a:pt x="244" y="65"/>
                  </a:cubicBezTo>
                  <a:cubicBezTo>
                    <a:pt x="207" y="65"/>
                    <a:pt x="169" y="64"/>
                    <a:pt x="145" y="64"/>
                  </a:cubicBezTo>
                  <a:cubicBezTo>
                    <a:pt x="121" y="64"/>
                    <a:pt x="117" y="67"/>
                    <a:pt x="99" y="67"/>
                  </a:cubicBezTo>
                  <a:cubicBezTo>
                    <a:pt x="81" y="67"/>
                    <a:pt x="52" y="63"/>
                    <a:pt x="39" y="62"/>
                  </a:cubicBezTo>
                  <a:cubicBezTo>
                    <a:pt x="26" y="61"/>
                    <a:pt x="25" y="64"/>
                    <a:pt x="21" y="61"/>
                  </a:cubicBezTo>
                  <a:cubicBezTo>
                    <a:pt x="17" y="58"/>
                    <a:pt x="16" y="48"/>
                    <a:pt x="13" y="43"/>
                  </a:cubicBezTo>
                  <a:cubicBezTo>
                    <a:pt x="10" y="38"/>
                    <a:pt x="2" y="33"/>
                    <a:pt x="1" y="29"/>
                  </a:cubicBezTo>
                  <a:cubicBezTo>
                    <a:pt x="0" y="25"/>
                    <a:pt x="6" y="18"/>
                    <a:pt x="9" y="19"/>
                  </a:cubicBezTo>
                  <a:cubicBezTo>
                    <a:pt x="12" y="20"/>
                    <a:pt x="12" y="31"/>
                    <a:pt x="19" y="35"/>
                  </a:cubicBezTo>
                  <a:cubicBezTo>
                    <a:pt x="26" y="39"/>
                    <a:pt x="40" y="44"/>
                    <a:pt x="54" y="46"/>
                  </a:cubicBezTo>
                  <a:cubicBezTo>
                    <a:pt x="68" y="48"/>
                    <a:pt x="85" y="49"/>
                    <a:pt x="103" y="50"/>
                  </a:cubicBezTo>
                  <a:cubicBezTo>
                    <a:pt x="121" y="51"/>
                    <a:pt x="145" y="54"/>
                    <a:pt x="160" y="53"/>
                  </a:cubicBezTo>
                  <a:cubicBezTo>
                    <a:pt x="175" y="52"/>
                    <a:pt x="189" y="47"/>
                    <a:pt x="195" y="44"/>
                  </a:cubicBezTo>
                  <a:cubicBezTo>
                    <a:pt x="201" y="41"/>
                    <a:pt x="198" y="39"/>
                    <a:pt x="195" y="34"/>
                  </a:cubicBezTo>
                  <a:cubicBezTo>
                    <a:pt x="192" y="29"/>
                    <a:pt x="182" y="21"/>
                    <a:pt x="178" y="16"/>
                  </a:cubicBezTo>
                  <a:cubicBezTo>
                    <a:pt x="174" y="11"/>
                    <a:pt x="165" y="0"/>
                    <a:pt x="172" y="1"/>
                  </a:cubicBezTo>
                  <a:cubicBezTo>
                    <a:pt x="179" y="2"/>
                    <a:pt x="210" y="17"/>
                    <a:pt x="220" y="23"/>
                  </a:cubicBezTo>
                  <a:cubicBezTo>
                    <a:pt x="230" y="29"/>
                    <a:pt x="222" y="35"/>
                    <a:pt x="234" y="37"/>
                  </a:cubicBezTo>
                  <a:cubicBezTo>
                    <a:pt x="246" y="39"/>
                    <a:pt x="274" y="40"/>
                    <a:pt x="294" y="40"/>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02" name="Freeform 1198"/>
            <p:cNvSpPr>
              <a:spLocks/>
            </p:cNvSpPr>
            <p:nvPr/>
          </p:nvSpPr>
          <p:spPr bwMode="auto">
            <a:xfrm>
              <a:off x="1760538" y="5115003"/>
              <a:ext cx="57150" cy="77788"/>
            </a:xfrm>
            <a:custGeom>
              <a:avLst/>
              <a:gdLst>
                <a:gd name="T0" fmla="*/ 2147483647 w 119"/>
                <a:gd name="T1" fmla="*/ 2147483647 h 146"/>
                <a:gd name="T2" fmla="*/ 2147483647 w 119"/>
                <a:gd name="T3" fmla="*/ 2147483647 h 146"/>
                <a:gd name="T4" fmla="*/ 2147483647 w 119"/>
                <a:gd name="T5" fmla="*/ 2147483647 h 146"/>
                <a:gd name="T6" fmla="*/ 2147483647 w 119"/>
                <a:gd name="T7" fmla="*/ 2147483647 h 146"/>
                <a:gd name="T8" fmla="*/ 2147483647 w 119"/>
                <a:gd name="T9" fmla="*/ 2147483647 h 146"/>
                <a:gd name="T10" fmla="*/ 2147483647 w 119"/>
                <a:gd name="T11" fmla="*/ 2147483647 h 146"/>
                <a:gd name="T12" fmla="*/ 2147483647 w 119"/>
                <a:gd name="T13" fmla="*/ 2147483647 h 146"/>
                <a:gd name="T14" fmla="*/ 2147483647 w 119"/>
                <a:gd name="T15" fmla="*/ 2147483647 h 146"/>
                <a:gd name="T16" fmla="*/ 2147483647 w 119"/>
                <a:gd name="T17" fmla="*/ 2147483647 h 146"/>
                <a:gd name="T18" fmla="*/ 2147483647 w 119"/>
                <a:gd name="T19" fmla="*/ 2147483647 h 1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9"/>
                <a:gd name="T31" fmla="*/ 0 h 146"/>
                <a:gd name="T32" fmla="*/ 119 w 119"/>
                <a:gd name="T33" fmla="*/ 146 h 1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9" h="146">
                  <a:moveTo>
                    <a:pt x="28" y="106"/>
                  </a:moveTo>
                  <a:cubicBezTo>
                    <a:pt x="37" y="94"/>
                    <a:pt x="48" y="76"/>
                    <a:pt x="58" y="61"/>
                  </a:cubicBezTo>
                  <a:cubicBezTo>
                    <a:pt x="68" y="46"/>
                    <a:pt x="80" y="23"/>
                    <a:pt x="88" y="13"/>
                  </a:cubicBezTo>
                  <a:cubicBezTo>
                    <a:pt x="96" y="3"/>
                    <a:pt x="99" y="0"/>
                    <a:pt x="104" y="1"/>
                  </a:cubicBezTo>
                  <a:cubicBezTo>
                    <a:pt x="109" y="2"/>
                    <a:pt x="114" y="11"/>
                    <a:pt x="116" y="17"/>
                  </a:cubicBezTo>
                  <a:cubicBezTo>
                    <a:pt x="118" y="23"/>
                    <a:pt x="119" y="30"/>
                    <a:pt x="115" y="40"/>
                  </a:cubicBezTo>
                  <a:cubicBezTo>
                    <a:pt x="111" y="50"/>
                    <a:pt x="105" y="60"/>
                    <a:pt x="94" y="76"/>
                  </a:cubicBezTo>
                  <a:cubicBezTo>
                    <a:pt x="83" y="92"/>
                    <a:pt x="62" y="126"/>
                    <a:pt x="47" y="136"/>
                  </a:cubicBezTo>
                  <a:cubicBezTo>
                    <a:pt x="32" y="146"/>
                    <a:pt x="4" y="141"/>
                    <a:pt x="2" y="136"/>
                  </a:cubicBezTo>
                  <a:cubicBezTo>
                    <a:pt x="0" y="131"/>
                    <a:pt x="19" y="118"/>
                    <a:pt x="28" y="106"/>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03" name="Freeform 1199"/>
            <p:cNvSpPr>
              <a:spLocks/>
            </p:cNvSpPr>
            <p:nvPr/>
          </p:nvSpPr>
          <p:spPr bwMode="auto">
            <a:xfrm>
              <a:off x="1403350" y="5153103"/>
              <a:ext cx="122238" cy="187325"/>
            </a:xfrm>
            <a:custGeom>
              <a:avLst/>
              <a:gdLst>
                <a:gd name="T0" fmla="*/ 2147483647 w 257"/>
                <a:gd name="T1" fmla="*/ 2147483647 h 349"/>
                <a:gd name="T2" fmla="*/ 2147483647 w 257"/>
                <a:gd name="T3" fmla="*/ 2147483647 h 349"/>
                <a:gd name="T4" fmla="*/ 2147483647 w 257"/>
                <a:gd name="T5" fmla="*/ 2147483647 h 349"/>
                <a:gd name="T6" fmla="*/ 2147483647 w 257"/>
                <a:gd name="T7" fmla="*/ 2147483647 h 349"/>
                <a:gd name="T8" fmla="*/ 2147483647 w 257"/>
                <a:gd name="T9" fmla="*/ 2147483647 h 349"/>
                <a:gd name="T10" fmla="*/ 2147483647 w 257"/>
                <a:gd name="T11" fmla="*/ 2147483647 h 349"/>
                <a:gd name="T12" fmla="*/ 2147483647 w 257"/>
                <a:gd name="T13" fmla="*/ 2147483647 h 349"/>
                <a:gd name="T14" fmla="*/ 2147483647 w 257"/>
                <a:gd name="T15" fmla="*/ 2147483647 h 349"/>
                <a:gd name="T16" fmla="*/ 2147483647 w 257"/>
                <a:gd name="T17" fmla="*/ 2147483647 h 349"/>
                <a:gd name="T18" fmla="*/ 2147483647 w 257"/>
                <a:gd name="T19" fmla="*/ 2147483647 h 349"/>
                <a:gd name="T20" fmla="*/ 2147483647 w 257"/>
                <a:gd name="T21" fmla="*/ 2147483647 h 349"/>
                <a:gd name="T22" fmla="*/ 2147483647 w 257"/>
                <a:gd name="T23" fmla="*/ 2147483647 h 349"/>
                <a:gd name="T24" fmla="*/ 2147483647 w 257"/>
                <a:gd name="T25" fmla="*/ 2147483647 h 349"/>
                <a:gd name="T26" fmla="*/ 2147483647 w 257"/>
                <a:gd name="T27" fmla="*/ 2147483647 h 349"/>
                <a:gd name="T28" fmla="*/ 2147483647 w 257"/>
                <a:gd name="T29" fmla="*/ 2147483647 h 349"/>
                <a:gd name="T30" fmla="*/ 2147483647 w 257"/>
                <a:gd name="T31" fmla="*/ 2147483647 h 349"/>
                <a:gd name="T32" fmla="*/ 2147483647 w 257"/>
                <a:gd name="T33" fmla="*/ 2147483647 h 349"/>
                <a:gd name="T34" fmla="*/ 2147483647 w 257"/>
                <a:gd name="T35" fmla="*/ 2147483647 h 349"/>
                <a:gd name="T36" fmla="*/ 2147483647 w 257"/>
                <a:gd name="T37" fmla="*/ 2147483647 h 349"/>
                <a:gd name="T38" fmla="*/ 2147483647 w 257"/>
                <a:gd name="T39" fmla="*/ 2147483647 h 349"/>
                <a:gd name="T40" fmla="*/ 2147483647 w 257"/>
                <a:gd name="T41" fmla="*/ 2147483647 h 349"/>
                <a:gd name="T42" fmla="*/ 2147483647 w 257"/>
                <a:gd name="T43" fmla="*/ 2147483647 h 349"/>
                <a:gd name="T44" fmla="*/ 2147483647 w 257"/>
                <a:gd name="T45" fmla="*/ 2147483647 h 349"/>
                <a:gd name="T46" fmla="*/ 2147483647 w 257"/>
                <a:gd name="T47" fmla="*/ 2147483647 h 349"/>
                <a:gd name="T48" fmla="*/ 2147483647 w 257"/>
                <a:gd name="T49" fmla="*/ 2147483647 h 349"/>
                <a:gd name="T50" fmla="*/ 2147483647 w 257"/>
                <a:gd name="T51" fmla="*/ 2147483647 h 349"/>
                <a:gd name="T52" fmla="*/ 2147483647 w 257"/>
                <a:gd name="T53" fmla="*/ 2147483647 h 349"/>
                <a:gd name="T54" fmla="*/ 2147483647 w 257"/>
                <a:gd name="T55" fmla="*/ 2147483647 h 349"/>
                <a:gd name="T56" fmla="*/ 2147483647 w 257"/>
                <a:gd name="T57" fmla="*/ 2147483647 h 349"/>
                <a:gd name="T58" fmla="*/ 2147483647 w 257"/>
                <a:gd name="T59" fmla="*/ 2147483647 h 349"/>
                <a:gd name="T60" fmla="*/ 2147483647 w 257"/>
                <a:gd name="T61" fmla="*/ 2147483647 h 349"/>
                <a:gd name="T62" fmla="*/ 2147483647 w 257"/>
                <a:gd name="T63" fmla="*/ 2147483647 h 34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57"/>
                <a:gd name="T97" fmla="*/ 0 h 349"/>
                <a:gd name="T98" fmla="*/ 257 w 257"/>
                <a:gd name="T99" fmla="*/ 349 h 34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57" h="349">
                  <a:moveTo>
                    <a:pt x="44" y="338"/>
                  </a:moveTo>
                  <a:cubicBezTo>
                    <a:pt x="32" y="345"/>
                    <a:pt x="18" y="349"/>
                    <a:pt x="12" y="347"/>
                  </a:cubicBezTo>
                  <a:cubicBezTo>
                    <a:pt x="6" y="345"/>
                    <a:pt x="0" y="332"/>
                    <a:pt x="5" y="327"/>
                  </a:cubicBezTo>
                  <a:cubicBezTo>
                    <a:pt x="10" y="322"/>
                    <a:pt x="31" y="321"/>
                    <a:pt x="42" y="314"/>
                  </a:cubicBezTo>
                  <a:cubicBezTo>
                    <a:pt x="53" y="307"/>
                    <a:pt x="62" y="295"/>
                    <a:pt x="72" y="284"/>
                  </a:cubicBezTo>
                  <a:cubicBezTo>
                    <a:pt x="82" y="273"/>
                    <a:pt x="98" y="257"/>
                    <a:pt x="101" y="246"/>
                  </a:cubicBezTo>
                  <a:cubicBezTo>
                    <a:pt x="104" y="235"/>
                    <a:pt x="86" y="229"/>
                    <a:pt x="92" y="215"/>
                  </a:cubicBezTo>
                  <a:cubicBezTo>
                    <a:pt x="98" y="201"/>
                    <a:pt x="128" y="163"/>
                    <a:pt x="140" y="161"/>
                  </a:cubicBezTo>
                  <a:cubicBezTo>
                    <a:pt x="152" y="159"/>
                    <a:pt x="157" y="194"/>
                    <a:pt x="164" y="203"/>
                  </a:cubicBezTo>
                  <a:cubicBezTo>
                    <a:pt x="171" y="212"/>
                    <a:pt x="175" y="216"/>
                    <a:pt x="182" y="218"/>
                  </a:cubicBezTo>
                  <a:cubicBezTo>
                    <a:pt x="189" y="220"/>
                    <a:pt x="198" y="219"/>
                    <a:pt x="206" y="215"/>
                  </a:cubicBezTo>
                  <a:cubicBezTo>
                    <a:pt x="214" y="211"/>
                    <a:pt x="227" y="201"/>
                    <a:pt x="230" y="191"/>
                  </a:cubicBezTo>
                  <a:cubicBezTo>
                    <a:pt x="233" y="181"/>
                    <a:pt x="232" y="171"/>
                    <a:pt x="222" y="156"/>
                  </a:cubicBezTo>
                  <a:cubicBezTo>
                    <a:pt x="212" y="141"/>
                    <a:pt x="184" y="115"/>
                    <a:pt x="168" y="99"/>
                  </a:cubicBezTo>
                  <a:cubicBezTo>
                    <a:pt x="152" y="83"/>
                    <a:pt x="136" y="72"/>
                    <a:pt x="126" y="62"/>
                  </a:cubicBezTo>
                  <a:cubicBezTo>
                    <a:pt x="116" y="52"/>
                    <a:pt x="109" y="46"/>
                    <a:pt x="107" y="36"/>
                  </a:cubicBezTo>
                  <a:cubicBezTo>
                    <a:pt x="105" y="26"/>
                    <a:pt x="112" y="4"/>
                    <a:pt x="116" y="2"/>
                  </a:cubicBezTo>
                  <a:cubicBezTo>
                    <a:pt x="120" y="0"/>
                    <a:pt x="126" y="19"/>
                    <a:pt x="132" y="26"/>
                  </a:cubicBezTo>
                  <a:cubicBezTo>
                    <a:pt x="138" y="33"/>
                    <a:pt x="145" y="36"/>
                    <a:pt x="152" y="44"/>
                  </a:cubicBezTo>
                  <a:cubicBezTo>
                    <a:pt x="159" y="52"/>
                    <a:pt x="168" y="63"/>
                    <a:pt x="177" y="74"/>
                  </a:cubicBezTo>
                  <a:cubicBezTo>
                    <a:pt x="186" y="85"/>
                    <a:pt x="199" y="102"/>
                    <a:pt x="206" y="113"/>
                  </a:cubicBezTo>
                  <a:cubicBezTo>
                    <a:pt x="213" y="124"/>
                    <a:pt x="211" y="129"/>
                    <a:pt x="216" y="137"/>
                  </a:cubicBezTo>
                  <a:cubicBezTo>
                    <a:pt x="221" y="145"/>
                    <a:pt x="227" y="153"/>
                    <a:pt x="233" y="159"/>
                  </a:cubicBezTo>
                  <a:cubicBezTo>
                    <a:pt x="239" y="165"/>
                    <a:pt x="249" y="169"/>
                    <a:pt x="252" y="173"/>
                  </a:cubicBezTo>
                  <a:cubicBezTo>
                    <a:pt x="255" y="177"/>
                    <a:pt x="257" y="180"/>
                    <a:pt x="254" y="186"/>
                  </a:cubicBezTo>
                  <a:cubicBezTo>
                    <a:pt x="251" y="192"/>
                    <a:pt x="240" y="204"/>
                    <a:pt x="234" y="212"/>
                  </a:cubicBezTo>
                  <a:cubicBezTo>
                    <a:pt x="228" y="220"/>
                    <a:pt x="227" y="230"/>
                    <a:pt x="219" y="236"/>
                  </a:cubicBezTo>
                  <a:cubicBezTo>
                    <a:pt x="211" y="242"/>
                    <a:pt x="198" y="246"/>
                    <a:pt x="183" y="249"/>
                  </a:cubicBezTo>
                  <a:cubicBezTo>
                    <a:pt x="168" y="252"/>
                    <a:pt x="143" y="253"/>
                    <a:pt x="131" y="257"/>
                  </a:cubicBezTo>
                  <a:cubicBezTo>
                    <a:pt x="119" y="261"/>
                    <a:pt x="116" y="264"/>
                    <a:pt x="108" y="273"/>
                  </a:cubicBezTo>
                  <a:cubicBezTo>
                    <a:pt x="100" y="282"/>
                    <a:pt x="95" y="298"/>
                    <a:pt x="84" y="309"/>
                  </a:cubicBezTo>
                  <a:cubicBezTo>
                    <a:pt x="73" y="320"/>
                    <a:pt x="52" y="332"/>
                    <a:pt x="44" y="338"/>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04" name="Freeform 1200"/>
            <p:cNvSpPr>
              <a:spLocks/>
            </p:cNvSpPr>
            <p:nvPr/>
          </p:nvSpPr>
          <p:spPr bwMode="auto">
            <a:xfrm>
              <a:off x="742950" y="5043566"/>
              <a:ext cx="1190625" cy="914400"/>
            </a:xfrm>
            <a:custGeom>
              <a:avLst/>
              <a:gdLst>
                <a:gd name="T0" fmla="*/ 0 w 750"/>
                <a:gd name="T1" fmla="*/ 2147483647 h 576"/>
                <a:gd name="T2" fmla="*/ 2147483647 w 750"/>
                <a:gd name="T3" fmla="*/ 2147483647 h 576"/>
                <a:gd name="T4" fmla="*/ 2147483647 w 750"/>
                <a:gd name="T5" fmla="*/ 2147483647 h 576"/>
                <a:gd name="T6" fmla="*/ 2147483647 w 750"/>
                <a:gd name="T7" fmla="*/ 2147483647 h 576"/>
                <a:gd name="T8" fmla="*/ 2147483647 w 750"/>
                <a:gd name="T9" fmla="*/ 2147483647 h 576"/>
                <a:gd name="T10" fmla="*/ 2147483647 w 750"/>
                <a:gd name="T11" fmla="*/ 2147483647 h 576"/>
                <a:gd name="T12" fmla="*/ 2147483647 w 750"/>
                <a:gd name="T13" fmla="*/ 2147483647 h 576"/>
                <a:gd name="T14" fmla="*/ 2147483647 w 750"/>
                <a:gd name="T15" fmla="*/ 2147483647 h 576"/>
                <a:gd name="T16" fmla="*/ 2147483647 w 750"/>
                <a:gd name="T17" fmla="*/ 2147483647 h 576"/>
                <a:gd name="T18" fmla="*/ 2147483647 w 750"/>
                <a:gd name="T19" fmla="*/ 2147483647 h 576"/>
                <a:gd name="T20" fmla="*/ 2147483647 w 750"/>
                <a:gd name="T21" fmla="*/ 2147483647 h 576"/>
                <a:gd name="T22" fmla="*/ 2147483647 w 750"/>
                <a:gd name="T23" fmla="*/ 2147483647 h 576"/>
                <a:gd name="T24" fmla="*/ 2147483647 w 750"/>
                <a:gd name="T25" fmla="*/ 2147483647 h 576"/>
                <a:gd name="T26" fmla="*/ 2147483647 w 750"/>
                <a:gd name="T27" fmla="*/ 2147483647 h 576"/>
                <a:gd name="T28" fmla="*/ 2147483647 w 750"/>
                <a:gd name="T29" fmla="*/ 2147483647 h 576"/>
                <a:gd name="T30" fmla="*/ 2147483647 w 750"/>
                <a:gd name="T31" fmla="*/ 2147483647 h 576"/>
                <a:gd name="T32" fmla="*/ 2147483647 w 750"/>
                <a:gd name="T33" fmla="*/ 2147483647 h 576"/>
                <a:gd name="T34" fmla="*/ 2147483647 w 750"/>
                <a:gd name="T35" fmla="*/ 2147483647 h 576"/>
                <a:gd name="T36" fmla="*/ 2147483647 w 750"/>
                <a:gd name="T37" fmla="*/ 2147483647 h 576"/>
                <a:gd name="T38" fmla="*/ 2147483647 w 750"/>
                <a:gd name="T39" fmla="*/ 2147483647 h 576"/>
                <a:gd name="T40" fmla="*/ 2147483647 w 750"/>
                <a:gd name="T41" fmla="*/ 2147483647 h 576"/>
                <a:gd name="T42" fmla="*/ 2147483647 w 750"/>
                <a:gd name="T43" fmla="*/ 2147483647 h 576"/>
                <a:gd name="T44" fmla="*/ 2147483647 w 750"/>
                <a:gd name="T45" fmla="*/ 2147483647 h 576"/>
                <a:gd name="T46" fmla="*/ 2147483647 w 750"/>
                <a:gd name="T47" fmla="*/ 2147483647 h 576"/>
                <a:gd name="T48" fmla="*/ 2147483647 w 750"/>
                <a:gd name="T49" fmla="*/ 2147483647 h 576"/>
                <a:gd name="T50" fmla="*/ 2147483647 w 750"/>
                <a:gd name="T51" fmla="*/ 2147483647 h 576"/>
                <a:gd name="T52" fmla="*/ 2147483647 w 750"/>
                <a:gd name="T53" fmla="*/ 2147483647 h 576"/>
                <a:gd name="T54" fmla="*/ 2147483647 w 750"/>
                <a:gd name="T55" fmla="*/ 0 h 5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50"/>
                <a:gd name="T85" fmla="*/ 0 h 576"/>
                <a:gd name="T86" fmla="*/ 750 w 750"/>
                <a:gd name="T87" fmla="*/ 576 h 5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50" h="576">
                  <a:moveTo>
                    <a:pt x="0" y="576"/>
                  </a:moveTo>
                  <a:cubicBezTo>
                    <a:pt x="21" y="550"/>
                    <a:pt x="105" y="453"/>
                    <a:pt x="125" y="417"/>
                  </a:cubicBezTo>
                  <a:cubicBezTo>
                    <a:pt x="145" y="381"/>
                    <a:pt x="125" y="377"/>
                    <a:pt x="123" y="361"/>
                  </a:cubicBezTo>
                  <a:cubicBezTo>
                    <a:pt x="121" y="345"/>
                    <a:pt x="112" y="328"/>
                    <a:pt x="114" y="318"/>
                  </a:cubicBezTo>
                  <a:cubicBezTo>
                    <a:pt x="116" y="308"/>
                    <a:pt x="118" y="308"/>
                    <a:pt x="134" y="303"/>
                  </a:cubicBezTo>
                  <a:cubicBezTo>
                    <a:pt x="150" y="298"/>
                    <a:pt x="189" y="285"/>
                    <a:pt x="209" y="285"/>
                  </a:cubicBezTo>
                  <a:cubicBezTo>
                    <a:pt x="229" y="285"/>
                    <a:pt x="237" y="297"/>
                    <a:pt x="256" y="301"/>
                  </a:cubicBezTo>
                  <a:cubicBezTo>
                    <a:pt x="275" y="305"/>
                    <a:pt x="295" y="306"/>
                    <a:pt x="321" y="307"/>
                  </a:cubicBezTo>
                  <a:cubicBezTo>
                    <a:pt x="347" y="308"/>
                    <a:pt x="392" y="310"/>
                    <a:pt x="413" y="309"/>
                  </a:cubicBezTo>
                  <a:cubicBezTo>
                    <a:pt x="434" y="308"/>
                    <a:pt x="438" y="304"/>
                    <a:pt x="450" y="300"/>
                  </a:cubicBezTo>
                  <a:cubicBezTo>
                    <a:pt x="462" y="296"/>
                    <a:pt x="479" y="285"/>
                    <a:pt x="488" y="282"/>
                  </a:cubicBezTo>
                  <a:cubicBezTo>
                    <a:pt x="497" y="279"/>
                    <a:pt x="500" y="281"/>
                    <a:pt x="506" y="279"/>
                  </a:cubicBezTo>
                  <a:cubicBezTo>
                    <a:pt x="512" y="277"/>
                    <a:pt x="519" y="276"/>
                    <a:pt x="527" y="271"/>
                  </a:cubicBezTo>
                  <a:cubicBezTo>
                    <a:pt x="535" y="266"/>
                    <a:pt x="541" y="260"/>
                    <a:pt x="552" y="250"/>
                  </a:cubicBezTo>
                  <a:cubicBezTo>
                    <a:pt x="563" y="240"/>
                    <a:pt x="581" y="218"/>
                    <a:pt x="591" y="210"/>
                  </a:cubicBezTo>
                  <a:cubicBezTo>
                    <a:pt x="601" y="202"/>
                    <a:pt x="606" y="205"/>
                    <a:pt x="612" y="201"/>
                  </a:cubicBezTo>
                  <a:cubicBezTo>
                    <a:pt x="618" y="197"/>
                    <a:pt x="623" y="191"/>
                    <a:pt x="628" y="185"/>
                  </a:cubicBezTo>
                  <a:cubicBezTo>
                    <a:pt x="634" y="179"/>
                    <a:pt x="640" y="168"/>
                    <a:pt x="646" y="164"/>
                  </a:cubicBezTo>
                  <a:cubicBezTo>
                    <a:pt x="652" y="159"/>
                    <a:pt x="659" y="161"/>
                    <a:pt x="665" y="158"/>
                  </a:cubicBezTo>
                  <a:cubicBezTo>
                    <a:pt x="670" y="155"/>
                    <a:pt x="676" y="152"/>
                    <a:pt x="680" y="147"/>
                  </a:cubicBezTo>
                  <a:cubicBezTo>
                    <a:pt x="684" y="142"/>
                    <a:pt x="685" y="135"/>
                    <a:pt x="687" y="129"/>
                  </a:cubicBezTo>
                  <a:cubicBezTo>
                    <a:pt x="689" y="123"/>
                    <a:pt x="690" y="117"/>
                    <a:pt x="693" y="111"/>
                  </a:cubicBezTo>
                  <a:cubicBezTo>
                    <a:pt x="696" y="104"/>
                    <a:pt x="701" y="97"/>
                    <a:pt x="704" y="91"/>
                  </a:cubicBezTo>
                  <a:cubicBezTo>
                    <a:pt x="708" y="84"/>
                    <a:pt x="709" y="78"/>
                    <a:pt x="713" y="72"/>
                  </a:cubicBezTo>
                  <a:cubicBezTo>
                    <a:pt x="717" y="67"/>
                    <a:pt x="725" y="65"/>
                    <a:pt x="730" y="61"/>
                  </a:cubicBezTo>
                  <a:cubicBezTo>
                    <a:pt x="735" y="57"/>
                    <a:pt x="740" y="54"/>
                    <a:pt x="743" y="50"/>
                  </a:cubicBezTo>
                  <a:cubicBezTo>
                    <a:pt x="746" y="47"/>
                    <a:pt x="748" y="47"/>
                    <a:pt x="749" y="39"/>
                  </a:cubicBezTo>
                  <a:cubicBezTo>
                    <a:pt x="750" y="31"/>
                    <a:pt x="749" y="8"/>
                    <a:pt x="749" y="0"/>
                  </a:cubicBezTo>
                </a:path>
              </a:pathLst>
            </a:custGeom>
            <a:noFill/>
            <a:ln w="12700"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105" name="Freeform 1201"/>
            <p:cNvSpPr>
              <a:spLocks/>
            </p:cNvSpPr>
            <p:nvPr/>
          </p:nvSpPr>
          <p:spPr bwMode="auto">
            <a:xfrm>
              <a:off x="1233488" y="2959178"/>
              <a:ext cx="1851025" cy="2590800"/>
            </a:xfrm>
            <a:custGeom>
              <a:avLst/>
              <a:gdLst>
                <a:gd name="T0" fmla="*/ 2147483647 w 1166"/>
                <a:gd name="T1" fmla="*/ 2147483647 h 1632"/>
                <a:gd name="T2" fmla="*/ 2147483647 w 1166"/>
                <a:gd name="T3" fmla="*/ 2147483647 h 1632"/>
                <a:gd name="T4" fmla="*/ 2147483647 w 1166"/>
                <a:gd name="T5" fmla="*/ 2147483647 h 1632"/>
                <a:gd name="T6" fmla="*/ 2147483647 w 1166"/>
                <a:gd name="T7" fmla="*/ 2147483647 h 1632"/>
                <a:gd name="T8" fmla="*/ 2147483647 w 1166"/>
                <a:gd name="T9" fmla="*/ 2147483647 h 1632"/>
                <a:gd name="T10" fmla="*/ 2147483647 w 1166"/>
                <a:gd name="T11" fmla="*/ 2147483647 h 1632"/>
                <a:gd name="T12" fmla="*/ 2147483647 w 1166"/>
                <a:gd name="T13" fmla="*/ 2147483647 h 1632"/>
                <a:gd name="T14" fmla="*/ 2147483647 w 1166"/>
                <a:gd name="T15" fmla="*/ 2147483647 h 1632"/>
                <a:gd name="T16" fmla="*/ 2147483647 w 1166"/>
                <a:gd name="T17" fmla="*/ 2147483647 h 1632"/>
                <a:gd name="T18" fmla="*/ 2147483647 w 1166"/>
                <a:gd name="T19" fmla="*/ 2147483647 h 1632"/>
                <a:gd name="T20" fmla="*/ 2147483647 w 1166"/>
                <a:gd name="T21" fmla="*/ 2147483647 h 1632"/>
                <a:gd name="T22" fmla="*/ 2147483647 w 1166"/>
                <a:gd name="T23" fmla="*/ 2147483647 h 1632"/>
                <a:gd name="T24" fmla="*/ 2147483647 w 1166"/>
                <a:gd name="T25" fmla="*/ 2147483647 h 1632"/>
                <a:gd name="T26" fmla="*/ 2147483647 w 1166"/>
                <a:gd name="T27" fmla="*/ 2147483647 h 1632"/>
                <a:gd name="T28" fmla="*/ 2147483647 w 1166"/>
                <a:gd name="T29" fmla="*/ 2147483647 h 1632"/>
                <a:gd name="T30" fmla="*/ 2147483647 w 1166"/>
                <a:gd name="T31" fmla="*/ 2147483647 h 1632"/>
                <a:gd name="T32" fmla="*/ 2147483647 w 1166"/>
                <a:gd name="T33" fmla="*/ 2147483647 h 1632"/>
                <a:gd name="T34" fmla="*/ 2147483647 w 1166"/>
                <a:gd name="T35" fmla="*/ 2147483647 h 1632"/>
                <a:gd name="T36" fmla="*/ 2147483647 w 1166"/>
                <a:gd name="T37" fmla="*/ 2147483647 h 1632"/>
                <a:gd name="T38" fmla="*/ 2147483647 w 1166"/>
                <a:gd name="T39" fmla="*/ 2147483647 h 1632"/>
                <a:gd name="T40" fmla="*/ 2147483647 w 1166"/>
                <a:gd name="T41" fmla="*/ 2147483647 h 1632"/>
                <a:gd name="T42" fmla="*/ 2147483647 w 1166"/>
                <a:gd name="T43" fmla="*/ 2147483647 h 1632"/>
                <a:gd name="T44" fmla="*/ 2147483647 w 1166"/>
                <a:gd name="T45" fmla="*/ 2147483647 h 1632"/>
                <a:gd name="T46" fmla="*/ 2147483647 w 1166"/>
                <a:gd name="T47" fmla="*/ 2147483647 h 1632"/>
                <a:gd name="T48" fmla="*/ 2147483647 w 1166"/>
                <a:gd name="T49" fmla="*/ 2147483647 h 1632"/>
                <a:gd name="T50" fmla="*/ 2147483647 w 1166"/>
                <a:gd name="T51" fmla="*/ 2147483647 h 1632"/>
                <a:gd name="T52" fmla="*/ 2147483647 w 1166"/>
                <a:gd name="T53" fmla="*/ 2147483647 h 1632"/>
                <a:gd name="T54" fmla="*/ 2147483647 w 1166"/>
                <a:gd name="T55" fmla="*/ 2147483647 h 1632"/>
                <a:gd name="T56" fmla="*/ 2147483647 w 1166"/>
                <a:gd name="T57" fmla="*/ 2147483647 h 1632"/>
                <a:gd name="T58" fmla="*/ 2147483647 w 1166"/>
                <a:gd name="T59" fmla="*/ 2147483647 h 1632"/>
                <a:gd name="T60" fmla="*/ 2147483647 w 1166"/>
                <a:gd name="T61" fmla="*/ 2147483647 h 1632"/>
                <a:gd name="T62" fmla="*/ 2147483647 w 1166"/>
                <a:gd name="T63" fmla="*/ 2147483647 h 1632"/>
                <a:gd name="T64" fmla="*/ 2147483647 w 1166"/>
                <a:gd name="T65" fmla="*/ 2147483647 h 1632"/>
                <a:gd name="T66" fmla="*/ 2147483647 w 1166"/>
                <a:gd name="T67" fmla="*/ 2147483647 h 1632"/>
                <a:gd name="T68" fmla="*/ 2147483647 w 1166"/>
                <a:gd name="T69" fmla="*/ 2147483647 h 1632"/>
                <a:gd name="T70" fmla="*/ 2147483647 w 1166"/>
                <a:gd name="T71" fmla="*/ 2147483647 h 1632"/>
                <a:gd name="T72" fmla="*/ 2147483647 w 1166"/>
                <a:gd name="T73" fmla="*/ 2147483647 h 1632"/>
                <a:gd name="T74" fmla="*/ 0 w 1166"/>
                <a:gd name="T75" fmla="*/ 0 h 163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66"/>
                <a:gd name="T115" fmla="*/ 0 h 1632"/>
                <a:gd name="T116" fmla="*/ 1166 w 1166"/>
                <a:gd name="T117" fmla="*/ 1632 h 163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66" h="1632">
                  <a:moveTo>
                    <a:pt x="1166" y="1632"/>
                  </a:moveTo>
                  <a:cubicBezTo>
                    <a:pt x="1155" y="1618"/>
                    <a:pt x="1123" y="1567"/>
                    <a:pt x="1097" y="1544"/>
                  </a:cubicBezTo>
                  <a:cubicBezTo>
                    <a:pt x="1071" y="1521"/>
                    <a:pt x="1026" y="1504"/>
                    <a:pt x="1008" y="1493"/>
                  </a:cubicBezTo>
                  <a:cubicBezTo>
                    <a:pt x="990" y="1482"/>
                    <a:pt x="994" y="1486"/>
                    <a:pt x="987" y="1478"/>
                  </a:cubicBezTo>
                  <a:cubicBezTo>
                    <a:pt x="980" y="1470"/>
                    <a:pt x="974" y="1459"/>
                    <a:pt x="968" y="1443"/>
                  </a:cubicBezTo>
                  <a:cubicBezTo>
                    <a:pt x="962" y="1427"/>
                    <a:pt x="960" y="1397"/>
                    <a:pt x="951" y="1379"/>
                  </a:cubicBezTo>
                  <a:cubicBezTo>
                    <a:pt x="942" y="1361"/>
                    <a:pt x="919" y="1349"/>
                    <a:pt x="911" y="1336"/>
                  </a:cubicBezTo>
                  <a:cubicBezTo>
                    <a:pt x="903" y="1323"/>
                    <a:pt x="907" y="1310"/>
                    <a:pt x="905" y="1298"/>
                  </a:cubicBezTo>
                  <a:cubicBezTo>
                    <a:pt x="903" y="1286"/>
                    <a:pt x="900" y="1272"/>
                    <a:pt x="896" y="1263"/>
                  </a:cubicBezTo>
                  <a:cubicBezTo>
                    <a:pt x="892" y="1254"/>
                    <a:pt x="888" y="1255"/>
                    <a:pt x="881" y="1245"/>
                  </a:cubicBezTo>
                  <a:cubicBezTo>
                    <a:pt x="874" y="1235"/>
                    <a:pt x="864" y="1213"/>
                    <a:pt x="856" y="1200"/>
                  </a:cubicBezTo>
                  <a:cubicBezTo>
                    <a:pt x="848" y="1187"/>
                    <a:pt x="841" y="1178"/>
                    <a:pt x="834" y="1170"/>
                  </a:cubicBezTo>
                  <a:cubicBezTo>
                    <a:pt x="827" y="1162"/>
                    <a:pt x="818" y="1157"/>
                    <a:pt x="815" y="1151"/>
                  </a:cubicBezTo>
                  <a:cubicBezTo>
                    <a:pt x="812" y="1145"/>
                    <a:pt x="821" y="1137"/>
                    <a:pt x="817" y="1132"/>
                  </a:cubicBezTo>
                  <a:cubicBezTo>
                    <a:pt x="813" y="1127"/>
                    <a:pt x="799" y="1125"/>
                    <a:pt x="789" y="1119"/>
                  </a:cubicBezTo>
                  <a:cubicBezTo>
                    <a:pt x="779" y="1113"/>
                    <a:pt x="770" y="1112"/>
                    <a:pt x="755" y="1098"/>
                  </a:cubicBezTo>
                  <a:cubicBezTo>
                    <a:pt x="740" y="1084"/>
                    <a:pt x="712" y="1051"/>
                    <a:pt x="698" y="1034"/>
                  </a:cubicBezTo>
                  <a:cubicBezTo>
                    <a:pt x="684" y="1017"/>
                    <a:pt x="680" y="1008"/>
                    <a:pt x="669" y="996"/>
                  </a:cubicBezTo>
                  <a:cubicBezTo>
                    <a:pt x="658" y="984"/>
                    <a:pt x="642" y="969"/>
                    <a:pt x="633" y="959"/>
                  </a:cubicBezTo>
                  <a:cubicBezTo>
                    <a:pt x="624" y="949"/>
                    <a:pt x="622" y="941"/>
                    <a:pt x="617" y="933"/>
                  </a:cubicBezTo>
                  <a:cubicBezTo>
                    <a:pt x="612" y="925"/>
                    <a:pt x="610" y="921"/>
                    <a:pt x="603" y="911"/>
                  </a:cubicBezTo>
                  <a:cubicBezTo>
                    <a:pt x="596" y="901"/>
                    <a:pt x="586" y="885"/>
                    <a:pt x="578" y="872"/>
                  </a:cubicBezTo>
                  <a:cubicBezTo>
                    <a:pt x="570" y="859"/>
                    <a:pt x="562" y="842"/>
                    <a:pt x="557" y="830"/>
                  </a:cubicBezTo>
                  <a:cubicBezTo>
                    <a:pt x="552" y="818"/>
                    <a:pt x="553" y="809"/>
                    <a:pt x="549" y="798"/>
                  </a:cubicBezTo>
                  <a:cubicBezTo>
                    <a:pt x="545" y="787"/>
                    <a:pt x="541" y="777"/>
                    <a:pt x="534" y="761"/>
                  </a:cubicBezTo>
                  <a:cubicBezTo>
                    <a:pt x="527" y="745"/>
                    <a:pt x="520" y="721"/>
                    <a:pt x="509" y="705"/>
                  </a:cubicBezTo>
                  <a:cubicBezTo>
                    <a:pt x="498" y="689"/>
                    <a:pt x="483" y="679"/>
                    <a:pt x="470" y="665"/>
                  </a:cubicBezTo>
                  <a:cubicBezTo>
                    <a:pt x="457" y="651"/>
                    <a:pt x="443" y="634"/>
                    <a:pt x="432" y="620"/>
                  </a:cubicBezTo>
                  <a:cubicBezTo>
                    <a:pt x="421" y="606"/>
                    <a:pt x="416" y="595"/>
                    <a:pt x="402" y="579"/>
                  </a:cubicBezTo>
                  <a:cubicBezTo>
                    <a:pt x="388" y="563"/>
                    <a:pt x="367" y="542"/>
                    <a:pt x="348" y="521"/>
                  </a:cubicBezTo>
                  <a:cubicBezTo>
                    <a:pt x="329" y="500"/>
                    <a:pt x="301" y="476"/>
                    <a:pt x="287" y="455"/>
                  </a:cubicBezTo>
                  <a:cubicBezTo>
                    <a:pt x="273" y="434"/>
                    <a:pt x="274" y="417"/>
                    <a:pt x="264" y="396"/>
                  </a:cubicBezTo>
                  <a:cubicBezTo>
                    <a:pt x="254" y="375"/>
                    <a:pt x="239" y="351"/>
                    <a:pt x="228" y="332"/>
                  </a:cubicBezTo>
                  <a:cubicBezTo>
                    <a:pt x="217" y="313"/>
                    <a:pt x="207" y="298"/>
                    <a:pt x="198" y="279"/>
                  </a:cubicBezTo>
                  <a:cubicBezTo>
                    <a:pt x="189" y="260"/>
                    <a:pt x="190" y="242"/>
                    <a:pt x="174" y="218"/>
                  </a:cubicBezTo>
                  <a:cubicBezTo>
                    <a:pt x="158" y="194"/>
                    <a:pt x="123" y="165"/>
                    <a:pt x="99" y="134"/>
                  </a:cubicBezTo>
                  <a:cubicBezTo>
                    <a:pt x="75" y="103"/>
                    <a:pt x="49" y="51"/>
                    <a:pt x="32" y="29"/>
                  </a:cubicBezTo>
                  <a:cubicBezTo>
                    <a:pt x="15" y="7"/>
                    <a:pt x="7" y="6"/>
                    <a:pt x="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106" name="Freeform 1202"/>
            <p:cNvSpPr>
              <a:spLocks/>
            </p:cNvSpPr>
            <p:nvPr/>
          </p:nvSpPr>
          <p:spPr bwMode="auto">
            <a:xfrm>
              <a:off x="611187" y="4550647"/>
              <a:ext cx="392113" cy="919163"/>
            </a:xfrm>
            <a:custGeom>
              <a:avLst/>
              <a:gdLst>
                <a:gd name="T0" fmla="*/ 2147483647 w 247"/>
                <a:gd name="T1" fmla="*/ 2147483647 h 579"/>
                <a:gd name="T2" fmla="*/ 2147483647 w 247"/>
                <a:gd name="T3" fmla="*/ 2147483647 h 579"/>
                <a:gd name="T4" fmla="*/ 2147483647 w 247"/>
                <a:gd name="T5" fmla="*/ 2147483647 h 579"/>
                <a:gd name="T6" fmla="*/ 2147483647 w 247"/>
                <a:gd name="T7" fmla="*/ 2147483647 h 579"/>
                <a:gd name="T8" fmla="*/ 2147483647 w 247"/>
                <a:gd name="T9" fmla="*/ 2147483647 h 579"/>
                <a:gd name="T10" fmla="*/ 2147483647 w 247"/>
                <a:gd name="T11" fmla="*/ 2147483647 h 579"/>
                <a:gd name="T12" fmla="*/ 2147483647 w 247"/>
                <a:gd name="T13" fmla="*/ 2147483647 h 579"/>
                <a:gd name="T14" fmla="*/ 2147483647 w 247"/>
                <a:gd name="T15" fmla="*/ 2147483647 h 579"/>
                <a:gd name="T16" fmla="*/ 2147483647 w 247"/>
                <a:gd name="T17" fmla="*/ 2147483647 h 579"/>
                <a:gd name="T18" fmla="*/ 2147483647 w 247"/>
                <a:gd name="T19" fmla="*/ 2147483647 h 579"/>
                <a:gd name="T20" fmla="*/ 2147483647 w 247"/>
                <a:gd name="T21" fmla="*/ 2147483647 h 579"/>
                <a:gd name="T22" fmla="*/ 2147483647 w 247"/>
                <a:gd name="T23" fmla="*/ 2147483647 h 579"/>
                <a:gd name="T24" fmla="*/ 2147483647 w 247"/>
                <a:gd name="T25" fmla="*/ 2147483647 h 579"/>
                <a:gd name="T26" fmla="*/ 2147483647 w 247"/>
                <a:gd name="T27" fmla="*/ 2147483647 h 579"/>
                <a:gd name="T28" fmla="*/ 2147483647 w 247"/>
                <a:gd name="T29" fmla="*/ 2147483647 h 579"/>
                <a:gd name="T30" fmla="*/ 0 w 247"/>
                <a:gd name="T31" fmla="*/ 2147483647 h 5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7"/>
                <a:gd name="T49" fmla="*/ 0 h 579"/>
                <a:gd name="T50" fmla="*/ 247 w 247"/>
                <a:gd name="T51" fmla="*/ 579 h 57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7" h="579">
                  <a:moveTo>
                    <a:pt x="233" y="579"/>
                  </a:moveTo>
                  <a:cubicBezTo>
                    <a:pt x="235" y="558"/>
                    <a:pt x="245" y="479"/>
                    <a:pt x="246" y="453"/>
                  </a:cubicBezTo>
                  <a:cubicBezTo>
                    <a:pt x="247" y="427"/>
                    <a:pt x="247" y="442"/>
                    <a:pt x="239" y="423"/>
                  </a:cubicBezTo>
                  <a:cubicBezTo>
                    <a:pt x="230" y="404"/>
                    <a:pt x="211" y="364"/>
                    <a:pt x="198" y="337"/>
                  </a:cubicBezTo>
                  <a:cubicBezTo>
                    <a:pt x="184" y="310"/>
                    <a:pt x="167" y="279"/>
                    <a:pt x="158" y="260"/>
                  </a:cubicBezTo>
                  <a:cubicBezTo>
                    <a:pt x="148" y="240"/>
                    <a:pt x="146" y="233"/>
                    <a:pt x="140" y="221"/>
                  </a:cubicBezTo>
                  <a:cubicBezTo>
                    <a:pt x="134" y="210"/>
                    <a:pt x="125" y="203"/>
                    <a:pt x="122" y="191"/>
                  </a:cubicBezTo>
                  <a:cubicBezTo>
                    <a:pt x="120" y="179"/>
                    <a:pt x="124" y="162"/>
                    <a:pt x="122" y="151"/>
                  </a:cubicBezTo>
                  <a:cubicBezTo>
                    <a:pt x="121" y="140"/>
                    <a:pt x="116" y="130"/>
                    <a:pt x="112" y="123"/>
                  </a:cubicBezTo>
                  <a:cubicBezTo>
                    <a:pt x="107" y="117"/>
                    <a:pt x="101" y="114"/>
                    <a:pt x="96" y="110"/>
                  </a:cubicBezTo>
                  <a:cubicBezTo>
                    <a:pt x="91" y="106"/>
                    <a:pt x="88" y="105"/>
                    <a:pt x="80" y="97"/>
                  </a:cubicBezTo>
                  <a:cubicBezTo>
                    <a:pt x="72" y="89"/>
                    <a:pt x="57" y="74"/>
                    <a:pt x="49" y="64"/>
                  </a:cubicBezTo>
                  <a:cubicBezTo>
                    <a:pt x="41" y="54"/>
                    <a:pt x="39" y="45"/>
                    <a:pt x="34" y="37"/>
                  </a:cubicBezTo>
                  <a:cubicBezTo>
                    <a:pt x="28" y="28"/>
                    <a:pt x="21" y="16"/>
                    <a:pt x="17" y="10"/>
                  </a:cubicBezTo>
                  <a:cubicBezTo>
                    <a:pt x="13" y="4"/>
                    <a:pt x="11" y="3"/>
                    <a:pt x="8" y="1"/>
                  </a:cubicBezTo>
                  <a:cubicBezTo>
                    <a:pt x="5" y="0"/>
                    <a:pt x="3" y="1"/>
                    <a:pt x="0" y="2"/>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107" name="Freeform 1203"/>
            <p:cNvSpPr>
              <a:spLocks/>
            </p:cNvSpPr>
            <p:nvPr/>
          </p:nvSpPr>
          <p:spPr bwMode="auto">
            <a:xfrm>
              <a:off x="766763" y="4068841"/>
              <a:ext cx="1079500" cy="652463"/>
            </a:xfrm>
            <a:custGeom>
              <a:avLst/>
              <a:gdLst>
                <a:gd name="T0" fmla="*/ 0 w 680"/>
                <a:gd name="T1" fmla="*/ 2147483647 h 411"/>
                <a:gd name="T2" fmla="*/ 2147483647 w 680"/>
                <a:gd name="T3" fmla="*/ 2147483647 h 411"/>
                <a:gd name="T4" fmla="*/ 2147483647 w 680"/>
                <a:gd name="T5" fmla="*/ 2147483647 h 411"/>
                <a:gd name="T6" fmla="*/ 2147483647 w 680"/>
                <a:gd name="T7" fmla="*/ 2147483647 h 411"/>
                <a:gd name="T8" fmla="*/ 2147483647 w 680"/>
                <a:gd name="T9" fmla="*/ 2147483647 h 411"/>
                <a:gd name="T10" fmla="*/ 2147483647 w 680"/>
                <a:gd name="T11" fmla="*/ 2147483647 h 411"/>
                <a:gd name="T12" fmla="*/ 2147483647 w 680"/>
                <a:gd name="T13" fmla="*/ 2147483647 h 411"/>
                <a:gd name="T14" fmla="*/ 2147483647 w 680"/>
                <a:gd name="T15" fmla="*/ 2147483647 h 411"/>
                <a:gd name="T16" fmla="*/ 2147483647 w 680"/>
                <a:gd name="T17" fmla="*/ 2147483647 h 411"/>
                <a:gd name="T18" fmla="*/ 2147483647 w 680"/>
                <a:gd name="T19" fmla="*/ 2147483647 h 411"/>
                <a:gd name="T20" fmla="*/ 2147483647 w 680"/>
                <a:gd name="T21" fmla="*/ 2147483647 h 411"/>
                <a:gd name="T22" fmla="*/ 2147483647 w 680"/>
                <a:gd name="T23" fmla="*/ 2147483647 h 411"/>
                <a:gd name="T24" fmla="*/ 2147483647 w 680"/>
                <a:gd name="T25" fmla="*/ 2147483647 h 411"/>
                <a:gd name="T26" fmla="*/ 2147483647 w 680"/>
                <a:gd name="T27" fmla="*/ 2147483647 h 411"/>
                <a:gd name="T28" fmla="*/ 2147483647 w 680"/>
                <a:gd name="T29" fmla="*/ 2147483647 h 411"/>
                <a:gd name="T30" fmla="*/ 2147483647 w 680"/>
                <a:gd name="T31" fmla="*/ 2147483647 h 411"/>
                <a:gd name="T32" fmla="*/ 2147483647 w 680"/>
                <a:gd name="T33" fmla="*/ 2147483647 h 411"/>
                <a:gd name="T34" fmla="*/ 2147483647 w 680"/>
                <a:gd name="T35" fmla="*/ 2147483647 h 411"/>
                <a:gd name="T36" fmla="*/ 2147483647 w 680"/>
                <a:gd name="T37" fmla="*/ 2147483647 h 411"/>
                <a:gd name="T38" fmla="*/ 2147483647 w 680"/>
                <a:gd name="T39" fmla="*/ 2147483647 h 411"/>
                <a:gd name="T40" fmla="*/ 2147483647 w 680"/>
                <a:gd name="T41" fmla="*/ 0 h 4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80"/>
                <a:gd name="T64" fmla="*/ 0 h 411"/>
                <a:gd name="T65" fmla="*/ 680 w 680"/>
                <a:gd name="T66" fmla="*/ 411 h 4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80" h="411">
                  <a:moveTo>
                    <a:pt x="0" y="411"/>
                  </a:moveTo>
                  <a:cubicBezTo>
                    <a:pt x="10" y="406"/>
                    <a:pt x="38" y="393"/>
                    <a:pt x="60" y="381"/>
                  </a:cubicBezTo>
                  <a:cubicBezTo>
                    <a:pt x="82" y="369"/>
                    <a:pt x="112" y="352"/>
                    <a:pt x="131" y="339"/>
                  </a:cubicBezTo>
                  <a:cubicBezTo>
                    <a:pt x="150" y="326"/>
                    <a:pt x="160" y="317"/>
                    <a:pt x="178" y="304"/>
                  </a:cubicBezTo>
                  <a:cubicBezTo>
                    <a:pt x="195" y="291"/>
                    <a:pt x="222" y="268"/>
                    <a:pt x="234" y="260"/>
                  </a:cubicBezTo>
                  <a:cubicBezTo>
                    <a:pt x="246" y="252"/>
                    <a:pt x="243" y="258"/>
                    <a:pt x="250" y="256"/>
                  </a:cubicBezTo>
                  <a:cubicBezTo>
                    <a:pt x="256" y="254"/>
                    <a:pt x="265" y="253"/>
                    <a:pt x="272" y="248"/>
                  </a:cubicBezTo>
                  <a:cubicBezTo>
                    <a:pt x="280" y="244"/>
                    <a:pt x="288" y="240"/>
                    <a:pt x="295" y="230"/>
                  </a:cubicBezTo>
                  <a:cubicBezTo>
                    <a:pt x="301" y="220"/>
                    <a:pt x="304" y="200"/>
                    <a:pt x="310" y="190"/>
                  </a:cubicBezTo>
                  <a:cubicBezTo>
                    <a:pt x="316" y="180"/>
                    <a:pt x="320" y="176"/>
                    <a:pt x="330" y="171"/>
                  </a:cubicBezTo>
                  <a:cubicBezTo>
                    <a:pt x="340" y="166"/>
                    <a:pt x="359" y="161"/>
                    <a:pt x="370" y="160"/>
                  </a:cubicBezTo>
                  <a:cubicBezTo>
                    <a:pt x="381" y="158"/>
                    <a:pt x="391" y="161"/>
                    <a:pt x="398" y="161"/>
                  </a:cubicBezTo>
                  <a:cubicBezTo>
                    <a:pt x="404" y="162"/>
                    <a:pt x="405" y="163"/>
                    <a:pt x="409" y="162"/>
                  </a:cubicBezTo>
                  <a:cubicBezTo>
                    <a:pt x="414" y="161"/>
                    <a:pt x="408" y="166"/>
                    <a:pt x="425" y="156"/>
                  </a:cubicBezTo>
                  <a:cubicBezTo>
                    <a:pt x="441" y="145"/>
                    <a:pt x="489" y="113"/>
                    <a:pt x="509" y="100"/>
                  </a:cubicBezTo>
                  <a:cubicBezTo>
                    <a:pt x="530" y="87"/>
                    <a:pt x="535" y="84"/>
                    <a:pt x="546" y="77"/>
                  </a:cubicBezTo>
                  <a:cubicBezTo>
                    <a:pt x="557" y="70"/>
                    <a:pt x="568" y="63"/>
                    <a:pt x="577" y="58"/>
                  </a:cubicBezTo>
                  <a:cubicBezTo>
                    <a:pt x="585" y="53"/>
                    <a:pt x="591" y="52"/>
                    <a:pt x="596" y="49"/>
                  </a:cubicBezTo>
                  <a:cubicBezTo>
                    <a:pt x="601" y="46"/>
                    <a:pt x="602" y="44"/>
                    <a:pt x="610" y="39"/>
                  </a:cubicBezTo>
                  <a:cubicBezTo>
                    <a:pt x="618" y="34"/>
                    <a:pt x="632" y="25"/>
                    <a:pt x="644" y="19"/>
                  </a:cubicBezTo>
                  <a:cubicBezTo>
                    <a:pt x="656" y="12"/>
                    <a:pt x="668" y="6"/>
                    <a:pt x="68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108" name="Freeform 1204"/>
            <p:cNvSpPr>
              <a:spLocks/>
            </p:cNvSpPr>
            <p:nvPr/>
          </p:nvSpPr>
          <p:spPr bwMode="auto">
            <a:xfrm>
              <a:off x="1482725" y="4564141"/>
              <a:ext cx="28575" cy="25400"/>
            </a:xfrm>
            <a:custGeom>
              <a:avLst/>
              <a:gdLst>
                <a:gd name="T0" fmla="*/ 2147483647 w 57"/>
                <a:gd name="T1" fmla="*/ 2147483647 h 48"/>
                <a:gd name="T2" fmla="*/ 0 w 57"/>
                <a:gd name="T3" fmla="*/ 2147483647 h 48"/>
                <a:gd name="T4" fmla="*/ 2147483647 w 57"/>
                <a:gd name="T5" fmla="*/ 2147483647 h 48"/>
                <a:gd name="T6" fmla="*/ 2147483647 w 57"/>
                <a:gd name="T7" fmla="*/ 0 h 48"/>
                <a:gd name="T8" fmla="*/ 2147483647 w 57"/>
                <a:gd name="T9" fmla="*/ 2147483647 h 48"/>
                <a:gd name="T10" fmla="*/ 2147483647 w 57"/>
                <a:gd name="T11" fmla="*/ 2147483647 h 48"/>
                <a:gd name="T12" fmla="*/ 0 60000 65536"/>
                <a:gd name="T13" fmla="*/ 0 60000 65536"/>
                <a:gd name="T14" fmla="*/ 0 60000 65536"/>
                <a:gd name="T15" fmla="*/ 0 60000 65536"/>
                <a:gd name="T16" fmla="*/ 0 60000 65536"/>
                <a:gd name="T17" fmla="*/ 0 60000 65536"/>
                <a:gd name="T18" fmla="*/ 0 w 57"/>
                <a:gd name="T19" fmla="*/ 0 h 48"/>
                <a:gd name="T20" fmla="*/ 57 w 5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57" h="48">
                  <a:moveTo>
                    <a:pt x="51" y="48"/>
                  </a:moveTo>
                  <a:lnTo>
                    <a:pt x="0" y="40"/>
                  </a:lnTo>
                  <a:lnTo>
                    <a:pt x="1" y="22"/>
                  </a:lnTo>
                  <a:lnTo>
                    <a:pt x="6" y="0"/>
                  </a:lnTo>
                  <a:lnTo>
                    <a:pt x="57" y="39"/>
                  </a:lnTo>
                  <a:lnTo>
                    <a:pt x="51" y="48"/>
                  </a:lnTo>
                  <a:close/>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109" name="Freeform 1205"/>
            <p:cNvSpPr>
              <a:spLocks/>
            </p:cNvSpPr>
            <p:nvPr/>
          </p:nvSpPr>
          <p:spPr bwMode="auto">
            <a:xfrm>
              <a:off x="2022475" y="5608716"/>
              <a:ext cx="95250" cy="111125"/>
            </a:xfrm>
            <a:custGeom>
              <a:avLst/>
              <a:gdLst>
                <a:gd name="T0" fmla="*/ 2147483647 w 60"/>
                <a:gd name="T1" fmla="*/ 2147483647 h 70"/>
                <a:gd name="T2" fmla="*/ 2147483647 w 60"/>
                <a:gd name="T3" fmla="*/ 2147483647 h 70"/>
                <a:gd name="T4" fmla="*/ 2147483647 w 60"/>
                <a:gd name="T5" fmla="*/ 2147483647 h 70"/>
                <a:gd name="T6" fmla="*/ 0 w 60"/>
                <a:gd name="T7" fmla="*/ 2147483647 h 70"/>
                <a:gd name="T8" fmla="*/ 2147483647 w 60"/>
                <a:gd name="T9" fmla="*/ 0 h 70"/>
                <a:gd name="T10" fmla="*/ 2147483647 w 60"/>
                <a:gd name="T11" fmla="*/ 2147483647 h 70"/>
                <a:gd name="T12" fmla="*/ 2147483647 w 60"/>
                <a:gd name="T13" fmla="*/ 2147483647 h 70"/>
                <a:gd name="T14" fmla="*/ 0 60000 65536"/>
                <a:gd name="T15" fmla="*/ 0 60000 65536"/>
                <a:gd name="T16" fmla="*/ 0 60000 65536"/>
                <a:gd name="T17" fmla="*/ 0 60000 65536"/>
                <a:gd name="T18" fmla="*/ 0 60000 65536"/>
                <a:gd name="T19" fmla="*/ 0 60000 65536"/>
                <a:gd name="T20" fmla="*/ 0 60000 65536"/>
                <a:gd name="T21" fmla="*/ 0 w 60"/>
                <a:gd name="T22" fmla="*/ 0 h 70"/>
                <a:gd name="T23" fmla="*/ 60 w 60"/>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70">
                  <a:moveTo>
                    <a:pt x="55" y="70"/>
                  </a:moveTo>
                  <a:lnTo>
                    <a:pt x="45" y="60"/>
                  </a:lnTo>
                  <a:lnTo>
                    <a:pt x="6" y="57"/>
                  </a:lnTo>
                  <a:lnTo>
                    <a:pt x="0" y="37"/>
                  </a:lnTo>
                  <a:lnTo>
                    <a:pt x="44" y="0"/>
                  </a:lnTo>
                  <a:lnTo>
                    <a:pt x="60" y="17"/>
                  </a:lnTo>
                  <a:lnTo>
                    <a:pt x="55" y="70"/>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110" name="Freeform 1227"/>
            <p:cNvSpPr>
              <a:spLocks/>
            </p:cNvSpPr>
            <p:nvPr/>
          </p:nvSpPr>
          <p:spPr bwMode="auto">
            <a:xfrm>
              <a:off x="2301875" y="478321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11" name="Freeform 1228"/>
            <p:cNvSpPr>
              <a:spLocks/>
            </p:cNvSpPr>
            <p:nvPr/>
          </p:nvSpPr>
          <p:spPr bwMode="auto">
            <a:xfrm>
              <a:off x="2312988" y="479591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12" name="Freeform 1229"/>
            <p:cNvSpPr>
              <a:spLocks/>
            </p:cNvSpPr>
            <p:nvPr/>
          </p:nvSpPr>
          <p:spPr bwMode="auto">
            <a:xfrm>
              <a:off x="2325688" y="480861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13" name="Freeform 1230"/>
            <p:cNvSpPr>
              <a:spLocks/>
            </p:cNvSpPr>
            <p:nvPr/>
          </p:nvSpPr>
          <p:spPr bwMode="auto">
            <a:xfrm>
              <a:off x="2336800" y="4821316"/>
              <a:ext cx="15875"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14" name="Freeform 1231"/>
            <p:cNvSpPr>
              <a:spLocks/>
            </p:cNvSpPr>
            <p:nvPr/>
          </p:nvSpPr>
          <p:spPr bwMode="auto">
            <a:xfrm>
              <a:off x="2347913" y="4835603"/>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15" name="Freeform 1232"/>
            <p:cNvSpPr>
              <a:spLocks/>
            </p:cNvSpPr>
            <p:nvPr/>
          </p:nvSpPr>
          <p:spPr bwMode="auto">
            <a:xfrm>
              <a:off x="2359025" y="484989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16" name="Freeform 1233"/>
            <p:cNvSpPr>
              <a:spLocks/>
            </p:cNvSpPr>
            <p:nvPr/>
          </p:nvSpPr>
          <p:spPr bwMode="auto">
            <a:xfrm>
              <a:off x="2371725" y="4862591"/>
              <a:ext cx="17463" cy="1905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17" name="Freeform 1234"/>
            <p:cNvSpPr>
              <a:spLocks/>
            </p:cNvSpPr>
            <p:nvPr/>
          </p:nvSpPr>
          <p:spPr bwMode="auto">
            <a:xfrm>
              <a:off x="2382838" y="487846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18" name="Freeform 1235"/>
            <p:cNvSpPr>
              <a:spLocks/>
            </p:cNvSpPr>
            <p:nvPr/>
          </p:nvSpPr>
          <p:spPr bwMode="auto">
            <a:xfrm>
              <a:off x="2395538" y="489116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19" name="Freeform 1236"/>
            <p:cNvSpPr>
              <a:spLocks/>
            </p:cNvSpPr>
            <p:nvPr/>
          </p:nvSpPr>
          <p:spPr bwMode="auto">
            <a:xfrm>
              <a:off x="2406650" y="490386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0" name="Freeform 1237"/>
            <p:cNvSpPr>
              <a:spLocks/>
            </p:cNvSpPr>
            <p:nvPr/>
          </p:nvSpPr>
          <p:spPr bwMode="auto">
            <a:xfrm>
              <a:off x="2417763" y="4916566"/>
              <a:ext cx="17463" cy="1905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1" name="Freeform 1238"/>
            <p:cNvSpPr>
              <a:spLocks/>
            </p:cNvSpPr>
            <p:nvPr/>
          </p:nvSpPr>
          <p:spPr bwMode="auto">
            <a:xfrm>
              <a:off x="2430463" y="4930853"/>
              <a:ext cx="17463" cy="1905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2" name="Freeform 1239"/>
            <p:cNvSpPr>
              <a:spLocks/>
            </p:cNvSpPr>
            <p:nvPr/>
          </p:nvSpPr>
          <p:spPr bwMode="auto">
            <a:xfrm>
              <a:off x="2441575" y="49451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3" name="Freeform 1240"/>
            <p:cNvSpPr>
              <a:spLocks/>
            </p:cNvSpPr>
            <p:nvPr/>
          </p:nvSpPr>
          <p:spPr bwMode="auto">
            <a:xfrm>
              <a:off x="2452688" y="49578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4" name="Freeform 1241"/>
            <p:cNvSpPr>
              <a:spLocks/>
            </p:cNvSpPr>
            <p:nvPr/>
          </p:nvSpPr>
          <p:spPr bwMode="auto">
            <a:xfrm>
              <a:off x="2463800" y="49705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5" name="Freeform 1242"/>
            <p:cNvSpPr>
              <a:spLocks/>
            </p:cNvSpPr>
            <p:nvPr/>
          </p:nvSpPr>
          <p:spPr bwMode="auto">
            <a:xfrm>
              <a:off x="2476500" y="4984828"/>
              <a:ext cx="15875"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6" name="Freeform 1243"/>
            <p:cNvSpPr>
              <a:spLocks/>
            </p:cNvSpPr>
            <p:nvPr/>
          </p:nvSpPr>
          <p:spPr bwMode="auto">
            <a:xfrm rot="1003069">
              <a:off x="2484438" y="499911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7" name="Freeform 1244"/>
            <p:cNvSpPr>
              <a:spLocks/>
            </p:cNvSpPr>
            <p:nvPr/>
          </p:nvSpPr>
          <p:spPr bwMode="auto">
            <a:xfrm rot="5400000">
              <a:off x="2482850" y="501816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8" name="Freeform 1245"/>
            <p:cNvSpPr>
              <a:spLocks/>
            </p:cNvSpPr>
            <p:nvPr/>
          </p:nvSpPr>
          <p:spPr bwMode="auto">
            <a:xfrm rot="5857689">
              <a:off x="2473325" y="5029278"/>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29" name="Freeform 1246"/>
            <p:cNvSpPr>
              <a:spLocks/>
            </p:cNvSpPr>
            <p:nvPr/>
          </p:nvSpPr>
          <p:spPr bwMode="auto">
            <a:xfrm rot="5857689">
              <a:off x="2460625" y="5038803"/>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0" name="Freeform 1247"/>
            <p:cNvSpPr>
              <a:spLocks/>
            </p:cNvSpPr>
            <p:nvPr/>
          </p:nvSpPr>
          <p:spPr bwMode="auto">
            <a:xfrm rot="5857689">
              <a:off x="2446338" y="5048328"/>
              <a:ext cx="20638"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1" name="Freeform 1248"/>
            <p:cNvSpPr>
              <a:spLocks/>
            </p:cNvSpPr>
            <p:nvPr/>
          </p:nvSpPr>
          <p:spPr bwMode="auto">
            <a:xfrm rot="5857689">
              <a:off x="2435225" y="5057853"/>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2" name="Freeform 1249"/>
            <p:cNvSpPr>
              <a:spLocks/>
            </p:cNvSpPr>
            <p:nvPr/>
          </p:nvSpPr>
          <p:spPr bwMode="auto">
            <a:xfrm rot="7784578">
              <a:off x="2420938" y="506579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3" name="Freeform 1250"/>
            <p:cNvSpPr>
              <a:spLocks/>
            </p:cNvSpPr>
            <p:nvPr/>
          </p:nvSpPr>
          <p:spPr bwMode="auto">
            <a:xfrm rot="4772912">
              <a:off x="2405063" y="50753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4" name="Freeform 1251"/>
            <p:cNvSpPr>
              <a:spLocks/>
            </p:cNvSpPr>
            <p:nvPr/>
          </p:nvSpPr>
          <p:spPr bwMode="auto">
            <a:xfrm rot="3179009">
              <a:off x="2397125" y="509119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5" name="Freeform 1252"/>
            <p:cNvSpPr>
              <a:spLocks/>
            </p:cNvSpPr>
            <p:nvPr/>
          </p:nvSpPr>
          <p:spPr bwMode="auto">
            <a:xfrm rot="2072912">
              <a:off x="2400300" y="51102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6" name="Freeform 1253"/>
            <p:cNvSpPr>
              <a:spLocks/>
            </p:cNvSpPr>
            <p:nvPr/>
          </p:nvSpPr>
          <p:spPr bwMode="auto">
            <a:xfrm rot="1472433">
              <a:off x="2405063" y="5127703"/>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7" name="Freeform 1254"/>
            <p:cNvSpPr>
              <a:spLocks/>
            </p:cNvSpPr>
            <p:nvPr/>
          </p:nvSpPr>
          <p:spPr bwMode="auto">
            <a:xfrm rot="1472433">
              <a:off x="2413000" y="5145166"/>
              <a:ext cx="15875"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8" name="Freeform 1255"/>
            <p:cNvSpPr>
              <a:spLocks/>
            </p:cNvSpPr>
            <p:nvPr/>
          </p:nvSpPr>
          <p:spPr bwMode="auto">
            <a:xfrm rot="489061">
              <a:off x="2420938" y="51610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39" name="Freeform 1256"/>
            <p:cNvSpPr>
              <a:spLocks/>
            </p:cNvSpPr>
            <p:nvPr/>
          </p:nvSpPr>
          <p:spPr bwMode="auto">
            <a:xfrm rot="489061">
              <a:off x="2430463" y="5175328"/>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0" name="Freeform 1257"/>
            <p:cNvSpPr>
              <a:spLocks/>
            </p:cNvSpPr>
            <p:nvPr/>
          </p:nvSpPr>
          <p:spPr bwMode="auto">
            <a:xfrm rot="489061">
              <a:off x="2439988" y="5191203"/>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1" name="Freeform 1258"/>
            <p:cNvSpPr>
              <a:spLocks/>
            </p:cNvSpPr>
            <p:nvPr/>
          </p:nvSpPr>
          <p:spPr bwMode="auto">
            <a:xfrm rot="489061">
              <a:off x="2449513" y="520549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2" name="Freeform 1259"/>
            <p:cNvSpPr>
              <a:spLocks/>
            </p:cNvSpPr>
            <p:nvPr/>
          </p:nvSpPr>
          <p:spPr bwMode="auto">
            <a:xfrm rot="4655698">
              <a:off x="2444750" y="522454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3" name="Freeform 1260"/>
            <p:cNvSpPr>
              <a:spLocks/>
            </p:cNvSpPr>
            <p:nvPr/>
          </p:nvSpPr>
          <p:spPr bwMode="auto">
            <a:xfrm rot="4655698">
              <a:off x="2436813" y="5240416"/>
              <a:ext cx="19050" cy="14288"/>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4" name="Freeform 1261"/>
            <p:cNvSpPr>
              <a:spLocks/>
            </p:cNvSpPr>
            <p:nvPr/>
          </p:nvSpPr>
          <p:spPr bwMode="auto">
            <a:xfrm rot="4655698">
              <a:off x="2425700" y="525629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5" name="Freeform 1262"/>
            <p:cNvSpPr>
              <a:spLocks/>
            </p:cNvSpPr>
            <p:nvPr/>
          </p:nvSpPr>
          <p:spPr bwMode="auto">
            <a:xfrm rot="7667364">
              <a:off x="2413000"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6" name="Freeform 1263"/>
            <p:cNvSpPr>
              <a:spLocks/>
            </p:cNvSpPr>
            <p:nvPr/>
          </p:nvSpPr>
          <p:spPr bwMode="auto">
            <a:xfrm rot="7896208">
              <a:off x="2397125"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7" name="Freeform 1264"/>
            <p:cNvSpPr>
              <a:spLocks/>
            </p:cNvSpPr>
            <p:nvPr/>
          </p:nvSpPr>
          <p:spPr bwMode="auto">
            <a:xfrm rot="7896208">
              <a:off x="2381250"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8" name="Freeform 1265"/>
            <p:cNvSpPr>
              <a:spLocks/>
            </p:cNvSpPr>
            <p:nvPr/>
          </p:nvSpPr>
          <p:spPr bwMode="auto">
            <a:xfrm rot="7896208">
              <a:off x="2365375"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49" name="Freeform 1266"/>
            <p:cNvSpPr>
              <a:spLocks/>
            </p:cNvSpPr>
            <p:nvPr/>
          </p:nvSpPr>
          <p:spPr bwMode="auto">
            <a:xfrm rot="7896208">
              <a:off x="2347913"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0" name="Freeform 1267"/>
            <p:cNvSpPr>
              <a:spLocks/>
            </p:cNvSpPr>
            <p:nvPr/>
          </p:nvSpPr>
          <p:spPr bwMode="auto">
            <a:xfrm rot="7896208">
              <a:off x="2332038"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1" name="Freeform 1268"/>
            <p:cNvSpPr>
              <a:spLocks/>
            </p:cNvSpPr>
            <p:nvPr/>
          </p:nvSpPr>
          <p:spPr bwMode="auto">
            <a:xfrm rot="7896208">
              <a:off x="2314575"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2" name="Freeform 1269"/>
            <p:cNvSpPr>
              <a:spLocks/>
            </p:cNvSpPr>
            <p:nvPr/>
          </p:nvSpPr>
          <p:spPr bwMode="auto">
            <a:xfrm rot="7896208">
              <a:off x="2298700"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3" name="Freeform 1270"/>
            <p:cNvSpPr>
              <a:spLocks/>
            </p:cNvSpPr>
            <p:nvPr/>
          </p:nvSpPr>
          <p:spPr bwMode="auto">
            <a:xfrm rot="7896208">
              <a:off x="2281238"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4" name="Freeform 1271"/>
            <p:cNvSpPr>
              <a:spLocks/>
            </p:cNvSpPr>
            <p:nvPr/>
          </p:nvSpPr>
          <p:spPr bwMode="auto">
            <a:xfrm rot="7896208">
              <a:off x="2268538"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5" name="Freeform 1272"/>
            <p:cNvSpPr>
              <a:spLocks/>
            </p:cNvSpPr>
            <p:nvPr/>
          </p:nvSpPr>
          <p:spPr bwMode="auto">
            <a:xfrm rot="7896208">
              <a:off x="2251075"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6" name="Freeform 1273"/>
            <p:cNvSpPr>
              <a:spLocks/>
            </p:cNvSpPr>
            <p:nvPr/>
          </p:nvSpPr>
          <p:spPr bwMode="auto">
            <a:xfrm rot="7896208">
              <a:off x="2233613"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7" name="Freeform 1274"/>
            <p:cNvSpPr>
              <a:spLocks/>
            </p:cNvSpPr>
            <p:nvPr/>
          </p:nvSpPr>
          <p:spPr bwMode="auto">
            <a:xfrm rot="7896208">
              <a:off x="2217738" y="526581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8" name="Freeform 1275"/>
            <p:cNvSpPr>
              <a:spLocks/>
            </p:cNvSpPr>
            <p:nvPr/>
          </p:nvSpPr>
          <p:spPr bwMode="auto">
            <a:xfrm rot="7896208">
              <a:off x="2201863" y="5267403"/>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59" name="Freeform 1276"/>
            <p:cNvSpPr>
              <a:spLocks/>
            </p:cNvSpPr>
            <p:nvPr/>
          </p:nvSpPr>
          <p:spPr bwMode="auto">
            <a:xfrm rot="7896208">
              <a:off x="2187575" y="5267403"/>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0" name="Freeform 1277"/>
            <p:cNvSpPr>
              <a:spLocks/>
            </p:cNvSpPr>
            <p:nvPr/>
          </p:nvSpPr>
          <p:spPr bwMode="auto">
            <a:xfrm rot="7896208">
              <a:off x="2174875" y="5267403"/>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1" name="Freeform 1278"/>
            <p:cNvSpPr>
              <a:spLocks/>
            </p:cNvSpPr>
            <p:nvPr/>
          </p:nvSpPr>
          <p:spPr bwMode="auto">
            <a:xfrm rot="7896208">
              <a:off x="2160588" y="526899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2" name="Freeform 1279"/>
            <p:cNvSpPr>
              <a:spLocks/>
            </p:cNvSpPr>
            <p:nvPr/>
          </p:nvSpPr>
          <p:spPr bwMode="auto">
            <a:xfrm rot="7896208">
              <a:off x="2146300" y="526899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3" name="Freeform 1280"/>
            <p:cNvSpPr>
              <a:spLocks/>
            </p:cNvSpPr>
            <p:nvPr/>
          </p:nvSpPr>
          <p:spPr bwMode="auto">
            <a:xfrm rot="9247772">
              <a:off x="2132013" y="526581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4" name="Freeform 1281"/>
            <p:cNvSpPr>
              <a:spLocks/>
            </p:cNvSpPr>
            <p:nvPr/>
          </p:nvSpPr>
          <p:spPr bwMode="auto">
            <a:xfrm rot="-9971397">
              <a:off x="2119313" y="5256291"/>
              <a:ext cx="15875"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5" name="Freeform 1282"/>
            <p:cNvSpPr>
              <a:spLocks/>
            </p:cNvSpPr>
            <p:nvPr/>
          </p:nvSpPr>
          <p:spPr bwMode="auto">
            <a:xfrm rot="-9971397">
              <a:off x="2111375" y="524041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6" name="Freeform 1283"/>
            <p:cNvSpPr>
              <a:spLocks/>
            </p:cNvSpPr>
            <p:nvPr/>
          </p:nvSpPr>
          <p:spPr bwMode="auto">
            <a:xfrm rot="-9971397">
              <a:off x="2103438" y="522136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7" name="Freeform 1284"/>
            <p:cNvSpPr>
              <a:spLocks/>
            </p:cNvSpPr>
            <p:nvPr/>
          </p:nvSpPr>
          <p:spPr bwMode="auto">
            <a:xfrm rot="-9971397">
              <a:off x="2097088" y="5203903"/>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8" name="Freeform 1285"/>
            <p:cNvSpPr>
              <a:spLocks/>
            </p:cNvSpPr>
            <p:nvPr/>
          </p:nvSpPr>
          <p:spPr bwMode="auto">
            <a:xfrm rot="-6464252">
              <a:off x="2093913" y="5184853"/>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69" name="Freeform 1286"/>
            <p:cNvSpPr>
              <a:spLocks/>
            </p:cNvSpPr>
            <p:nvPr/>
          </p:nvSpPr>
          <p:spPr bwMode="auto">
            <a:xfrm rot="-5069341">
              <a:off x="2105025" y="5168978"/>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0" name="Freeform 1287"/>
            <p:cNvSpPr>
              <a:spLocks/>
            </p:cNvSpPr>
            <p:nvPr/>
          </p:nvSpPr>
          <p:spPr bwMode="auto">
            <a:xfrm rot="-5069341">
              <a:off x="2116138" y="5159453"/>
              <a:ext cx="20638"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1" name="Freeform 1288"/>
            <p:cNvSpPr>
              <a:spLocks/>
            </p:cNvSpPr>
            <p:nvPr/>
          </p:nvSpPr>
          <p:spPr bwMode="auto">
            <a:xfrm rot="-8505227">
              <a:off x="2124075" y="5140403"/>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2" name="Freeform 1289"/>
            <p:cNvSpPr>
              <a:spLocks/>
            </p:cNvSpPr>
            <p:nvPr/>
          </p:nvSpPr>
          <p:spPr bwMode="auto">
            <a:xfrm rot="-8505227">
              <a:off x="2124075" y="51229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3" name="Freeform 1290"/>
            <p:cNvSpPr>
              <a:spLocks/>
            </p:cNvSpPr>
            <p:nvPr/>
          </p:nvSpPr>
          <p:spPr bwMode="auto">
            <a:xfrm rot="10394773">
              <a:off x="2116138" y="5105478"/>
              <a:ext cx="17463" cy="1905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4" name="Freeform 1291"/>
            <p:cNvSpPr>
              <a:spLocks/>
            </p:cNvSpPr>
            <p:nvPr/>
          </p:nvSpPr>
          <p:spPr bwMode="auto">
            <a:xfrm rot="10394773">
              <a:off x="2103438" y="5095953"/>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5" name="Freeform 1292"/>
            <p:cNvSpPr>
              <a:spLocks/>
            </p:cNvSpPr>
            <p:nvPr/>
          </p:nvSpPr>
          <p:spPr bwMode="auto">
            <a:xfrm rot="10394773">
              <a:off x="2090738" y="50848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6" name="Freeform 1293"/>
            <p:cNvSpPr>
              <a:spLocks/>
            </p:cNvSpPr>
            <p:nvPr/>
          </p:nvSpPr>
          <p:spPr bwMode="auto">
            <a:xfrm rot="10165928">
              <a:off x="2076450" y="50721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7" name="Freeform 1294"/>
            <p:cNvSpPr>
              <a:spLocks/>
            </p:cNvSpPr>
            <p:nvPr/>
          </p:nvSpPr>
          <p:spPr bwMode="auto">
            <a:xfrm rot="10165928">
              <a:off x="2063750" y="506261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8" name="Freeform 1295"/>
            <p:cNvSpPr>
              <a:spLocks/>
            </p:cNvSpPr>
            <p:nvPr/>
          </p:nvSpPr>
          <p:spPr bwMode="auto">
            <a:xfrm rot="9487332">
              <a:off x="2049463" y="5051503"/>
              <a:ext cx="17463" cy="1905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79" name="Freeform 1296"/>
            <p:cNvSpPr>
              <a:spLocks/>
            </p:cNvSpPr>
            <p:nvPr/>
          </p:nvSpPr>
          <p:spPr bwMode="auto">
            <a:xfrm rot="9487332">
              <a:off x="2033588" y="504356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80" name="Freeform 1297"/>
            <p:cNvSpPr>
              <a:spLocks/>
            </p:cNvSpPr>
            <p:nvPr/>
          </p:nvSpPr>
          <p:spPr bwMode="auto">
            <a:xfrm rot="9487332">
              <a:off x="2019300" y="50340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81" name="Freeform 1298"/>
            <p:cNvSpPr>
              <a:spLocks/>
            </p:cNvSpPr>
            <p:nvPr/>
          </p:nvSpPr>
          <p:spPr bwMode="auto">
            <a:xfrm rot="9487332">
              <a:off x="2005013" y="5026103"/>
              <a:ext cx="15875"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82" name="Freeform 1299"/>
            <p:cNvSpPr>
              <a:spLocks/>
            </p:cNvSpPr>
            <p:nvPr/>
          </p:nvSpPr>
          <p:spPr bwMode="auto">
            <a:xfrm rot="9487332">
              <a:off x="1989138" y="501816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83" name="Freeform 1300"/>
            <p:cNvSpPr>
              <a:spLocks/>
            </p:cNvSpPr>
            <p:nvPr/>
          </p:nvSpPr>
          <p:spPr bwMode="auto">
            <a:xfrm>
              <a:off x="1508125" y="4976891"/>
              <a:ext cx="220663" cy="303213"/>
            </a:xfrm>
            <a:custGeom>
              <a:avLst/>
              <a:gdLst>
                <a:gd name="T0" fmla="*/ 2147483647 w 139"/>
                <a:gd name="T1" fmla="*/ 2147483647 h 191"/>
                <a:gd name="T2" fmla="*/ 2147483647 w 139"/>
                <a:gd name="T3" fmla="*/ 2147483647 h 191"/>
                <a:gd name="T4" fmla="*/ 2147483647 w 139"/>
                <a:gd name="T5" fmla="*/ 2147483647 h 191"/>
                <a:gd name="T6" fmla="*/ 2147483647 w 139"/>
                <a:gd name="T7" fmla="*/ 2147483647 h 191"/>
                <a:gd name="T8" fmla="*/ 2147483647 w 139"/>
                <a:gd name="T9" fmla="*/ 2147483647 h 191"/>
                <a:gd name="T10" fmla="*/ 2147483647 w 139"/>
                <a:gd name="T11" fmla="*/ 2147483647 h 191"/>
                <a:gd name="T12" fmla="*/ 2147483647 w 139"/>
                <a:gd name="T13" fmla="*/ 2147483647 h 191"/>
                <a:gd name="T14" fmla="*/ 2147483647 w 139"/>
                <a:gd name="T15" fmla="*/ 2147483647 h 191"/>
                <a:gd name="T16" fmla="*/ 2147483647 w 139"/>
                <a:gd name="T17" fmla="*/ 2147483647 h 191"/>
                <a:gd name="T18" fmla="*/ 2147483647 w 139"/>
                <a:gd name="T19" fmla="*/ 2147483647 h 191"/>
                <a:gd name="T20" fmla="*/ 2147483647 w 139"/>
                <a:gd name="T21" fmla="*/ 2147483647 h 191"/>
                <a:gd name="T22" fmla="*/ 0 w 139"/>
                <a:gd name="T23" fmla="*/ 2147483647 h 191"/>
                <a:gd name="T24" fmla="*/ 2147483647 w 139"/>
                <a:gd name="T25" fmla="*/ 0 h 191"/>
                <a:gd name="T26" fmla="*/ 2147483647 w 139"/>
                <a:gd name="T27" fmla="*/ 2147483647 h 191"/>
                <a:gd name="T28" fmla="*/ 2147483647 w 139"/>
                <a:gd name="T29" fmla="*/ 2147483647 h 191"/>
                <a:gd name="T30" fmla="*/ 2147483647 w 139"/>
                <a:gd name="T31" fmla="*/ 2147483647 h 191"/>
                <a:gd name="T32" fmla="*/ 2147483647 w 139"/>
                <a:gd name="T33" fmla="*/ 2147483647 h 191"/>
                <a:gd name="T34" fmla="*/ 2147483647 w 139"/>
                <a:gd name="T35" fmla="*/ 2147483647 h 191"/>
                <a:gd name="T36" fmla="*/ 2147483647 w 139"/>
                <a:gd name="T37" fmla="*/ 2147483647 h 191"/>
                <a:gd name="T38" fmla="*/ 2147483647 w 139"/>
                <a:gd name="T39" fmla="*/ 2147483647 h 19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9"/>
                <a:gd name="T61" fmla="*/ 0 h 191"/>
                <a:gd name="T62" fmla="*/ 139 w 139"/>
                <a:gd name="T63" fmla="*/ 191 h 19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9" h="191">
                  <a:moveTo>
                    <a:pt x="139" y="39"/>
                  </a:moveTo>
                  <a:lnTo>
                    <a:pt x="138" y="100"/>
                  </a:lnTo>
                  <a:lnTo>
                    <a:pt x="127" y="107"/>
                  </a:lnTo>
                  <a:lnTo>
                    <a:pt x="57" y="99"/>
                  </a:lnTo>
                  <a:lnTo>
                    <a:pt x="28" y="182"/>
                  </a:lnTo>
                  <a:lnTo>
                    <a:pt x="46" y="177"/>
                  </a:lnTo>
                  <a:lnTo>
                    <a:pt x="46" y="184"/>
                  </a:lnTo>
                  <a:lnTo>
                    <a:pt x="16" y="191"/>
                  </a:lnTo>
                  <a:lnTo>
                    <a:pt x="50" y="92"/>
                  </a:lnTo>
                  <a:lnTo>
                    <a:pt x="33" y="72"/>
                  </a:lnTo>
                  <a:lnTo>
                    <a:pt x="3" y="72"/>
                  </a:lnTo>
                  <a:lnTo>
                    <a:pt x="0" y="30"/>
                  </a:lnTo>
                  <a:lnTo>
                    <a:pt x="24" y="0"/>
                  </a:lnTo>
                  <a:lnTo>
                    <a:pt x="52" y="24"/>
                  </a:lnTo>
                  <a:lnTo>
                    <a:pt x="71" y="1"/>
                  </a:lnTo>
                  <a:lnTo>
                    <a:pt x="80" y="11"/>
                  </a:lnTo>
                  <a:lnTo>
                    <a:pt x="87" y="11"/>
                  </a:lnTo>
                  <a:lnTo>
                    <a:pt x="105" y="26"/>
                  </a:lnTo>
                  <a:lnTo>
                    <a:pt x="124" y="40"/>
                  </a:lnTo>
                  <a:lnTo>
                    <a:pt x="139" y="39"/>
                  </a:lnTo>
                  <a:close/>
                </a:path>
              </a:pathLst>
            </a:custGeom>
            <a:solidFill>
              <a:srgbClr val="663300"/>
            </a:solidFill>
            <a:ln w="9525" cap="flat" cmpd="sng">
              <a:solidFill>
                <a:srgbClr val="663300"/>
              </a:solidFill>
              <a:prstDash val="solid"/>
              <a:round/>
              <a:headEnd type="none" w="med" len="med"/>
              <a:tailEnd type="none" w="med" len="med"/>
            </a:ln>
          </p:spPr>
          <p:txBody>
            <a:bodyPr wrap="none" lIns="0" tIns="0" rIns="0" bIns="0">
              <a:spAutoFit/>
            </a:bodyPr>
            <a:lstStyle/>
            <a:p>
              <a:endParaRPr lang="de-DE"/>
            </a:p>
          </p:txBody>
        </p:sp>
        <p:sp>
          <p:nvSpPr>
            <p:cNvPr id="184" name="Freeform 1301"/>
            <p:cNvSpPr>
              <a:spLocks/>
            </p:cNvSpPr>
            <p:nvPr/>
          </p:nvSpPr>
          <p:spPr bwMode="auto">
            <a:xfrm>
              <a:off x="1433513" y="4391103"/>
              <a:ext cx="569913" cy="661988"/>
            </a:xfrm>
            <a:custGeom>
              <a:avLst/>
              <a:gdLst>
                <a:gd name="T0" fmla="*/ 2147483647 w 359"/>
                <a:gd name="T1" fmla="*/ 2147483647 h 417"/>
                <a:gd name="T2" fmla="*/ 2147483647 w 359"/>
                <a:gd name="T3" fmla="*/ 2147483647 h 417"/>
                <a:gd name="T4" fmla="*/ 2147483647 w 359"/>
                <a:gd name="T5" fmla="*/ 2147483647 h 417"/>
                <a:gd name="T6" fmla="*/ 2147483647 w 359"/>
                <a:gd name="T7" fmla="*/ 2147483647 h 417"/>
                <a:gd name="T8" fmla="*/ 2147483647 w 359"/>
                <a:gd name="T9" fmla="*/ 2147483647 h 417"/>
                <a:gd name="T10" fmla="*/ 2147483647 w 359"/>
                <a:gd name="T11" fmla="*/ 2147483647 h 417"/>
                <a:gd name="T12" fmla="*/ 2147483647 w 359"/>
                <a:gd name="T13" fmla="*/ 2147483647 h 417"/>
                <a:gd name="T14" fmla="*/ 2147483647 w 359"/>
                <a:gd name="T15" fmla="*/ 2147483647 h 417"/>
                <a:gd name="T16" fmla="*/ 2147483647 w 359"/>
                <a:gd name="T17" fmla="*/ 2147483647 h 417"/>
                <a:gd name="T18" fmla="*/ 2147483647 w 359"/>
                <a:gd name="T19" fmla="*/ 2147483647 h 417"/>
                <a:gd name="T20" fmla="*/ 2147483647 w 359"/>
                <a:gd name="T21" fmla="*/ 2147483647 h 417"/>
                <a:gd name="T22" fmla="*/ 2147483647 w 359"/>
                <a:gd name="T23" fmla="*/ 2147483647 h 417"/>
                <a:gd name="T24" fmla="*/ 2147483647 w 359"/>
                <a:gd name="T25" fmla="*/ 2147483647 h 417"/>
                <a:gd name="T26" fmla="*/ 2147483647 w 359"/>
                <a:gd name="T27" fmla="*/ 2147483647 h 417"/>
                <a:gd name="T28" fmla="*/ 2147483647 w 359"/>
                <a:gd name="T29" fmla="*/ 2147483647 h 417"/>
                <a:gd name="T30" fmla="*/ 2147483647 w 359"/>
                <a:gd name="T31" fmla="*/ 2147483647 h 417"/>
                <a:gd name="T32" fmla="*/ 2147483647 w 359"/>
                <a:gd name="T33" fmla="*/ 2147483647 h 417"/>
                <a:gd name="T34" fmla="*/ 2147483647 w 359"/>
                <a:gd name="T35" fmla="*/ 2147483647 h 417"/>
                <a:gd name="T36" fmla="*/ 2147483647 w 359"/>
                <a:gd name="T37" fmla="*/ 2147483647 h 417"/>
                <a:gd name="T38" fmla="*/ 2147483647 w 359"/>
                <a:gd name="T39" fmla="*/ 2147483647 h 417"/>
                <a:gd name="T40" fmla="*/ 2147483647 w 359"/>
                <a:gd name="T41" fmla="*/ 2147483647 h 417"/>
                <a:gd name="T42" fmla="*/ 2147483647 w 359"/>
                <a:gd name="T43" fmla="*/ 2147483647 h 417"/>
                <a:gd name="T44" fmla="*/ 2147483647 w 359"/>
                <a:gd name="T45" fmla="*/ 2147483647 h 417"/>
                <a:gd name="T46" fmla="*/ 2147483647 w 359"/>
                <a:gd name="T47" fmla="*/ 2147483647 h 417"/>
                <a:gd name="T48" fmla="*/ 2147483647 w 359"/>
                <a:gd name="T49" fmla="*/ 2147483647 h 417"/>
                <a:gd name="T50" fmla="*/ 2147483647 w 359"/>
                <a:gd name="T51" fmla="*/ 2147483647 h 417"/>
                <a:gd name="T52" fmla="*/ 2147483647 w 359"/>
                <a:gd name="T53" fmla="*/ 2147483647 h 417"/>
                <a:gd name="T54" fmla="*/ 2147483647 w 359"/>
                <a:gd name="T55" fmla="*/ 2147483647 h 417"/>
                <a:gd name="T56" fmla="*/ 2147483647 w 359"/>
                <a:gd name="T57" fmla="*/ 2147483647 h 417"/>
                <a:gd name="T58" fmla="*/ 2147483647 w 359"/>
                <a:gd name="T59" fmla="*/ 2147483647 h 417"/>
                <a:gd name="T60" fmla="*/ 2147483647 w 359"/>
                <a:gd name="T61" fmla="*/ 2147483647 h 417"/>
                <a:gd name="T62" fmla="*/ 2147483647 w 359"/>
                <a:gd name="T63" fmla="*/ 2147483647 h 417"/>
                <a:gd name="T64" fmla="*/ 2147483647 w 359"/>
                <a:gd name="T65" fmla="*/ 2147483647 h 417"/>
                <a:gd name="T66" fmla="*/ 2147483647 w 359"/>
                <a:gd name="T67" fmla="*/ 2147483647 h 417"/>
                <a:gd name="T68" fmla="*/ 2147483647 w 359"/>
                <a:gd name="T69" fmla="*/ 2147483647 h 417"/>
                <a:gd name="T70" fmla="*/ 2147483647 w 359"/>
                <a:gd name="T71" fmla="*/ 2147483647 h 417"/>
                <a:gd name="T72" fmla="*/ 2147483647 w 359"/>
                <a:gd name="T73" fmla="*/ 2147483647 h 417"/>
                <a:gd name="T74" fmla="*/ 2147483647 w 359"/>
                <a:gd name="T75" fmla="*/ 2147483647 h 417"/>
                <a:gd name="T76" fmla="*/ 2147483647 w 359"/>
                <a:gd name="T77" fmla="*/ 2147483647 h 417"/>
                <a:gd name="T78" fmla="*/ 2147483647 w 359"/>
                <a:gd name="T79" fmla="*/ 2147483647 h 417"/>
                <a:gd name="T80" fmla="*/ 2147483647 w 359"/>
                <a:gd name="T81" fmla="*/ 2147483647 h 417"/>
                <a:gd name="T82" fmla="*/ 2147483647 w 359"/>
                <a:gd name="T83" fmla="*/ 2147483647 h 417"/>
                <a:gd name="T84" fmla="*/ 2147483647 w 359"/>
                <a:gd name="T85" fmla="*/ 2147483647 h 417"/>
                <a:gd name="T86" fmla="*/ 2147483647 w 359"/>
                <a:gd name="T87" fmla="*/ 2147483647 h 417"/>
                <a:gd name="T88" fmla="*/ 2147483647 w 359"/>
                <a:gd name="T89" fmla="*/ 2147483647 h 417"/>
                <a:gd name="T90" fmla="*/ 2147483647 w 359"/>
                <a:gd name="T91" fmla="*/ 2147483647 h 41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59"/>
                <a:gd name="T139" fmla="*/ 0 h 417"/>
                <a:gd name="T140" fmla="*/ 359 w 359"/>
                <a:gd name="T141" fmla="*/ 417 h 41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59" h="417">
                  <a:moveTo>
                    <a:pt x="347" y="411"/>
                  </a:moveTo>
                  <a:cubicBezTo>
                    <a:pt x="342" y="413"/>
                    <a:pt x="322" y="411"/>
                    <a:pt x="316" y="412"/>
                  </a:cubicBezTo>
                  <a:cubicBezTo>
                    <a:pt x="310" y="413"/>
                    <a:pt x="309" y="414"/>
                    <a:pt x="308" y="415"/>
                  </a:cubicBezTo>
                  <a:cubicBezTo>
                    <a:pt x="307" y="416"/>
                    <a:pt x="311" y="417"/>
                    <a:pt x="306" y="416"/>
                  </a:cubicBezTo>
                  <a:cubicBezTo>
                    <a:pt x="301" y="415"/>
                    <a:pt x="289" y="413"/>
                    <a:pt x="280" y="412"/>
                  </a:cubicBezTo>
                  <a:cubicBezTo>
                    <a:pt x="270" y="411"/>
                    <a:pt x="257" y="411"/>
                    <a:pt x="248" y="410"/>
                  </a:cubicBezTo>
                  <a:cubicBezTo>
                    <a:pt x="238" y="409"/>
                    <a:pt x="230" y="406"/>
                    <a:pt x="223" y="405"/>
                  </a:cubicBezTo>
                  <a:cubicBezTo>
                    <a:pt x="215" y="404"/>
                    <a:pt x="210" y="402"/>
                    <a:pt x="203" y="403"/>
                  </a:cubicBezTo>
                  <a:cubicBezTo>
                    <a:pt x="197" y="403"/>
                    <a:pt x="189" y="406"/>
                    <a:pt x="183" y="407"/>
                  </a:cubicBezTo>
                  <a:cubicBezTo>
                    <a:pt x="176" y="407"/>
                    <a:pt x="170" y="408"/>
                    <a:pt x="163" y="406"/>
                  </a:cubicBezTo>
                  <a:cubicBezTo>
                    <a:pt x="156" y="404"/>
                    <a:pt x="148" y="398"/>
                    <a:pt x="141" y="395"/>
                  </a:cubicBezTo>
                  <a:cubicBezTo>
                    <a:pt x="134" y="391"/>
                    <a:pt x="125" y="389"/>
                    <a:pt x="119" y="386"/>
                  </a:cubicBezTo>
                  <a:cubicBezTo>
                    <a:pt x="114" y="384"/>
                    <a:pt x="114" y="382"/>
                    <a:pt x="110" y="380"/>
                  </a:cubicBezTo>
                  <a:cubicBezTo>
                    <a:pt x="107" y="377"/>
                    <a:pt x="103" y="374"/>
                    <a:pt x="100" y="370"/>
                  </a:cubicBezTo>
                  <a:cubicBezTo>
                    <a:pt x="97" y="365"/>
                    <a:pt x="94" y="357"/>
                    <a:pt x="92" y="352"/>
                  </a:cubicBezTo>
                  <a:cubicBezTo>
                    <a:pt x="91" y="346"/>
                    <a:pt x="94" y="343"/>
                    <a:pt x="90" y="336"/>
                  </a:cubicBezTo>
                  <a:cubicBezTo>
                    <a:pt x="86" y="328"/>
                    <a:pt x="75" y="314"/>
                    <a:pt x="71" y="306"/>
                  </a:cubicBezTo>
                  <a:cubicBezTo>
                    <a:pt x="66" y="298"/>
                    <a:pt x="66" y="292"/>
                    <a:pt x="63" y="287"/>
                  </a:cubicBezTo>
                  <a:cubicBezTo>
                    <a:pt x="60" y="281"/>
                    <a:pt x="57" y="278"/>
                    <a:pt x="54" y="273"/>
                  </a:cubicBezTo>
                  <a:cubicBezTo>
                    <a:pt x="51" y="268"/>
                    <a:pt x="48" y="261"/>
                    <a:pt x="46" y="256"/>
                  </a:cubicBezTo>
                  <a:cubicBezTo>
                    <a:pt x="44" y="251"/>
                    <a:pt x="44" y="245"/>
                    <a:pt x="40" y="245"/>
                  </a:cubicBezTo>
                  <a:cubicBezTo>
                    <a:pt x="37" y="245"/>
                    <a:pt x="30" y="255"/>
                    <a:pt x="25" y="259"/>
                  </a:cubicBezTo>
                  <a:cubicBezTo>
                    <a:pt x="20" y="263"/>
                    <a:pt x="15" y="268"/>
                    <a:pt x="11" y="271"/>
                  </a:cubicBezTo>
                  <a:cubicBezTo>
                    <a:pt x="8" y="274"/>
                    <a:pt x="7" y="277"/>
                    <a:pt x="5" y="277"/>
                  </a:cubicBezTo>
                  <a:cubicBezTo>
                    <a:pt x="4" y="277"/>
                    <a:pt x="0" y="273"/>
                    <a:pt x="0" y="271"/>
                  </a:cubicBezTo>
                  <a:cubicBezTo>
                    <a:pt x="1" y="269"/>
                    <a:pt x="5" y="271"/>
                    <a:pt x="8" y="267"/>
                  </a:cubicBezTo>
                  <a:cubicBezTo>
                    <a:pt x="12" y="264"/>
                    <a:pt x="18" y="255"/>
                    <a:pt x="23" y="251"/>
                  </a:cubicBezTo>
                  <a:cubicBezTo>
                    <a:pt x="27" y="246"/>
                    <a:pt x="32" y="246"/>
                    <a:pt x="35" y="240"/>
                  </a:cubicBezTo>
                  <a:cubicBezTo>
                    <a:pt x="37" y="234"/>
                    <a:pt x="36" y="223"/>
                    <a:pt x="38" y="213"/>
                  </a:cubicBezTo>
                  <a:cubicBezTo>
                    <a:pt x="39" y="204"/>
                    <a:pt x="40" y="194"/>
                    <a:pt x="42" y="185"/>
                  </a:cubicBezTo>
                  <a:cubicBezTo>
                    <a:pt x="43" y="176"/>
                    <a:pt x="47" y="167"/>
                    <a:pt x="49" y="160"/>
                  </a:cubicBezTo>
                  <a:cubicBezTo>
                    <a:pt x="50" y="153"/>
                    <a:pt x="51" y="145"/>
                    <a:pt x="51" y="140"/>
                  </a:cubicBezTo>
                  <a:cubicBezTo>
                    <a:pt x="52" y="135"/>
                    <a:pt x="53" y="133"/>
                    <a:pt x="52" y="131"/>
                  </a:cubicBezTo>
                  <a:cubicBezTo>
                    <a:pt x="51" y="128"/>
                    <a:pt x="46" y="126"/>
                    <a:pt x="47" y="124"/>
                  </a:cubicBezTo>
                  <a:cubicBezTo>
                    <a:pt x="48" y="122"/>
                    <a:pt x="53" y="120"/>
                    <a:pt x="57" y="116"/>
                  </a:cubicBezTo>
                  <a:cubicBezTo>
                    <a:pt x="62" y="112"/>
                    <a:pt x="69" y="104"/>
                    <a:pt x="73" y="100"/>
                  </a:cubicBezTo>
                  <a:cubicBezTo>
                    <a:pt x="77" y="97"/>
                    <a:pt x="79" y="94"/>
                    <a:pt x="83" y="92"/>
                  </a:cubicBezTo>
                  <a:cubicBezTo>
                    <a:pt x="86" y="90"/>
                    <a:pt x="89" y="90"/>
                    <a:pt x="92" y="88"/>
                  </a:cubicBezTo>
                  <a:cubicBezTo>
                    <a:pt x="96" y="86"/>
                    <a:pt x="98" y="84"/>
                    <a:pt x="103" y="81"/>
                  </a:cubicBezTo>
                  <a:cubicBezTo>
                    <a:pt x="107" y="78"/>
                    <a:pt x="115" y="74"/>
                    <a:pt x="119" y="72"/>
                  </a:cubicBezTo>
                  <a:cubicBezTo>
                    <a:pt x="123" y="69"/>
                    <a:pt x="124" y="68"/>
                    <a:pt x="126" y="65"/>
                  </a:cubicBezTo>
                  <a:cubicBezTo>
                    <a:pt x="128" y="63"/>
                    <a:pt x="130" y="60"/>
                    <a:pt x="132" y="58"/>
                  </a:cubicBezTo>
                  <a:cubicBezTo>
                    <a:pt x="134" y="56"/>
                    <a:pt x="135" y="54"/>
                    <a:pt x="138" y="53"/>
                  </a:cubicBezTo>
                  <a:cubicBezTo>
                    <a:pt x="141" y="51"/>
                    <a:pt x="144" y="51"/>
                    <a:pt x="148" y="48"/>
                  </a:cubicBezTo>
                  <a:cubicBezTo>
                    <a:pt x="152" y="46"/>
                    <a:pt x="156" y="42"/>
                    <a:pt x="161" y="38"/>
                  </a:cubicBezTo>
                  <a:cubicBezTo>
                    <a:pt x="165" y="34"/>
                    <a:pt x="170" y="28"/>
                    <a:pt x="176" y="24"/>
                  </a:cubicBezTo>
                  <a:cubicBezTo>
                    <a:pt x="181" y="20"/>
                    <a:pt x="188" y="18"/>
                    <a:pt x="194" y="16"/>
                  </a:cubicBezTo>
                  <a:cubicBezTo>
                    <a:pt x="201" y="14"/>
                    <a:pt x="208" y="11"/>
                    <a:pt x="214" y="9"/>
                  </a:cubicBezTo>
                  <a:cubicBezTo>
                    <a:pt x="219" y="7"/>
                    <a:pt x="224" y="7"/>
                    <a:pt x="228" y="6"/>
                  </a:cubicBezTo>
                  <a:cubicBezTo>
                    <a:pt x="232" y="5"/>
                    <a:pt x="235" y="3"/>
                    <a:pt x="238" y="2"/>
                  </a:cubicBezTo>
                  <a:cubicBezTo>
                    <a:pt x="241" y="1"/>
                    <a:pt x="244" y="0"/>
                    <a:pt x="246" y="2"/>
                  </a:cubicBezTo>
                  <a:cubicBezTo>
                    <a:pt x="248" y="4"/>
                    <a:pt x="247" y="11"/>
                    <a:pt x="251" y="14"/>
                  </a:cubicBezTo>
                  <a:cubicBezTo>
                    <a:pt x="255" y="17"/>
                    <a:pt x="264" y="18"/>
                    <a:pt x="270" y="20"/>
                  </a:cubicBezTo>
                  <a:cubicBezTo>
                    <a:pt x="275" y="23"/>
                    <a:pt x="279" y="25"/>
                    <a:pt x="283" y="29"/>
                  </a:cubicBezTo>
                  <a:cubicBezTo>
                    <a:pt x="287" y="32"/>
                    <a:pt x="290" y="38"/>
                    <a:pt x="293" y="41"/>
                  </a:cubicBezTo>
                  <a:cubicBezTo>
                    <a:pt x="295" y="43"/>
                    <a:pt x="298" y="44"/>
                    <a:pt x="300" y="43"/>
                  </a:cubicBezTo>
                  <a:cubicBezTo>
                    <a:pt x="302" y="42"/>
                    <a:pt x="305" y="36"/>
                    <a:pt x="308" y="34"/>
                  </a:cubicBezTo>
                  <a:cubicBezTo>
                    <a:pt x="311" y="33"/>
                    <a:pt x="310" y="33"/>
                    <a:pt x="317" y="33"/>
                  </a:cubicBezTo>
                  <a:cubicBezTo>
                    <a:pt x="324" y="33"/>
                    <a:pt x="347" y="34"/>
                    <a:pt x="353" y="37"/>
                  </a:cubicBezTo>
                  <a:cubicBezTo>
                    <a:pt x="359" y="40"/>
                    <a:pt x="356" y="47"/>
                    <a:pt x="355" y="49"/>
                  </a:cubicBezTo>
                  <a:cubicBezTo>
                    <a:pt x="354" y="51"/>
                    <a:pt x="348" y="49"/>
                    <a:pt x="344" y="48"/>
                  </a:cubicBezTo>
                  <a:cubicBezTo>
                    <a:pt x="339" y="48"/>
                    <a:pt x="333" y="48"/>
                    <a:pt x="328" y="48"/>
                  </a:cubicBezTo>
                  <a:cubicBezTo>
                    <a:pt x="324" y="47"/>
                    <a:pt x="320" y="44"/>
                    <a:pt x="317" y="46"/>
                  </a:cubicBezTo>
                  <a:cubicBezTo>
                    <a:pt x="314" y="47"/>
                    <a:pt x="312" y="54"/>
                    <a:pt x="310" y="58"/>
                  </a:cubicBezTo>
                  <a:cubicBezTo>
                    <a:pt x="307" y="61"/>
                    <a:pt x="304" y="66"/>
                    <a:pt x="301" y="68"/>
                  </a:cubicBezTo>
                  <a:cubicBezTo>
                    <a:pt x="297" y="70"/>
                    <a:pt x="292" y="72"/>
                    <a:pt x="287" y="73"/>
                  </a:cubicBezTo>
                  <a:cubicBezTo>
                    <a:pt x="283" y="74"/>
                    <a:pt x="279" y="74"/>
                    <a:pt x="274" y="72"/>
                  </a:cubicBezTo>
                  <a:cubicBezTo>
                    <a:pt x="268" y="70"/>
                    <a:pt x="259" y="65"/>
                    <a:pt x="254" y="61"/>
                  </a:cubicBezTo>
                  <a:cubicBezTo>
                    <a:pt x="248" y="57"/>
                    <a:pt x="243" y="50"/>
                    <a:pt x="240" y="47"/>
                  </a:cubicBezTo>
                  <a:cubicBezTo>
                    <a:pt x="236" y="44"/>
                    <a:pt x="235" y="42"/>
                    <a:pt x="233" y="40"/>
                  </a:cubicBezTo>
                  <a:cubicBezTo>
                    <a:pt x="232" y="38"/>
                    <a:pt x="230" y="35"/>
                    <a:pt x="229" y="33"/>
                  </a:cubicBezTo>
                  <a:cubicBezTo>
                    <a:pt x="227" y="30"/>
                    <a:pt x="227" y="25"/>
                    <a:pt x="224" y="24"/>
                  </a:cubicBezTo>
                  <a:cubicBezTo>
                    <a:pt x="221" y="24"/>
                    <a:pt x="217" y="27"/>
                    <a:pt x="210" y="31"/>
                  </a:cubicBezTo>
                  <a:cubicBezTo>
                    <a:pt x="204" y="35"/>
                    <a:pt x="202" y="37"/>
                    <a:pt x="186" y="48"/>
                  </a:cubicBezTo>
                  <a:cubicBezTo>
                    <a:pt x="170" y="60"/>
                    <a:pt x="132" y="89"/>
                    <a:pt x="116" y="102"/>
                  </a:cubicBezTo>
                  <a:cubicBezTo>
                    <a:pt x="100" y="114"/>
                    <a:pt x="97" y="114"/>
                    <a:pt x="89" y="123"/>
                  </a:cubicBezTo>
                  <a:cubicBezTo>
                    <a:pt x="81" y="133"/>
                    <a:pt x="74" y="148"/>
                    <a:pt x="69" y="159"/>
                  </a:cubicBezTo>
                  <a:cubicBezTo>
                    <a:pt x="65" y="170"/>
                    <a:pt x="59" y="176"/>
                    <a:pt x="61" y="191"/>
                  </a:cubicBezTo>
                  <a:cubicBezTo>
                    <a:pt x="63" y="206"/>
                    <a:pt x="73" y="233"/>
                    <a:pt x="80" y="249"/>
                  </a:cubicBezTo>
                  <a:cubicBezTo>
                    <a:pt x="87" y="266"/>
                    <a:pt x="95" y="277"/>
                    <a:pt x="103" y="293"/>
                  </a:cubicBezTo>
                  <a:cubicBezTo>
                    <a:pt x="111" y="308"/>
                    <a:pt x="119" y="327"/>
                    <a:pt x="128" y="340"/>
                  </a:cubicBezTo>
                  <a:cubicBezTo>
                    <a:pt x="137" y="354"/>
                    <a:pt x="150" y="364"/>
                    <a:pt x="159" y="373"/>
                  </a:cubicBezTo>
                  <a:cubicBezTo>
                    <a:pt x="169" y="382"/>
                    <a:pt x="176" y="390"/>
                    <a:pt x="181" y="393"/>
                  </a:cubicBezTo>
                  <a:cubicBezTo>
                    <a:pt x="187" y="396"/>
                    <a:pt x="186" y="392"/>
                    <a:pt x="192" y="391"/>
                  </a:cubicBezTo>
                  <a:cubicBezTo>
                    <a:pt x="197" y="391"/>
                    <a:pt x="206" y="388"/>
                    <a:pt x="215" y="389"/>
                  </a:cubicBezTo>
                  <a:cubicBezTo>
                    <a:pt x="223" y="390"/>
                    <a:pt x="232" y="395"/>
                    <a:pt x="243" y="396"/>
                  </a:cubicBezTo>
                  <a:cubicBezTo>
                    <a:pt x="254" y="398"/>
                    <a:pt x="272" y="398"/>
                    <a:pt x="281" y="399"/>
                  </a:cubicBezTo>
                  <a:cubicBezTo>
                    <a:pt x="289" y="400"/>
                    <a:pt x="289" y="403"/>
                    <a:pt x="293" y="403"/>
                  </a:cubicBezTo>
                  <a:cubicBezTo>
                    <a:pt x="298" y="404"/>
                    <a:pt x="302" y="404"/>
                    <a:pt x="309" y="403"/>
                  </a:cubicBezTo>
                  <a:cubicBezTo>
                    <a:pt x="316" y="403"/>
                    <a:pt x="329" y="400"/>
                    <a:pt x="336" y="400"/>
                  </a:cubicBezTo>
                  <a:cubicBezTo>
                    <a:pt x="342" y="399"/>
                    <a:pt x="344" y="397"/>
                    <a:pt x="346" y="399"/>
                  </a:cubicBezTo>
                  <a:cubicBezTo>
                    <a:pt x="348" y="401"/>
                    <a:pt x="352" y="409"/>
                    <a:pt x="347" y="411"/>
                  </a:cubicBezTo>
                  <a:close/>
                </a:path>
              </a:pathLst>
            </a:custGeom>
            <a:solidFill>
              <a:srgbClr val="009900"/>
            </a:solidFill>
            <a:ln w="6350" cap="flat" cmpd="sng">
              <a:solidFill>
                <a:srgbClr val="009900"/>
              </a:solidFill>
              <a:prstDash val="solid"/>
              <a:round/>
              <a:headEnd/>
              <a:tailEnd/>
            </a:ln>
          </p:spPr>
          <p:txBody>
            <a:bodyPr wrap="none" lIns="0" tIns="0" rIns="0" bIns="0">
              <a:spAutoFit/>
            </a:bodyPr>
            <a:lstStyle/>
            <a:p>
              <a:endParaRPr lang="de-DE"/>
            </a:p>
          </p:txBody>
        </p:sp>
        <p:sp>
          <p:nvSpPr>
            <p:cNvPr id="185" name="Freeform 1302"/>
            <p:cNvSpPr>
              <a:spLocks/>
            </p:cNvSpPr>
            <p:nvPr/>
          </p:nvSpPr>
          <p:spPr bwMode="auto">
            <a:xfrm>
              <a:off x="1503363" y="4413328"/>
              <a:ext cx="495300" cy="631825"/>
            </a:xfrm>
            <a:custGeom>
              <a:avLst/>
              <a:gdLst>
                <a:gd name="T0" fmla="*/ 2147483647 w 312"/>
                <a:gd name="T1" fmla="*/ 2147483647 h 398"/>
                <a:gd name="T2" fmla="*/ 2147483647 w 312"/>
                <a:gd name="T3" fmla="*/ 2147483647 h 398"/>
                <a:gd name="T4" fmla="*/ 2147483647 w 312"/>
                <a:gd name="T5" fmla="*/ 2147483647 h 398"/>
                <a:gd name="T6" fmla="*/ 2147483647 w 312"/>
                <a:gd name="T7" fmla="*/ 2147483647 h 398"/>
                <a:gd name="T8" fmla="*/ 2147483647 w 312"/>
                <a:gd name="T9" fmla="*/ 2147483647 h 398"/>
                <a:gd name="T10" fmla="*/ 2147483647 w 312"/>
                <a:gd name="T11" fmla="*/ 2147483647 h 398"/>
                <a:gd name="T12" fmla="*/ 2147483647 w 312"/>
                <a:gd name="T13" fmla="*/ 2147483647 h 398"/>
                <a:gd name="T14" fmla="*/ 2147483647 w 312"/>
                <a:gd name="T15" fmla="*/ 2147483647 h 398"/>
                <a:gd name="T16" fmla="*/ 2147483647 w 312"/>
                <a:gd name="T17" fmla="*/ 2147483647 h 398"/>
                <a:gd name="T18" fmla="*/ 2147483647 w 312"/>
                <a:gd name="T19" fmla="*/ 2147483647 h 398"/>
                <a:gd name="T20" fmla="*/ 2147483647 w 312"/>
                <a:gd name="T21" fmla="*/ 2147483647 h 398"/>
                <a:gd name="T22" fmla="*/ 2147483647 w 312"/>
                <a:gd name="T23" fmla="*/ 2147483647 h 398"/>
                <a:gd name="T24" fmla="*/ 2147483647 w 312"/>
                <a:gd name="T25" fmla="*/ 2147483647 h 398"/>
                <a:gd name="T26" fmla="*/ 2147483647 w 312"/>
                <a:gd name="T27" fmla="*/ 2147483647 h 398"/>
                <a:gd name="T28" fmla="*/ 2147483647 w 312"/>
                <a:gd name="T29" fmla="*/ 2147483647 h 398"/>
                <a:gd name="T30" fmla="*/ 2147483647 w 312"/>
                <a:gd name="T31" fmla="*/ 2147483647 h 398"/>
                <a:gd name="T32" fmla="*/ 2147483647 w 312"/>
                <a:gd name="T33" fmla="*/ 2147483647 h 398"/>
                <a:gd name="T34" fmla="*/ 2147483647 w 312"/>
                <a:gd name="T35" fmla="*/ 2147483647 h 398"/>
                <a:gd name="T36" fmla="*/ 2147483647 w 312"/>
                <a:gd name="T37" fmla="*/ 2147483647 h 398"/>
                <a:gd name="T38" fmla="*/ 2147483647 w 312"/>
                <a:gd name="T39" fmla="*/ 2147483647 h 398"/>
                <a:gd name="T40" fmla="*/ 2147483647 w 312"/>
                <a:gd name="T41" fmla="*/ 2147483647 h 398"/>
                <a:gd name="T42" fmla="*/ 2147483647 w 312"/>
                <a:gd name="T43" fmla="*/ 2147483647 h 398"/>
                <a:gd name="T44" fmla="*/ 2147483647 w 312"/>
                <a:gd name="T45" fmla="*/ 2147483647 h 398"/>
                <a:gd name="T46" fmla="*/ 2147483647 w 312"/>
                <a:gd name="T47" fmla="*/ 2147483647 h 398"/>
                <a:gd name="T48" fmla="*/ 2147483647 w 312"/>
                <a:gd name="T49" fmla="*/ 2147483647 h 398"/>
                <a:gd name="T50" fmla="*/ 2147483647 w 312"/>
                <a:gd name="T51" fmla="*/ 2147483647 h 398"/>
                <a:gd name="T52" fmla="*/ 2147483647 w 312"/>
                <a:gd name="T53" fmla="*/ 2147483647 h 398"/>
                <a:gd name="T54" fmla="*/ 2147483647 w 312"/>
                <a:gd name="T55" fmla="*/ 2147483647 h 398"/>
                <a:gd name="T56" fmla="*/ 2147483647 w 312"/>
                <a:gd name="T57" fmla="*/ 2147483647 h 398"/>
                <a:gd name="T58" fmla="*/ 0 w 312"/>
                <a:gd name="T59" fmla="*/ 2147483647 h 398"/>
                <a:gd name="T60" fmla="*/ 2147483647 w 312"/>
                <a:gd name="T61" fmla="*/ 2147483647 h 398"/>
                <a:gd name="T62" fmla="*/ 2147483647 w 312"/>
                <a:gd name="T63" fmla="*/ 2147483647 h 398"/>
                <a:gd name="T64" fmla="*/ 2147483647 w 312"/>
                <a:gd name="T65" fmla="*/ 2147483647 h 398"/>
                <a:gd name="T66" fmla="*/ 2147483647 w 312"/>
                <a:gd name="T67" fmla="*/ 2147483647 h 398"/>
                <a:gd name="T68" fmla="*/ 2147483647 w 312"/>
                <a:gd name="T69" fmla="*/ 2147483647 h 398"/>
                <a:gd name="T70" fmla="*/ 2147483647 w 312"/>
                <a:gd name="T71" fmla="*/ 2147483647 h 398"/>
                <a:gd name="T72" fmla="*/ 2147483647 w 312"/>
                <a:gd name="T73" fmla="*/ 2147483647 h 398"/>
                <a:gd name="T74" fmla="*/ 2147483647 w 312"/>
                <a:gd name="T75" fmla="*/ 2147483647 h 398"/>
                <a:gd name="T76" fmla="*/ 2147483647 w 312"/>
                <a:gd name="T77" fmla="*/ 2147483647 h 398"/>
                <a:gd name="T78" fmla="*/ 2147483647 w 312"/>
                <a:gd name="T79" fmla="*/ 2147483647 h 398"/>
                <a:gd name="T80" fmla="*/ 2147483647 w 312"/>
                <a:gd name="T81" fmla="*/ 2147483647 h 398"/>
                <a:gd name="T82" fmla="*/ 2147483647 w 312"/>
                <a:gd name="T83" fmla="*/ 2147483647 h 398"/>
                <a:gd name="T84" fmla="*/ 2147483647 w 312"/>
                <a:gd name="T85" fmla="*/ 2147483647 h 398"/>
                <a:gd name="T86" fmla="*/ 2147483647 w 312"/>
                <a:gd name="T87" fmla="*/ 2147483647 h 398"/>
                <a:gd name="T88" fmla="*/ 2147483647 w 312"/>
                <a:gd name="T89" fmla="*/ 2147483647 h 398"/>
                <a:gd name="T90" fmla="*/ 2147483647 w 312"/>
                <a:gd name="T91" fmla="*/ 2147483647 h 398"/>
                <a:gd name="T92" fmla="*/ 2147483647 w 312"/>
                <a:gd name="T93" fmla="*/ 2147483647 h 398"/>
                <a:gd name="T94" fmla="*/ 2147483647 w 312"/>
                <a:gd name="T95" fmla="*/ 2147483647 h 398"/>
                <a:gd name="T96" fmla="*/ 2147483647 w 312"/>
                <a:gd name="T97" fmla="*/ 2147483647 h 398"/>
                <a:gd name="T98" fmla="*/ 2147483647 w 312"/>
                <a:gd name="T99" fmla="*/ 2147483647 h 398"/>
                <a:gd name="T100" fmla="*/ 2147483647 w 312"/>
                <a:gd name="T101" fmla="*/ 2147483647 h 398"/>
                <a:gd name="T102" fmla="*/ 2147483647 w 312"/>
                <a:gd name="T103" fmla="*/ 2147483647 h 398"/>
                <a:gd name="T104" fmla="*/ 2147483647 w 312"/>
                <a:gd name="T105" fmla="*/ 2147483647 h 398"/>
                <a:gd name="T106" fmla="*/ 2147483647 w 312"/>
                <a:gd name="T107" fmla="*/ 2147483647 h 398"/>
                <a:gd name="T108" fmla="*/ 2147483647 w 312"/>
                <a:gd name="T109" fmla="*/ 2147483647 h 398"/>
                <a:gd name="T110" fmla="*/ 2147483647 w 312"/>
                <a:gd name="T111" fmla="*/ 2147483647 h 398"/>
                <a:gd name="T112" fmla="*/ 2147483647 w 312"/>
                <a:gd name="T113" fmla="*/ 2147483647 h 398"/>
                <a:gd name="T114" fmla="*/ 2147483647 w 312"/>
                <a:gd name="T115" fmla="*/ 2147483647 h 398"/>
                <a:gd name="T116" fmla="*/ 2147483647 w 312"/>
                <a:gd name="T117" fmla="*/ 2147483647 h 398"/>
                <a:gd name="T118" fmla="*/ 2147483647 w 312"/>
                <a:gd name="T119" fmla="*/ 2147483647 h 398"/>
                <a:gd name="T120" fmla="*/ 2147483647 w 312"/>
                <a:gd name="T121" fmla="*/ 2147483647 h 398"/>
                <a:gd name="T122" fmla="*/ 2147483647 w 31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398"/>
                <a:gd name="T188" fmla="*/ 312 w 31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398">
                  <a:moveTo>
                    <a:pt x="273" y="398"/>
                  </a:moveTo>
                  <a:cubicBezTo>
                    <a:pt x="270" y="397"/>
                    <a:pt x="260" y="397"/>
                    <a:pt x="253" y="396"/>
                  </a:cubicBezTo>
                  <a:cubicBezTo>
                    <a:pt x="246" y="395"/>
                    <a:pt x="235" y="392"/>
                    <a:pt x="228" y="392"/>
                  </a:cubicBezTo>
                  <a:cubicBezTo>
                    <a:pt x="221" y="391"/>
                    <a:pt x="215" y="393"/>
                    <a:pt x="209" y="392"/>
                  </a:cubicBezTo>
                  <a:cubicBezTo>
                    <a:pt x="204" y="391"/>
                    <a:pt x="199" y="390"/>
                    <a:pt x="196" y="388"/>
                  </a:cubicBezTo>
                  <a:cubicBezTo>
                    <a:pt x="193" y="387"/>
                    <a:pt x="193" y="385"/>
                    <a:pt x="191" y="384"/>
                  </a:cubicBezTo>
                  <a:cubicBezTo>
                    <a:pt x="188" y="384"/>
                    <a:pt x="184" y="386"/>
                    <a:pt x="179" y="386"/>
                  </a:cubicBezTo>
                  <a:cubicBezTo>
                    <a:pt x="175" y="385"/>
                    <a:pt x="169" y="383"/>
                    <a:pt x="165" y="383"/>
                  </a:cubicBezTo>
                  <a:cubicBezTo>
                    <a:pt x="162" y="382"/>
                    <a:pt x="162" y="380"/>
                    <a:pt x="159" y="381"/>
                  </a:cubicBezTo>
                  <a:cubicBezTo>
                    <a:pt x="156" y="381"/>
                    <a:pt x="152" y="384"/>
                    <a:pt x="148" y="385"/>
                  </a:cubicBezTo>
                  <a:cubicBezTo>
                    <a:pt x="144" y="387"/>
                    <a:pt x="139" y="390"/>
                    <a:pt x="133" y="388"/>
                  </a:cubicBezTo>
                  <a:cubicBezTo>
                    <a:pt x="128" y="387"/>
                    <a:pt x="120" y="381"/>
                    <a:pt x="115" y="378"/>
                  </a:cubicBezTo>
                  <a:cubicBezTo>
                    <a:pt x="111" y="375"/>
                    <a:pt x="111" y="373"/>
                    <a:pt x="108" y="371"/>
                  </a:cubicBezTo>
                  <a:cubicBezTo>
                    <a:pt x="105" y="368"/>
                    <a:pt x="102" y="364"/>
                    <a:pt x="98" y="361"/>
                  </a:cubicBezTo>
                  <a:cubicBezTo>
                    <a:pt x="94" y="358"/>
                    <a:pt x="86" y="356"/>
                    <a:pt x="82" y="353"/>
                  </a:cubicBezTo>
                  <a:cubicBezTo>
                    <a:pt x="78" y="350"/>
                    <a:pt x="75" y="346"/>
                    <a:pt x="73" y="343"/>
                  </a:cubicBezTo>
                  <a:cubicBezTo>
                    <a:pt x="71" y="340"/>
                    <a:pt x="71" y="338"/>
                    <a:pt x="70" y="334"/>
                  </a:cubicBezTo>
                  <a:cubicBezTo>
                    <a:pt x="69" y="330"/>
                    <a:pt x="67" y="325"/>
                    <a:pt x="65" y="321"/>
                  </a:cubicBezTo>
                  <a:cubicBezTo>
                    <a:pt x="63" y="317"/>
                    <a:pt x="58" y="315"/>
                    <a:pt x="56" y="312"/>
                  </a:cubicBezTo>
                  <a:cubicBezTo>
                    <a:pt x="55" y="308"/>
                    <a:pt x="57" y="303"/>
                    <a:pt x="55" y="299"/>
                  </a:cubicBezTo>
                  <a:cubicBezTo>
                    <a:pt x="53" y="295"/>
                    <a:pt x="46" y="292"/>
                    <a:pt x="44" y="288"/>
                  </a:cubicBezTo>
                  <a:cubicBezTo>
                    <a:pt x="41" y="283"/>
                    <a:pt x="42" y="278"/>
                    <a:pt x="40" y="273"/>
                  </a:cubicBezTo>
                  <a:cubicBezTo>
                    <a:pt x="38" y="269"/>
                    <a:pt x="35" y="265"/>
                    <a:pt x="33" y="261"/>
                  </a:cubicBezTo>
                  <a:cubicBezTo>
                    <a:pt x="31" y="258"/>
                    <a:pt x="31" y="256"/>
                    <a:pt x="29" y="253"/>
                  </a:cubicBezTo>
                  <a:cubicBezTo>
                    <a:pt x="27" y="250"/>
                    <a:pt x="22" y="246"/>
                    <a:pt x="21" y="242"/>
                  </a:cubicBezTo>
                  <a:cubicBezTo>
                    <a:pt x="19" y="239"/>
                    <a:pt x="22" y="236"/>
                    <a:pt x="20" y="232"/>
                  </a:cubicBezTo>
                  <a:cubicBezTo>
                    <a:pt x="19" y="228"/>
                    <a:pt x="17" y="222"/>
                    <a:pt x="14" y="220"/>
                  </a:cubicBezTo>
                  <a:cubicBezTo>
                    <a:pt x="12" y="217"/>
                    <a:pt x="7" y="221"/>
                    <a:pt x="5" y="218"/>
                  </a:cubicBezTo>
                  <a:cubicBezTo>
                    <a:pt x="4" y="216"/>
                    <a:pt x="6" y="207"/>
                    <a:pt x="5" y="203"/>
                  </a:cubicBezTo>
                  <a:cubicBezTo>
                    <a:pt x="4" y="198"/>
                    <a:pt x="0" y="194"/>
                    <a:pt x="0" y="190"/>
                  </a:cubicBezTo>
                  <a:cubicBezTo>
                    <a:pt x="0" y="185"/>
                    <a:pt x="4" y="179"/>
                    <a:pt x="5" y="173"/>
                  </a:cubicBezTo>
                  <a:cubicBezTo>
                    <a:pt x="6" y="167"/>
                    <a:pt x="7" y="158"/>
                    <a:pt x="8" y="153"/>
                  </a:cubicBezTo>
                  <a:cubicBezTo>
                    <a:pt x="8" y="147"/>
                    <a:pt x="9" y="145"/>
                    <a:pt x="10" y="140"/>
                  </a:cubicBezTo>
                  <a:cubicBezTo>
                    <a:pt x="11" y="136"/>
                    <a:pt x="10" y="126"/>
                    <a:pt x="12" y="123"/>
                  </a:cubicBezTo>
                  <a:cubicBezTo>
                    <a:pt x="13" y="121"/>
                    <a:pt x="18" y="125"/>
                    <a:pt x="20" y="123"/>
                  </a:cubicBezTo>
                  <a:cubicBezTo>
                    <a:pt x="22" y="122"/>
                    <a:pt x="23" y="118"/>
                    <a:pt x="22" y="115"/>
                  </a:cubicBezTo>
                  <a:cubicBezTo>
                    <a:pt x="21" y="112"/>
                    <a:pt x="14" y="110"/>
                    <a:pt x="15" y="108"/>
                  </a:cubicBezTo>
                  <a:cubicBezTo>
                    <a:pt x="16" y="105"/>
                    <a:pt x="24" y="103"/>
                    <a:pt x="27" y="102"/>
                  </a:cubicBezTo>
                  <a:cubicBezTo>
                    <a:pt x="31" y="101"/>
                    <a:pt x="36" y="103"/>
                    <a:pt x="37" y="102"/>
                  </a:cubicBezTo>
                  <a:cubicBezTo>
                    <a:pt x="39" y="100"/>
                    <a:pt x="35" y="96"/>
                    <a:pt x="36" y="93"/>
                  </a:cubicBezTo>
                  <a:cubicBezTo>
                    <a:pt x="37" y="90"/>
                    <a:pt x="39" y="86"/>
                    <a:pt x="42" y="84"/>
                  </a:cubicBezTo>
                  <a:cubicBezTo>
                    <a:pt x="45" y="82"/>
                    <a:pt x="50" y="84"/>
                    <a:pt x="55" y="82"/>
                  </a:cubicBezTo>
                  <a:cubicBezTo>
                    <a:pt x="59" y="80"/>
                    <a:pt x="64" y="77"/>
                    <a:pt x="68" y="75"/>
                  </a:cubicBezTo>
                  <a:cubicBezTo>
                    <a:pt x="72" y="72"/>
                    <a:pt x="73" y="68"/>
                    <a:pt x="77" y="66"/>
                  </a:cubicBezTo>
                  <a:cubicBezTo>
                    <a:pt x="80" y="63"/>
                    <a:pt x="85" y="64"/>
                    <a:pt x="88" y="61"/>
                  </a:cubicBezTo>
                  <a:cubicBezTo>
                    <a:pt x="91" y="58"/>
                    <a:pt x="90" y="53"/>
                    <a:pt x="94" y="50"/>
                  </a:cubicBezTo>
                  <a:cubicBezTo>
                    <a:pt x="98" y="47"/>
                    <a:pt x="108" y="44"/>
                    <a:pt x="113" y="40"/>
                  </a:cubicBezTo>
                  <a:cubicBezTo>
                    <a:pt x="118" y="36"/>
                    <a:pt x="119" y="30"/>
                    <a:pt x="124" y="26"/>
                  </a:cubicBezTo>
                  <a:cubicBezTo>
                    <a:pt x="129" y="23"/>
                    <a:pt x="138" y="19"/>
                    <a:pt x="143" y="17"/>
                  </a:cubicBezTo>
                  <a:cubicBezTo>
                    <a:pt x="147" y="14"/>
                    <a:pt x="148" y="14"/>
                    <a:pt x="152" y="12"/>
                  </a:cubicBezTo>
                  <a:cubicBezTo>
                    <a:pt x="157" y="9"/>
                    <a:pt x="165" y="3"/>
                    <a:pt x="171" y="1"/>
                  </a:cubicBezTo>
                  <a:cubicBezTo>
                    <a:pt x="176" y="0"/>
                    <a:pt x="181" y="1"/>
                    <a:pt x="185" y="4"/>
                  </a:cubicBezTo>
                  <a:cubicBezTo>
                    <a:pt x="189" y="7"/>
                    <a:pt x="192" y="14"/>
                    <a:pt x="196" y="19"/>
                  </a:cubicBezTo>
                  <a:cubicBezTo>
                    <a:pt x="199" y="24"/>
                    <a:pt x="204" y="30"/>
                    <a:pt x="208" y="34"/>
                  </a:cubicBezTo>
                  <a:cubicBezTo>
                    <a:pt x="212" y="38"/>
                    <a:pt x="215" y="41"/>
                    <a:pt x="219" y="43"/>
                  </a:cubicBezTo>
                  <a:cubicBezTo>
                    <a:pt x="222" y="46"/>
                    <a:pt x="224" y="48"/>
                    <a:pt x="229" y="50"/>
                  </a:cubicBezTo>
                  <a:cubicBezTo>
                    <a:pt x="234" y="51"/>
                    <a:pt x="243" y="55"/>
                    <a:pt x="248" y="53"/>
                  </a:cubicBezTo>
                  <a:cubicBezTo>
                    <a:pt x="253" y="52"/>
                    <a:pt x="258" y="45"/>
                    <a:pt x="261" y="41"/>
                  </a:cubicBezTo>
                  <a:cubicBezTo>
                    <a:pt x="263" y="37"/>
                    <a:pt x="264" y="34"/>
                    <a:pt x="265" y="31"/>
                  </a:cubicBezTo>
                  <a:cubicBezTo>
                    <a:pt x="267" y="28"/>
                    <a:pt x="268" y="25"/>
                    <a:pt x="271" y="24"/>
                  </a:cubicBezTo>
                  <a:cubicBezTo>
                    <a:pt x="273" y="24"/>
                    <a:pt x="273" y="25"/>
                    <a:pt x="280" y="26"/>
                  </a:cubicBezTo>
                  <a:cubicBezTo>
                    <a:pt x="287" y="27"/>
                    <a:pt x="305" y="29"/>
                    <a:pt x="312" y="29"/>
                  </a:cubicBezTo>
                </a:path>
              </a:pathLst>
            </a:custGeom>
            <a:noFill/>
            <a:ln w="12700"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186" name="Freeform 1303"/>
            <p:cNvSpPr>
              <a:spLocks/>
            </p:cNvSpPr>
            <p:nvPr/>
          </p:nvSpPr>
          <p:spPr bwMode="auto">
            <a:xfrm rot="7893428">
              <a:off x="1971675" y="501499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87" name="Freeform 1304"/>
            <p:cNvSpPr>
              <a:spLocks/>
            </p:cNvSpPr>
            <p:nvPr/>
          </p:nvSpPr>
          <p:spPr bwMode="auto">
            <a:xfrm rot="7893428">
              <a:off x="1954213" y="501499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88" name="Freeform 1305"/>
            <p:cNvSpPr>
              <a:spLocks/>
            </p:cNvSpPr>
            <p:nvPr/>
          </p:nvSpPr>
          <p:spPr bwMode="auto">
            <a:xfrm rot="7664583">
              <a:off x="1938338" y="5016578"/>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89" name="Freeform 1306"/>
            <p:cNvSpPr>
              <a:spLocks/>
            </p:cNvSpPr>
            <p:nvPr/>
          </p:nvSpPr>
          <p:spPr bwMode="auto">
            <a:xfrm rot="7664583">
              <a:off x="1920875" y="5018166"/>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90" name="Freeform 1307"/>
            <p:cNvSpPr>
              <a:spLocks/>
            </p:cNvSpPr>
            <p:nvPr/>
          </p:nvSpPr>
          <p:spPr bwMode="auto">
            <a:xfrm rot="7664583">
              <a:off x="1905000" y="5019753"/>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91" name="Freeform 1308"/>
            <p:cNvSpPr>
              <a:spLocks/>
            </p:cNvSpPr>
            <p:nvPr/>
          </p:nvSpPr>
          <p:spPr bwMode="auto">
            <a:xfrm rot="8770682">
              <a:off x="1890713" y="501816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92" name="Freeform 1309"/>
            <p:cNvSpPr>
              <a:spLocks/>
            </p:cNvSpPr>
            <p:nvPr/>
          </p:nvSpPr>
          <p:spPr bwMode="auto">
            <a:xfrm rot="8770682">
              <a:off x="1874838" y="5013403"/>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193" name="Freeform 1311"/>
            <p:cNvSpPr>
              <a:spLocks/>
            </p:cNvSpPr>
            <p:nvPr/>
          </p:nvSpPr>
          <p:spPr bwMode="auto">
            <a:xfrm>
              <a:off x="2422525" y="5040391"/>
              <a:ext cx="179388" cy="184150"/>
            </a:xfrm>
            <a:custGeom>
              <a:avLst/>
              <a:gdLst>
                <a:gd name="T0" fmla="*/ 2147483647 w 375"/>
                <a:gd name="T1" fmla="*/ 2147483647 h 345"/>
                <a:gd name="T2" fmla="*/ 2147483647 w 375"/>
                <a:gd name="T3" fmla="*/ 2147483647 h 345"/>
                <a:gd name="T4" fmla="*/ 0 w 375"/>
                <a:gd name="T5" fmla="*/ 2147483647 h 345"/>
                <a:gd name="T6" fmla="*/ 2147483647 w 375"/>
                <a:gd name="T7" fmla="*/ 0 h 345"/>
                <a:gd name="T8" fmla="*/ 2147483647 w 375"/>
                <a:gd name="T9" fmla="*/ 2147483647 h 345"/>
                <a:gd name="T10" fmla="*/ 2147483647 w 375"/>
                <a:gd name="T11" fmla="*/ 2147483647 h 345"/>
                <a:gd name="T12" fmla="*/ 2147483647 w 375"/>
                <a:gd name="T13" fmla="*/ 2147483647 h 345"/>
                <a:gd name="T14" fmla="*/ 2147483647 w 375"/>
                <a:gd name="T15" fmla="*/ 2147483647 h 345"/>
                <a:gd name="T16" fmla="*/ 2147483647 w 375"/>
                <a:gd name="T17" fmla="*/ 2147483647 h 345"/>
                <a:gd name="T18" fmla="*/ 2147483647 w 375"/>
                <a:gd name="T19" fmla="*/ 2147483647 h 345"/>
                <a:gd name="T20" fmla="*/ 2147483647 w 375"/>
                <a:gd name="T21" fmla="*/ 2147483647 h 3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5"/>
                <a:gd name="T34" fmla="*/ 0 h 345"/>
                <a:gd name="T35" fmla="*/ 375 w 375"/>
                <a:gd name="T36" fmla="*/ 345 h 3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5" h="345">
                  <a:moveTo>
                    <a:pt x="367" y="236"/>
                  </a:moveTo>
                  <a:lnTo>
                    <a:pt x="166" y="345"/>
                  </a:lnTo>
                  <a:lnTo>
                    <a:pt x="0" y="140"/>
                  </a:lnTo>
                  <a:lnTo>
                    <a:pt x="187" y="0"/>
                  </a:lnTo>
                  <a:lnTo>
                    <a:pt x="229" y="75"/>
                  </a:lnTo>
                  <a:lnTo>
                    <a:pt x="288" y="81"/>
                  </a:lnTo>
                  <a:lnTo>
                    <a:pt x="297" y="27"/>
                  </a:lnTo>
                  <a:lnTo>
                    <a:pt x="331" y="38"/>
                  </a:lnTo>
                  <a:lnTo>
                    <a:pt x="375" y="117"/>
                  </a:lnTo>
                  <a:lnTo>
                    <a:pt x="348" y="128"/>
                  </a:lnTo>
                  <a:lnTo>
                    <a:pt x="367" y="236"/>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grpSp>
          <p:nvGrpSpPr>
            <p:cNvPr id="194" name="Group 1312"/>
            <p:cNvGrpSpPr>
              <a:grpSpLocks/>
            </p:cNvGrpSpPr>
            <p:nvPr/>
          </p:nvGrpSpPr>
          <p:grpSpPr bwMode="auto">
            <a:xfrm>
              <a:off x="1262063" y="5426153"/>
              <a:ext cx="42863" cy="42863"/>
              <a:chOff x="818" y="3530"/>
              <a:chExt cx="63" cy="71"/>
            </a:xfrm>
          </p:grpSpPr>
          <p:sp>
            <p:nvSpPr>
              <p:cNvPr id="930" name="Freeform 1313"/>
              <p:cNvSpPr>
                <a:spLocks/>
              </p:cNvSpPr>
              <p:nvPr/>
            </p:nvSpPr>
            <p:spPr bwMode="auto">
              <a:xfrm>
                <a:off x="818" y="3530"/>
                <a:ext cx="63" cy="71"/>
              </a:xfrm>
              <a:custGeom>
                <a:avLst/>
                <a:gdLst>
                  <a:gd name="T0" fmla="*/ 1 w 209"/>
                  <a:gd name="T1" fmla="*/ 0 h 211"/>
                  <a:gd name="T2" fmla="*/ 1 w 209"/>
                  <a:gd name="T3" fmla="*/ 1 h 211"/>
                  <a:gd name="T4" fmla="*/ 1 w 209"/>
                  <a:gd name="T5" fmla="*/ 1 h 211"/>
                  <a:gd name="T6" fmla="*/ 0 w 209"/>
                  <a:gd name="T7" fmla="*/ 1 h 211"/>
                  <a:gd name="T8" fmla="*/ 0 w 209"/>
                  <a:gd name="T9" fmla="*/ 1 h 211"/>
                  <a:gd name="T10" fmla="*/ 0 w 209"/>
                  <a:gd name="T11" fmla="*/ 1 h 211"/>
                  <a:gd name="T12" fmla="*/ 0 w 209"/>
                  <a:gd name="T13" fmla="*/ 0 h 211"/>
                  <a:gd name="T14" fmla="*/ 0 w 209"/>
                  <a:gd name="T15" fmla="*/ 0 h 211"/>
                  <a:gd name="T16" fmla="*/ 0 w 209"/>
                  <a:gd name="T17" fmla="*/ 0 h 211"/>
                  <a:gd name="T18" fmla="*/ 0 w 209"/>
                  <a:gd name="T19" fmla="*/ 0 h 211"/>
                  <a:gd name="T20" fmla="*/ 0 w 209"/>
                  <a:gd name="T21" fmla="*/ 0 h 211"/>
                  <a:gd name="T22" fmla="*/ 0 w 209"/>
                  <a:gd name="T23" fmla="*/ 0 h 211"/>
                  <a:gd name="T24" fmla="*/ 1 w 209"/>
                  <a:gd name="T25" fmla="*/ 0 h 211"/>
                  <a:gd name="T26" fmla="*/ 1 w 209"/>
                  <a:gd name="T27" fmla="*/ 0 h 2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9"/>
                  <a:gd name="T43" fmla="*/ 0 h 211"/>
                  <a:gd name="T44" fmla="*/ 209 w 209"/>
                  <a:gd name="T45" fmla="*/ 211 h 2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9" h="211">
                    <a:moveTo>
                      <a:pt x="203" y="93"/>
                    </a:moveTo>
                    <a:cubicBezTo>
                      <a:pt x="206" y="106"/>
                      <a:pt x="208" y="120"/>
                      <a:pt x="206" y="128"/>
                    </a:cubicBezTo>
                    <a:cubicBezTo>
                      <a:pt x="204" y="136"/>
                      <a:pt x="209" y="131"/>
                      <a:pt x="193" y="143"/>
                    </a:cubicBezTo>
                    <a:cubicBezTo>
                      <a:pt x="177" y="155"/>
                      <a:pt x="130" y="186"/>
                      <a:pt x="107" y="197"/>
                    </a:cubicBezTo>
                    <a:cubicBezTo>
                      <a:pt x="84" y="208"/>
                      <a:pt x="68" y="211"/>
                      <a:pt x="52" y="210"/>
                    </a:cubicBezTo>
                    <a:cubicBezTo>
                      <a:pt x="36" y="209"/>
                      <a:pt x="16" y="209"/>
                      <a:pt x="8" y="189"/>
                    </a:cubicBezTo>
                    <a:cubicBezTo>
                      <a:pt x="0" y="169"/>
                      <a:pt x="5" y="113"/>
                      <a:pt x="5" y="90"/>
                    </a:cubicBezTo>
                    <a:cubicBezTo>
                      <a:pt x="5" y="67"/>
                      <a:pt x="1" y="59"/>
                      <a:pt x="8" y="48"/>
                    </a:cubicBezTo>
                    <a:cubicBezTo>
                      <a:pt x="15" y="37"/>
                      <a:pt x="32" y="30"/>
                      <a:pt x="47" y="23"/>
                    </a:cubicBezTo>
                    <a:cubicBezTo>
                      <a:pt x="62" y="16"/>
                      <a:pt x="84" y="12"/>
                      <a:pt x="97" y="8"/>
                    </a:cubicBezTo>
                    <a:cubicBezTo>
                      <a:pt x="110" y="4"/>
                      <a:pt x="115" y="0"/>
                      <a:pt x="125" y="0"/>
                    </a:cubicBezTo>
                    <a:cubicBezTo>
                      <a:pt x="135" y="0"/>
                      <a:pt x="147" y="2"/>
                      <a:pt x="158" y="11"/>
                    </a:cubicBezTo>
                    <a:cubicBezTo>
                      <a:pt x="169" y="20"/>
                      <a:pt x="181" y="39"/>
                      <a:pt x="188" y="51"/>
                    </a:cubicBezTo>
                    <a:cubicBezTo>
                      <a:pt x="195" y="63"/>
                      <a:pt x="200" y="80"/>
                      <a:pt x="203" y="93"/>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931" name="Freeform 1314"/>
              <p:cNvSpPr>
                <a:spLocks/>
              </p:cNvSpPr>
              <p:nvPr/>
            </p:nvSpPr>
            <p:spPr bwMode="auto">
              <a:xfrm>
                <a:off x="826" y="3535"/>
                <a:ext cx="48" cy="54"/>
              </a:xfrm>
              <a:custGeom>
                <a:avLst/>
                <a:gdLst>
                  <a:gd name="T0" fmla="*/ 0 w 160"/>
                  <a:gd name="T1" fmla="*/ 0 h 159"/>
                  <a:gd name="T2" fmla="*/ 0 w 160"/>
                  <a:gd name="T3" fmla="*/ 1 h 159"/>
                  <a:gd name="T4" fmla="*/ 0 w 160"/>
                  <a:gd name="T5" fmla="*/ 1 h 159"/>
                  <a:gd name="T6" fmla="*/ 0 w 160"/>
                  <a:gd name="T7" fmla="*/ 1 h 159"/>
                  <a:gd name="T8" fmla="*/ 0 w 160"/>
                  <a:gd name="T9" fmla="*/ 1 h 159"/>
                  <a:gd name="T10" fmla="*/ 0 w 160"/>
                  <a:gd name="T11" fmla="*/ 0 h 159"/>
                  <a:gd name="T12" fmla="*/ 0 w 160"/>
                  <a:gd name="T13" fmla="*/ 0 h 159"/>
                  <a:gd name="T14" fmla="*/ 0 w 160"/>
                  <a:gd name="T15" fmla="*/ 0 h 159"/>
                  <a:gd name="T16" fmla="*/ 0 w 160"/>
                  <a:gd name="T17" fmla="*/ 0 h 159"/>
                  <a:gd name="T18" fmla="*/ 0 w 160"/>
                  <a:gd name="T19" fmla="*/ 0 h 159"/>
                  <a:gd name="T20" fmla="*/ 0 w 160"/>
                  <a:gd name="T21" fmla="*/ 0 h 159"/>
                  <a:gd name="T22" fmla="*/ 0 w 160"/>
                  <a:gd name="T23" fmla="*/ 0 h 159"/>
                  <a:gd name="T24" fmla="*/ 0 w 160"/>
                  <a:gd name="T25" fmla="*/ 0 h 159"/>
                  <a:gd name="T26" fmla="*/ 0 w 160"/>
                  <a:gd name="T27" fmla="*/ 0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0"/>
                  <a:gd name="T43" fmla="*/ 0 h 159"/>
                  <a:gd name="T44" fmla="*/ 160 w 160"/>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0" h="159">
                    <a:moveTo>
                      <a:pt x="153" y="100"/>
                    </a:moveTo>
                    <a:cubicBezTo>
                      <a:pt x="146" y="110"/>
                      <a:pt x="124" y="123"/>
                      <a:pt x="105" y="132"/>
                    </a:cubicBezTo>
                    <a:cubicBezTo>
                      <a:pt x="86" y="141"/>
                      <a:pt x="50" y="151"/>
                      <a:pt x="37" y="154"/>
                    </a:cubicBezTo>
                    <a:cubicBezTo>
                      <a:pt x="24" y="157"/>
                      <a:pt x="30" y="159"/>
                      <a:pt x="25" y="153"/>
                    </a:cubicBezTo>
                    <a:cubicBezTo>
                      <a:pt x="20" y="147"/>
                      <a:pt x="13" y="130"/>
                      <a:pt x="10" y="118"/>
                    </a:cubicBezTo>
                    <a:cubicBezTo>
                      <a:pt x="7" y="106"/>
                      <a:pt x="5" y="91"/>
                      <a:pt x="4" y="81"/>
                    </a:cubicBezTo>
                    <a:cubicBezTo>
                      <a:pt x="3" y="71"/>
                      <a:pt x="0" y="66"/>
                      <a:pt x="4" y="55"/>
                    </a:cubicBezTo>
                    <a:cubicBezTo>
                      <a:pt x="8" y="44"/>
                      <a:pt x="18" y="25"/>
                      <a:pt x="28" y="16"/>
                    </a:cubicBezTo>
                    <a:cubicBezTo>
                      <a:pt x="38" y="7"/>
                      <a:pt x="57" y="5"/>
                      <a:pt x="66" y="3"/>
                    </a:cubicBezTo>
                    <a:cubicBezTo>
                      <a:pt x="75" y="1"/>
                      <a:pt x="75" y="0"/>
                      <a:pt x="85" y="3"/>
                    </a:cubicBezTo>
                    <a:cubicBezTo>
                      <a:pt x="95" y="6"/>
                      <a:pt x="117" y="16"/>
                      <a:pt x="127" y="22"/>
                    </a:cubicBezTo>
                    <a:cubicBezTo>
                      <a:pt x="137" y="28"/>
                      <a:pt x="140" y="28"/>
                      <a:pt x="144" y="37"/>
                    </a:cubicBezTo>
                    <a:cubicBezTo>
                      <a:pt x="148" y="46"/>
                      <a:pt x="149" y="65"/>
                      <a:pt x="150" y="75"/>
                    </a:cubicBezTo>
                    <a:cubicBezTo>
                      <a:pt x="151" y="85"/>
                      <a:pt x="160" y="90"/>
                      <a:pt x="153" y="100"/>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grpSp>
        <p:sp>
          <p:nvSpPr>
            <p:cNvPr id="195" name="Freeform 1315"/>
            <p:cNvSpPr>
              <a:spLocks/>
            </p:cNvSpPr>
            <p:nvPr/>
          </p:nvSpPr>
          <p:spPr bwMode="auto">
            <a:xfrm>
              <a:off x="1143000" y="5165803"/>
              <a:ext cx="196850" cy="192088"/>
            </a:xfrm>
            <a:custGeom>
              <a:avLst/>
              <a:gdLst>
                <a:gd name="T0" fmla="*/ 2147483647 w 411"/>
                <a:gd name="T1" fmla="*/ 2147483647 h 360"/>
                <a:gd name="T2" fmla="*/ 2147483647 w 411"/>
                <a:gd name="T3" fmla="*/ 2147483647 h 360"/>
                <a:gd name="T4" fmla="*/ 2147483647 w 411"/>
                <a:gd name="T5" fmla="*/ 2147483647 h 360"/>
                <a:gd name="T6" fmla="*/ 2147483647 w 411"/>
                <a:gd name="T7" fmla="*/ 2147483647 h 360"/>
                <a:gd name="T8" fmla="*/ 2147483647 w 411"/>
                <a:gd name="T9" fmla="*/ 2147483647 h 360"/>
                <a:gd name="T10" fmla="*/ 2147483647 w 411"/>
                <a:gd name="T11" fmla="*/ 2147483647 h 360"/>
                <a:gd name="T12" fmla="*/ 2147483647 w 411"/>
                <a:gd name="T13" fmla="*/ 2147483647 h 360"/>
                <a:gd name="T14" fmla="*/ 2147483647 w 411"/>
                <a:gd name="T15" fmla="*/ 2147483647 h 360"/>
                <a:gd name="T16" fmla="*/ 0 w 411"/>
                <a:gd name="T17" fmla="*/ 2147483647 h 360"/>
                <a:gd name="T18" fmla="*/ 2147483647 w 411"/>
                <a:gd name="T19" fmla="*/ 2147483647 h 360"/>
                <a:gd name="T20" fmla="*/ 2147483647 w 411"/>
                <a:gd name="T21" fmla="*/ 2147483647 h 360"/>
                <a:gd name="T22" fmla="*/ 2147483647 w 411"/>
                <a:gd name="T23" fmla="*/ 2147483647 h 360"/>
                <a:gd name="T24" fmla="*/ 2147483647 w 411"/>
                <a:gd name="T25" fmla="*/ 2147483647 h 360"/>
                <a:gd name="T26" fmla="*/ 2147483647 w 411"/>
                <a:gd name="T27" fmla="*/ 0 h 360"/>
                <a:gd name="T28" fmla="*/ 2147483647 w 411"/>
                <a:gd name="T29" fmla="*/ 2147483647 h 36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1"/>
                <a:gd name="T46" fmla="*/ 0 h 360"/>
                <a:gd name="T47" fmla="*/ 411 w 411"/>
                <a:gd name="T48" fmla="*/ 360 h 36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1" h="360">
                  <a:moveTo>
                    <a:pt x="411" y="145"/>
                  </a:moveTo>
                  <a:lnTo>
                    <a:pt x="355" y="312"/>
                  </a:lnTo>
                  <a:lnTo>
                    <a:pt x="315" y="309"/>
                  </a:lnTo>
                  <a:lnTo>
                    <a:pt x="214" y="345"/>
                  </a:lnTo>
                  <a:lnTo>
                    <a:pt x="142" y="343"/>
                  </a:lnTo>
                  <a:lnTo>
                    <a:pt x="141" y="360"/>
                  </a:lnTo>
                  <a:lnTo>
                    <a:pt x="91" y="357"/>
                  </a:lnTo>
                  <a:lnTo>
                    <a:pt x="58" y="291"/>
                  </a:lnTo>
                  <a:lnTo>
                    <a:pt x="0" y="217"/>
                  </a:lnTo>
                  <a:lnTo>
                    <a:pt x="4" y="162"/>
                  </a:lnTo>
                  <a:lnTo>
                    <a:pt x="154" y="87"/>
                  </a:lnTo>
                  <a:lnTo>
                    <a:pt x="271" y="9"/>
                  </a:lnTo>
                  <a:lnTo>
                    <a:pt x="291" y="54"/>
                  </a:lnTo>
                  <a:lnTo>
                    <a:pt x="400" y="0"/>
                  </a:lnTo>
                  <a:lnTo>
                    <a:pt x="411" y="14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196" name="Freeform 1316"/>
            <p:cNvSpPr>
              <a:spLocks/>
            </p:cNvSpPr>
            <p:nvPr/>
          </p:nvSpPr>
          <p:spPr bwMode="auto">
            <a:xfrm>
              <a:off x="1346200" y="4864178"/>
              <a:ext cx="92075" cy="157163"/>
            </a:xfrm>
            <a:custGeom>
              <a:avLst/>
              <a:gdLst>
                <a:gd name="T0" fmla="*/ 2147483647 w 193"/>
                <a:gd name="T1" fmla="*/ 2147483647 h 292"/>
                <a:gd name="T2" fmla="*/ 2147483647 w 193"/>
                <a:gd name="T3" fmla="*/ 2147483647 h 292"/>
                <a:gd name="T4" fmla="*/ 2147483647 w 193"/>
                <a:gd name="T5" fmla="*/ 2147483647 h 292"/>
                <a:gd name="T6" fmla="*/ 2147483647 w 193"/>
                <a:gd name="T7" fmla="*/ 2147483647 h 292"/>
                <a:gd name="T8" fmla="*/ 2147483647 w 193"/>
                <a:gd name="T9" fmla="*/ 2147483647 h 292"/>
                <a:gd name="T10" fmla="*/ 2147483647 w 193"/>
                <a:gd name="T11" fmla="*/ 2147483647 h 292"/>
                <a:gd name="T12" fmla="*/ 2147483647 w 193"/>
                <a:gd name="T13" fmla="*/ 2147483647 h 292"/>
                <a:gd name="T14" fmla="*/ 2147483647 w 193"/>
                <a:gd name="T15" fmla="*/ 2147483647 h 292"/>
                <a:gd name="T16" fmla="*/ 2147483647 w 193"/>
                <a:gd name="T17" fmla="*/ 2147483647 h 292"/>
                <a:gd name="T18" fmla="*/ 2147483647 w 193"/>
                <a:gd name="T19" fmla="*/ 2147483647 h 292"/>
                <a:gd name="T20" fmla="*/ 2147483647 w 193"/>
                <a:gd name="T21" fmla="*/ 2147483647 h 292"/>
                <a:gd name="T22" fmla="*/ 2147483647 w 193"/>
                <a:gd name="T23" fmla="*/ 2147483647 h 292"/>
                <a:gd name="T24" fmla="*/ 2147483647 w 193"/>
                <a:gd name="T25" fmla="*/ 2147483647 h 292"/>
                <a:gd name="T26" fmla="*/ 2147483647 w 193"/>
                <a:gd name="T27" fmla="*/ 2147483647 h 292"/>
                <a:gd name="T28" fmla="*/ 2147483647 w 193"/>
                <a:gd name="T29" fmla="*/ 2147483647 h 292"/>
                <a:gd name="T30" fmla="*/ 2147483647 w 193"/>
                <a:gd name="T31" fmla="*/ 2147483647 h 29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3"/>
                <a:gd name="T49" fmla="*/ 0 h 292"/>
                <a:gd name="T50" fmla="*/ 193 w 193"/>
                <a:gd name="T51" fmla="*/ 292 h 29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3" h="292">
                  <a:moveTo>
                    <a:pt x="193" y="292"/>
                  </a:moveTo>
                  <a:lnTo>
                    <a:pt x="108" y="288"/>
                  </a:lnTo>
                  <a:lnTo>
                    <a:pt x="79" y="211"/>
                  </a:lnTo>
                  <a:lnTo>
                    <a:pt x="46" y="121"/>
                  </a:lnTo>
                  <a:lnTo>
                    <a:pt x="21" y="64"/>
                  </a:lnTo>
                  <a:lnTo>
                    <a:pt x="1" y="30"/>
                  </a:lnTo>
                  <a:cubicBezTo>
                    <a:pt x="0" y="20"/>
                    <a:pt x="10" y="8"/>
                    <a:pt x="16" y="4"/>
                  </a:cubicBezTo>
                  <a:cubicBezTo>
                    <a:pt x="22" y="0"/>
                    <a:pt x="31" y="1"/>
                    <a:pt x="40" y="6"/>
                  </a:cubicBezTo>
                  <a:lnTo>
                    <a:pt x="70" y="34"/>
                  </a:lnTo>
                  <a:cubicBezTo>
                    <a:pt x="80" y="43"/>
                    <a:pt x="89" y="53"/>
                    <a:pt x="97" y="61"/>
                  </a:cubicBezTo>
                  <a:cubicBezTo>
                    <a:pt x="105" y="69"/>
                    <a:pt x="113" y="73"/>
                    <a:pt x="118" y="81"/>
                  </a:cubicBezTo>
                  <a:cubicBezTo>
                    <a:pt x="123" y="89"/>
                    <a:pt x="125" y="96"/>
                    <a:pt x="130" y="108"/>
                  </a:cubicBezTo>
                  <a:lnTo>
                    <a:pt x="147" y="151"/>
                  </a:lnTo>
                  <a:lnTo>
                    <a:pt x="157" y="169"/>
                  </a:lnTo>
                  <a:lnTo>
                    <a:pt x="186" y="193"/>
                  </a:lnTo>
                  <a:lnTo>
                    <a:pt x="193" y="29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197" name="Freeform 1317"/>
            <p:cNvSpPr>
              <a:spLocks/>
            </p:cNvSpPr>
            <p:nvPr/>
          </p:nvSpPr>
          <p:spPr bwMode="auto">
            <a:xfrm>
              <a:off x="1273174" y="4196342"/>
              <a:ext cx="350835" cy="624974"/>
            </a:xfrm>
            <a:custGeom>
              <a:avLst/>
              <a:gdLst>
                <a:gd name="T0" fmla="*/ 0 w 10000"/>
                <a:gd name="T1" fmla="*/ 2147483647 h 10116"/>
                <a:gd name="T2" fmla="*/ 2147483647 w 10000"/>
                <a:gd name="T3" fmla="*/ 2147483647 h 10116"/>
                <a:gd name="T4" fmla="*/ 2147483647 w 10000"/>
                <a:gd name="T5" fmla="*/ 2147483647 h 10116"/>
                <a:gd name="T6" fmla="*/ 2147483647 w 10000"/>
                <a:gd name="T7" fmla="*/ 2147483647 h 10116"/>
                <a:gd name="T8" fmla="*/ 2147483647 w 10000"/>
                <a:gd name="T9" fmla="*/ 2147483647 h 10116"/>
                <a:gd name="T10" fmla="*/ 2147483647 w 10000"/>
                <a:gd name="T11" fmla="*/ 2147483647 h 10116"/>
                <a:gd name="T12" fmla="*/ 2147483647 w 10000"/>
                <a:gd name="T13" fmla="*/ 2147483647 h 10116"/>
                <a:gd name="T14" fmla="*/ 2147483647 w 10000"/>
                <a:gd name="T15" fmla="*/ 2147483647 h 10116"/>
                <a:gd name="T16" fmla="*/ 2147483647 w 10000"/>
                <a:gd name="T17" fmla="*/ 2147483647 h 10116"/>
                <a:gd name="T18" fmla="*/ 2147483647 w 10000"/>
                <a:gd name="T19" fmla="*/ 2147483647 h 10116"/>
                <a:gd name="T20" fmla="*/ 2147483647 w 10000"/>
                <a:gd name="T21" fmla="*/ 2147483647 h 10116"/>
                <a:gd name="T22" fmla="*/ 2147483647 w 10000"/>
                <a:gd name="T23" fmla="*/ 2147483647 h 10116"/>
                <a:gd name="T24" fmla="*/ 2147483647 w 10000"/>
                <a:gd name="T25" fmla="*/ 2147483647 h 10116"/>
                <a:gd name="T26" fmla="*/ 2147483647 w 10000"/>
                <a:gd name="T27" fmla="*/ 0 h 101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10116">
                  <a:moveTo>
                    <a:pt x="0" y="10116"/>
                  </a:moveTo>
                  <a:cubicBezTo>
                    <a:pt x="258" y="9917"/>
                    <a:pt x="530" y="9719"/>
                    <a:pt x="925" y="9512"/>
                  </a:cubicBezTo>
                  <a:cubicBezTo>
                    <a:pt x="1320" y="9305"/>
                    <a:pt x="1891" y="9079"/>
                    <a:pt x="2368" y="8874"/>
                  </a:cubicBezTo>
                  <a:cubicBezTo>
                    <a:pt x="2843" y="8665"/>
                    <a:pt x="3360" y="8459"/>
                    <a:pt x="3755" y="8250"/>
                  </a:cubicBezTo>
                  <a:cubicBezTo>
                    <a:pt x="4150" y="8044"/>
                    <a:pt x="4435" y="7888"/>
                    <a:pt x="4762" y="7629"/>
                  </a:cubicBezTo>
                  <a:cubicBezTo>
                    <a:pt x="5088" y="7372"/>
                    <a:pt x="5510" y="7007"/>
                    <a:pt x="5700" y="6722"/>
                  </a:cubicBezTo>
                  <a:cubicBezTo>
                    <a:pt x="5891" y="6438"/>
                    <a:pt x="5782" y="6223"/>
                    <a:pt x="5878" y="5946"/>
                  </a:cubicBezTo>
                  <a:cubicBezTo>
                    <a:pt x="5973" y="5669"/>
                    <a:pt x="6095" y="5298"/>
                    <a:pt x="6285" y="5056"/>
                  </a:cubicBezTo>
                  <a:cubicBezTo>
                    <a:pt x="6476" y="4815"/>
                    <a:pt x="6626" y="4781"/>
                    <a:pt x="6993" y="4520"/>
                  </a:cubicBezTo>
                  <a:cubicBezTo>
                    <a:pt x="7361" y="4262"/>
                    <a:pt x="8149" y="3786"/>
                    <a:pt x="8462" y="3485"/>
                  </a:cubicBezTo>
                  <a:cubicBezTo>
                    <a:pt x="8776" y="3182"/>
                    <a:pt x="8748" y="2967"/>
                    <a:pt x="8871" y="2707"/>
                  </a:cubicBezTo>
                  <a:cubicBezTo>
                    <a:pt x="8992" y="2448"/>
                    <a:pt x="9020" y="2198"/>
                    <a:pt x="9170" y="1948"/>
                  </a:cubicBezTo>
                  <a:cubicBezTo>
                    <a:pt x="9320" y="1698"/>
                    <a:pt x="9664" y="1530"/>
                    <a:pt x="9795" y="1205"/>
                  </a:cubicBezTo>
                  <a:cubicBezTo>
                    <a:pt x="9927" y="880"/>
                    <a:pt x="10000" y="302"/>
                    <a:pt x="9959"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198" name="Freeform 1318"/>
            <p:cNvSpPr>
              <a:spLocks/>
            </p:cNvSpPr>
            <p:nvPr/>
          </p:nvSpPr>
          <p:spPr bwMode="auto">
            <a:xfrm>
              <a:off x="1209675" y="4333953"/>
              <a:ext cx="238125" cy="209550"/>
            </a:xfrm>
            <a:custGeom>
              <a:avLst/>
              <a:gdLst>
                <a:gd name="T0" fmla="*/ 2147483647 w 497"/>
                <a:gd name="T1" fmla="*/ 2147483647 h 390"/>
                <a:gd name="T2" fmla="*/ 2147483647 w 497"/>
                <a:gd name="T3" fmla="*/ 2147483647 h 390"/>
                <a:gd name="T4" fmla="*/ 2147483647 w 497"/>
                <a:gd name="T5" fmla="*/ 2147483647 h 390"/>
                <a:gd name="T6" fmla="*/ 2147483647 w 497"/>
                <a:gd name="T7" fmla="*/ 2147483647 h 390"/>
                <a:gd name="T8" fmla="*/ 0 w 497"/>
                <a:gd name="T9" fmla="*/ 2147483647 h 390"/>
                <a:gd name="T10" fmla="*/ 2147483647 w 497"/>
                <a:gd name="T11" fmla="*/ 2147483647 h 390"/>
                <a:gd name="T12" fmla="*/ 2147483647 w 497"/>
                <a:gd name="T13" fmla="*/ 2147483647 h 390"/>
                <a:gd name="T14" fmla="*/ 2147483647 w 497"/>
                <a:gd name="T15" fmla="*/ 0 h 390"/>
                <a:gd name="T16" fmla="*/ 2147483647 w 497"/>
                <a:gd name="T17" fmla="*/ 2147483647 h 3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7"/>
                <a:gd name="T28" fmla="*/ 0 h 390"/>
                <a:gd name="T29" fmla="*/ 497 w 497"/>
                <a:gd name="T30" fmla="*/ 390 h 3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7" h="390">
                  <a:moveTo>
                    <a:pt x="497" y="85"/>
                  </a:moveTo>
                  <a:lnTo>
                    <a:pt x="350" y="232"/>
                  </a:lnTo>
                  <a:lnTo>
                    <a:pt x="270" y="337"/>
                  </a:lnTo>
                  <a:lnTo>
                    <a:pt x="18" y="390"/>
                  </a:lnTo>
                  <a:lnTo>
                    <a:pt x="0" y="250"/>
                  </a:lnTo>
                  <a:lnTo>
                    <a:pt x="75" y="177"/>
                  </a:lnTo>
                  <a:lnTo>
                    <a:pt x="162" y="18"/>
                  </a:lnTo>
                  <a:lnTo>
                    <a:pt x="447" y="0"/>
                  </a:lnTo>
                  <a:lnTo>
                    <a:pt x="497" y="8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199" name="Freeform 1319"/>
            <p:cNvSpPr>
              <a:spLocks/>
            </p:cNvSpPr>
            <p:nvPr/>
          </p:nvSpPr>
          <p:spPr bwMode="auto">
            <a:xfrm>
              <a:off x="498475" y="4016453"/>
              <a:ext cx="1238250" cy="1090613"/>
            </a:xfrm>
            <a:custGeom>
              <a:avLst/>
              <a:gdLst>
                <a:gd name="T0" fmla="*/ 0 w 780"/>
                <a:gd name="T1" fmla="*/ 2147483647 h 687"/>
                <a:gd name="T2" fmla="*/ 2147483647 w 780"/>
                <a:gd name="T3" fmla="*/ 2147483647 h 687"/>
                <a:gd name="T4" fmla="*/ 2147483647 w 780"/>
                <a:gd name="T5" fmla="*/ 2147483647 h 687"/>
                <a:gd name="T6" fmla="*/ 2147483647 w 780"/>
                <a:gd name="T7" fmla="*/ 2147483647 h 687"/>
                <a:gd name="T8" fmla="*/ 2147483647 w 780"/>
                <a:gd name="T9" fmla="*/ 2147483647 h 687"/>
                <a:gd name="T10" fmla="*/ 2147483647 w 780"/>
                <a:gd name="T11" fmla="*/ 2147483647 h 687"/>
                <a:gd name="T12" fmla="*/ 2147483647 w 780"/>
                <a:gd name="T13" fmla="*/ 2147483647 h 687"/>
                <a:gd name="T14" fmla="*/ 2147483647 w 780"/>
                <a:gd name="T15" fmla="*/ 2147483647 h 687"/>
                <a:gd name="T16" fmla="*/ 2147483647 w 780"/>
                <a:gd name="T17" fmla="*/ 2147483647 h 687"/>
                <a:gd name="T18" fmla="*/ 2147483647 w 780"/>
                <a:gd name="T19" fmla="*/ 2147483647 h 687"/>
                <a:gd name="T20" fmla="*/ 2147483647 w 780"/>
                <a:gd name="T21" fmla="*/ 2147483647 h 687"/>
                <a:gd name="T22" fmla="*/ 2147483647 w 780"/>
                <a:gd name="T23" fmla="*/ 2147483647 h 687"/>
                <a:gd name="T24" fmla="*/ 2147483647 w 780"/>
                <a:gd name="T25" fmla="*/ 2147483647 h 687"/>
                <a:gd name="T26" fmla="*/ 2147483647 w 780"/>
                <a:gd name="T27" fmla="*/ 2147483647 h 687"/>
                <a:gd name="T28" fmla="*/ 2147483647 w 780"/>
                <a:gd name="T29" fmla="*/ 2147483647 h 687"/>
                <a:gd name="T30" fmla="*/ 2147483647 w 780"/>
                <a:gd name="T31" fmla="*/ 2147483647 h 687"/>
                <a:gd name="T32" fmla="*/ 2147483647 w 780"/>
                <a:gd name="T33" fmla="*/ 2147483647 h 687"/>
                <a:gd name="T34" fmla="*/ 2147483647 w 780"/>
                <a:gd name="T35" fmla="*/ 2147483647 h 687"/>
                <a:gd name="T36" fmla="*/ 2147483647 w 780"/>
                <a:gd name="T37" fmla="*/ 2147483647 h 687"/>
                <a:gd name="T38" fmla="*/ 2147483647 w 780"/>
                <a:gd name="T39" fmla="*/ 0 h 68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80"/>
                <a:gd name="T61" fmla="*/ 0 h 687"/>
                <a:gd name="T62" fmla="*/ 780 w 780"/>
                <a:gd name="T63" fmla="*/ 687 h 68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80" h="687">
                  <a:moveTo>
                    <a:pt x="0" y="687"/>
                  </a:moveTo>
                  <a:cubicBezTo>
                    <a:pt x="10" y="678"/>
                    <a:pt x="43" y="646"/>
                    <a:pt x="56" y="631"/>
                  </a:cubicBezTo>
                  <a:cubicBezTo>
                    <a:pt x="69" y="616"/>
                    <a:pt x="70" y="609"/>
                    <a:pt x="80" y="597"/>
                  </a:cubicBezTo>
                  <a:cubicBezTo>
                    <a:pt x="90" y="585"/>
                    <a:pt x="100" y="578"/>
                    <a:pt x="116" y="561"/>
                  </a:cubicBezTo>
                  <a:cubicBezTo>
                    <a:pt x="132" y="544"/>
                    <a:pt x="155" y="514"/>
                    <a:pt x="176" y="495"/>
                  </a:cubicBezTo>
                  <a:cubicBezTo>
                    <a:pt x="197" y="476"/>
                    <a:pt x="223" y="463"/>
                    <a:pt x="240" y="449"/>
                  </a:cubicBezTo>
                  <a:cubicBezTo>
                    <a:pt x="257" y="435"/>
                    <a:pt x="265" y="421"/>
                    <a:pt x="276" y="412"/>
                  </a:cubicBezTo>
                  <a:cubicBezTo>
                    <a:pt x="288" y="402"/>
                    <a:pt x="295" y="402"/>
                    <a:pt x="308" y="392"/>
                  </a:cubicBezTo>
                  <a:cubicBezTo>
                    <a:pt x="321" y="383"/>
                    <a:pt x="340" y="369"/>
                    <a:pt x="356" y="357"/>
                  </a:cubicBezTo>
                  <a:cubicBezTo>
                    <a:pt x="372" y="345"/>
                    <a:pt x="394" y="333"/>
                    <a:pt x="406" y="320"/>
                  </a:cubicBezTo>
                  <a:cubicBezTo>
                    <a:pt x="418" y="306"/>
                    <a:pt x="419" y="291"/>
                    <a:pt x="429" y="275"/>
                  </a:cubicBezTo>
                  <a:cubicBezTo>
                    <a:pt x="439" y="260"/>
                    <a:pt x="454" y="239"/>
                    <a:pt x="465" y="226"/>
                  </a:cubicBezTo>
                  <a:cubicBezTo>
                    <a:pt x="477" y="213"/>
                    <a:pt x="485" y="202"/>
                    <a:pt x="497" y="195"/>
                  </a:cubicBezTo>
                  <a:cubicBezTo>
                    <a:pt x="509" y="188"/>
                    <a:pt x="524" y="185"/>
                    <a:pt x="537" y="183"/>
                  </a:cubicBezTo>
                  <a:cubicBezTo>
                    <a:pt x="549" y="180"/>
                    <a:pt x="561" y="182"/>
                    <a:pt x="571" y="180"/>
                  </a:cubicBezTo>
                  <a:cubicBezTo>
                    <a:pt x="582" y="178"/>
                    <a:pt x="589" y="176"/>
                    <a:pt x="600" y="171"/>
                  </a:cubicBezTo>
                  <a:cubicBezTo>
                    <a:pt x="611" y="165"/>
                    <a:pt x="619" y="159"/>
                    <a:pt x="636" y="145"/>
                  </a:cubicBezTo>
                  <a:cubicBezTo>
                    <a:pt x="654" y="131"/>
                    <a:pt x="687" y="102"/>
                    <a:pt x="705" y="86"/>
                  </a:cubicBezTo>
                  <a:cubicBezTo>
                    <a:pt x="722" y="70"/>
                    <a:pt x="730" y="64"/>
                    <a:pt x="742" y="49"/>
                  </a:cubicBezTo>
                  <a:cubicBezTo>
                    <a:pt x="754" y="35"/>
                    <a:pt x="767" y="17"/>
                    <a:pt x="780"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00" name="Freeform 1320"/>
            <p:cNvSpPr>
              <a:spLocks/>
            </p:cNvSpPr>
            <p:nvPr/>
          </p:nvSpPr>
          <p:spPr bwMode="auto">
            <a:xfrm>
              <a:off x="606425" y="5334078"/>
              <a:ext cx="1079500" cy="341313"/>
            </a:xfrm>
            <a:custGeom>
              <a:avLst/>
              <a:gdLst>
                <a:gd name="T0" fmla="*/ 0 w 680"/>
                <a:gd name="T1" fmla="*/ 2147483647 h 215"/>
                <a:gd name="T2" fmla="*/ 2147483647 w 680"/>
                <a:gd name="T3" fmla="*/ 2147483647 h 215"/>
                <a:gd name="T4" fmla="*/ 2147483647 w 680"/>
                <a:gd name="T5" fmla="*/ 2147483647 h 215"/>
                <a:gd name="T6" fmla="*/ 2147483647 w 680"/>
                <a:gd name="T7" fmla="*/ 2147483647 h 215"/>
                <a:gd name="T8" fmla="*/ 2147483647 w 680"/>
                <a:gd name="T9" fmla="*/ 2147483647 h 215"/>
                <a:gd name="T10" fmla="*/ 2147483647 w 680"/>
                <a:gd name="T11" fmla="*/ 2147483647 h 215"/>
                <a:gd name="T12" fmla="*/ 2147483647 w 680"/>
                <a:gd name="T13" fmla="*/ 2147483647 h 215"/>
                <a:gd name="T14" fmla="*/ 2147483647 w 680"/>
                <a:gd name="T15" fmla="*/ 2147483647 h 215"/>
                <a:gd name="T16" fmla="*/ 2147483647 w 680"/>
                <a:gd name="T17" fmla="*/ 2147483647 h 215"/>
                <a:gd name="T18" fmla="*/ 2147483647 w 680"/>
                <a:gd name="T19" fmla="*/ 2147483647 h 215"/>
                <a:gd name="T20" fmla="*/ 2147483647 w 680"/>
                <a:gd name="T21" fmla="*/ 2147483647 h 215"/>
                <a:gd name="T22" fmla="*/ 2147483647 w 680"/>
                <a:gd name="T23" fmla="*/ 2147483647 h 215"/>
                <a:gd name="T24" fmla="*/ 2147483647 w 680"/>
                <a:gd name="T25" fmla="*/ 2147483647 h 215"/>
                <a:gd name="T26" fmla="*/ 2147483647 w 680"/>
                <a:gd name="T27" fmla="*/ 0 h 2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80"/>
                <a:gd name="T43" fmla="*/ 0 h 215"/>
                <a:gd name="T44" fmla="*/ 680 w 680"/>
                <a:gd name="T45" fmla="*/ 215 h 2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80" h="215">
                  <a:moveTo>
                    <a:pt x="0" y="215"/>
                  </a:moveTo>
                  <a:cubicBezTo>
                    <a:pt x="13" y="204"/>
                    <a:pt x="27" y="194"/>
                    <a:pt x="43" y="179"/>
                  </a:cubicBezTo>
                  <a:cubicBezTo>
                    <a:pt x="60" y="164"/>
                    <a:pt x="84" y="141"/>
                    <a:pt x="100" y="126"/>
                  </a:cubicBezTo>
                  <a:cubicBezTo>
                    <a:pt x="116" y="112"/>
                    <a:pt x="126" y="103"/>
                    <a:pt x="141" y="94"/>
                  </a:cubicBezTo>
                  <a:cubicBezTo>
                    <a:pt x="156" y="86"/>
                    <a:pt x="173" y="80"/>
                    <a:pt x="189" y="77"/>
                  </a:cubicBezTo>
                  <a:cubicBezTo>
                    <a:pt x="206" y="73"/>
                    <a:pt x="224" y="74"/>
                    <a:pt x="240" y="73"/>
                  </a:cubicBezTo>
                  <a:cubicBezTo>
                    <a:pt x="256" y="71"/>
                    <a:pt x="263" y="70"/>
                    <a:pt x="286" y="66"/>
                  </a:cubicBezTo>
                  <a:cubicBezTo>
                    <a:pt x="309" y="62"/>
                    <a:pt x="354" y="55"/>
                    <a:pt x="379" y="51"/>
                  </a:cubicBezTo>
                  <a:cubicBezTo>
                    <a:pt x="403" y="48"/>
                    <a:pt x="412" y="50"/>
                    <a:pt x="432" y="46"/>
                  </a:cubicBezTo>
                  <a:cubicBezTo>
                    <a:pt x="452" y="42"/>
                    <a:pt x="481" y="31"/>
                    <a:pt x="498" y="27"/>
                  </a:cubicBezTo>
                  <a:cubicBezTo>
                    <a:pt x="515" y="23"/>
                    <a:pt x="518" y="20"/>
                    <a:pt x="530" y="19"/>
                  </a:cubicBezTo>
                  <a:cubicBezTo>
                    <a:pt x="543" y="18"/>
                    <a:pt x="555" y="21"/>
                    <a:pt x="570" y="19"/>
                  </a:cubicBezTo>
                  <a:cubicBezTo>
                    <a:pt x="586" y="17"/>
                    <a:pt x="604" y="9"/>
                    <a:pt x="622" y="6"/>
                  </a:cubicBezTo>
                  <a:cubicBezTo>
                    <a:pt x="640" y="3"/>
                    <a:pt x="668" y="1"/>
                    <a:pt x="680"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01" name="Freeform 1321"/>
            <p:cNvSpPr>
              <a:spLocks/>
            </p:cNvSpPr>
            <p:nvPr/>
          </p:nvSpPr>
          <p:spPr bwMode="auto">
            <a:xfrm>
              <a:off x="579438" y="2243216"/>
              <a:ext cx="2435225" cy="3890963"/>
            </a:xfrm>
            <a:custGeom>
              <a:avLst/>
              <a:gdLst>
                <a:gd name="T0" fmla="*/ 2147483647 w 1534"/>
                <a:gd name="T1" fmla="*/ 2147483647 h 2451"/>
                <a:gd name="T2" fmla="*/ 2147483647 w 1534"/>
                <a:gd name="T3" fmla="*/ 2147483647 h 2451"/>
                <a:gd name="T4" fmla="*/ 2147483647 w 1534"/>
                <a:gd name="T5" fmla="*/ 2147483647 h 2451"/>
                <a:gd name="T6" fmla="*/ 2147483647 w 1534"/>
                <a:gd name="T7" fmla="*/ 2147483647 h 2451"/>
                <a:gd name="T8" fmla="*/ 2147483647 w 1534"/>
                <a:gd name="T9" fmla="*/ 2147483647 h 2451"/>
                <a:gd name="T10" fmla="*/ 2147483647 w 1534"/>
                <a:gd name="T11" fmla="*/ 2147483647 h 2451"/>
                <a:gd name="T12" fmla="*/ 2147483647 w 1534"/>
                <a:gd name="T13" fmla="*/ 2147483647 h 2451"/>
                <a:gd name="T14" fmla="*/ 2147483647 w 1534"/>
                <a:gd name="T15" fmla="*/ 2147483647 h 2451"/>
                <a:gd name="T16" fmla="*/ 2147483647 w 1534"/>
                <a:gd name="T17" fmla="*/ 2147483647 h 2451"/>
                <a:gd name="T18" fmla="*/ 2147483647 w 1534"/>
                <a:gd name="T19" fmla="*/ 2147483647 h 2451"/>
                <a:gd name="T20" fmla="*/ 2147483647 w 1534"/>
                <a:gd name="T21" fmla="*/ 2147483647 h 2451"/>
                <a:gd name="T22" fmla="*/ 2147483647 w 1534"/>
                <a:gd name="T23" fmla="*/ 2147483647 h 2451"/>
                <a:gd name="T24" fmla="*/ 2147483647 w 1534"/>
                <a:gd name="T25" fmla="*/ 2147483647 h 2451"/>
                <a:gd name="T26" fmla="*/ 2147483647 w 1534"/>
                <a:gd name="T27" fmla="*/ 2147483647 h 2451"/>
                <a:gd name="T28" fmla="*/ 2147483647 w 1534"/>
                <a:gd name="T29" fmla="*/ 2147483647 h 2451"/>
                <a:gd name="T30" fmla="*/ 2147483647 w 1534"/>
                <a:gd name="T31" fmla="*/ 2147483647 h 2451"/>
                <a:gd name="T32" fmla="*/ 2147483647 w 1534"/>
                <a:gd name="T33" fmla="*/ 2147483647 h 2451"/>
                <a:gd name="T34" fmla="*/ 2147483647 w 1534"/>
                <a:gd name="T35" fmla="*/ 2147483647 h 2451"/>
                <a:gd name="T36" fmla="*/ 2147483647 w 1534"/>
                <a:gd name="T37" fmla="*/ 2147483647 h 2451"/>
                <a:gd name="T38" fmla="*/ 2147483647 w 1534"/>
                <a:gd name="T39" fmla="*/ 2147483647 h 2451"/>
                <a:gd name="T40" fmla="*/ 2147483647 w 1534"/>
                <a:gd name="T41" fmla="*/ 2147483647 h 2451"/>
                <a:gd name="T42" fmla="*/ 2147483647 w 1534"/>
                <a:gd name="T43" fmla="*/ 2147483647 h 2451"/>
                <a:gd name="T44" fmla="*/ 2147483647 w 1534"/>
                <a:gd name="T45" fmla="*/ 2147483647 h 2451"/>
                <a:gd name="T46" fmla="*/ 2147483647 w 1534"/>
                <a:gd name="T47" fmla="*/ 2147483647 h 2451"/>
                <a:gd name="T48" fmla="*/ 2147483647 w 1534"/>
                <a:gd name="T49" fmla="*/ 2147483647 h 2451"/>
                <a:gd name="T50" fmla="*/ 2147483647 w 1534"/>
                <a:gd name="T51" fmla="*/ 2147483647 h 2451"/>
                <a:gd name="T52" fmla="*/ 2147483647 w 1534"/>
                <a:gd name="T53" fmla="*/ 2147483647 h 2451"/>
                <a:gd name="T54" fmla="*/ 2147483647 w 1534"/>
                <a:gd name="T55" fmla="*/ 2147483647 h 2451"/>
                <a:gd name="T56" fmla="*/ 2147483647 w 1534"/>
                <a:gd name="T57" fmla="*/ 2147483647 h 2451"/>
                <a:gd name="T58" fmla="*/ 2147483647 w 1534"/>
                <a:gd name="T59" fmla="*/ 2147483647 h 2451"/>
                <a:gd name="T60" fmla="*/ 2147483647 w 1534"/>
                <a:gd name="T61" fmla="*/ 2147483647 h 2451"/>
                <a:gd name="T62" fmla="*/ 2147483647 w 1534"/>
                <a:gd name="T63" fmla="*/ 2147483647 h 2451"/>
                <a:gd name="T64" fmla="*/ 2147483647 w 1534"/>
                <a:gd name="T65" fmla="*/ 2147483647 h 245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4"/>
                <a:gd name="T100" fmla="*/ 0 h 2451"/>
                <a:gd name="T101" fmla="*/ 1534 w 1534"/>
                <a:gd name="T102" fmla="*/ 2451 h 245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4" h="2451">
                  <a:moveTo>
                    <a:pt x="1534" y="2451"/>
                  </a:moveTo>
                  <a:cubicBezTo>
                    <a:pt x="1532" y="2432"/>
                    <a:pt x="1534" y="2377"/>
                    <a:pt x="1519" y="2338"/>
                  </a:cubicBezTo>
                  <a:cubicBezTo>
                    <a:pt x="1504" y="2299"/>
                    <a:pt x="1462" y="2252"/>
                    <a:pt x="1443" y="2218"/>
                  </a:cubicBezTo>
                  <a:cubicBezTo>
                    <a:pt x="1424" y="2184"/>
                    <a:pt x="1413" y="2151"/>
                    <a:pt x="1404" y="2134"/>
                  </a:cubicBezTo>
                  <a:cubicBezTo>
                    <a:pt x="1395" y="2117"/>
                    <a:pt x="1393" y="2122"/>
                    <a:pt x="1390" y="2118"/>
                  </a:cubicBezTo>
                  <a:cubicBezTo>
                    <a:pt x="1387" y="2114"/>
                    <a:pt x="1385" y="2117"/>
                    <a:pt x="1385" y="2112"/>
                  </a:cubicBezTo>
                  <a:cubicBezTo>
                    <a:pt x="1385" y="2107"/>
                    <a:pt x="1392" y="2097"/>
                    <a:pt x="1393" y="2085"/>
                  </a:cubicBezTo>
                  <a:cubicBezTo>
                    <a:pt x="1394" y="2073"/>
                    <a:pt x="1394" y="2053"/>
                    <a:pt x="1392" y="2041"/>
                  </a:cubicBezTo>
                  <a:cubicBezTo>
                    <a:pt x="1390" y="2029"/>
                    <a:pt x="1386" y="2021"/>
                    <a:pt x="1381" y="2010"/>
                  </a:cubicBezTo>
                  <a:cubicBezTo>
                    <a:pt x="1376" y="1999"/>
                    <a:pt x="1368" y="1986"/>
                    <a:pt x="1359" y="1975"/>
                  </a:cubicBezTo>
                  <a:cubicBezTo>
                    <a:pt x="1350" y="1964"/>
                    <a:pt x="1336" y="1955"/>
                    <a:pt x="1329" y="1945"/>
                  </a:cubicBezTo>
                  <a:cubicBezTo>
                    <a:pt x="1322" y="1935"/>
                    <a:pt x="1321" y="1925"/>
                    <a:pt x="1317" y="1914"/>
                  </a:cubicBezTo>
                  <a:cubicBezTo>
                    <a:pt x="1313" y="1903"/>
                    <a:pt x="1305" y="1891"/>
                    <a:pt x="1302" y="1878"/>
                  </a:cubicBezTo>
                  <a:cubicBezTo>
                    <a:pt x="1299" y="1865"/>
                    <a:pt x="1299" y="1853"/>
                    <a:pt x="1296" y="1838"/>
                  </a:cubicBezTo>
                  <a:cubicBezTo>
                    <a:pt x="1293" y="1823"/>
                    <a:pt x="1289" y="1801"/>
                    <a:pt x="1284" y="1786"/>
                  </a:cubicBezTo>
                  <a:cubicBezTo>
                    <a:pt x="1279" y="1771"/>
                    <a:pt x="1273" y="1757"/>
                    <a:pt x="1269" y="1746"/>
                  </a:cubicBezTo>
                  <a:cubicBezTo>
                    <a:pt x="1265" y="1735"/>
                    <a:pt x="1265" y="1732"/>
                    <a:pt x="1262" y="1719"/>
                  </a:cubicBezTo>
                  <a:cubicBezTo>
                    <a:pt x="1259" y="1706"/>
                    <a:pt x="1253" y="1678"/>
                    <a:pt x="1249" y="1668"/>
                  </a:cubicBezTo>
                  <a:cubicBezTo>
                    <a:pt x="1245" y="1658"/>
                    <a:pt x="1244" y="1664"/>
                    <a:pt x="1240" y="1659"/>
                  </a:cubicBezTo>
                  <a:cubicBezTo>
                    <a:pt x="1236" y="1654"/>
                    <a:pt x="1232" y="1643"/>
                    <a:pt x="1225" y="1639"/>
                  </a:cubicBezTo>
                  <a:cubicBezTo>
                    <a:pt x="1218" y="1635"/>
                    <a:pt x="1204" y="1637"/>
                    <a:pt x="1197" y="1633"/>
                  </a:cubicBezTo>
                  <a:cubicBezTo>
                    <a:pt x="1190" y="1629"/>
                    <a:pt x="1186" y="1624"/>
                    <a:pt x="1182" y="1617"/>
                  </a:cubicBezTo>
                  <a:cubicBezTo>
                    <a:pt x="1178" y="1610"/>
                    <a:pt x="1177" y="1600"/>
                    <a:pt x="1171" y="1593"/>
                  </a:cubicBezTo>
                  <a:cubicBezTo>
                    <a:pt x="1165" y="1586"/>
                    <a:pt x="1152" y="1584"/>
                    <a:pt x="1144" y="1576"/>
                  </a:cubicBezTo>
                  <a:cubicBezTo>
                    <a:pt x="1136" y="1568"/>
                    <a:pt x="1132" y="1556"/>
                    <a:pt x="1125" y="1545"/>
                  </a:cubicBezTo>
                  <a:cubicBezTo>
                    <a:pt x="1118" y="1534"/>
                    <a:pt x="1109" y="1522"/>
                    <a:pt x="1101" y="1513"/>
                  </a:cubicBezTo>
                  <a:cubicBezTo>
                    <a:pt x="1093" y="1504"/>
                    <a:pt x="1085" y="1497"/>
                    <a:pt x="1078" y="1491"/>
                  </a:cubicBezTo>
                  <a:cubicBezTo>
                    <a:pt x="1071" y="1485"/>
                    <a:pt x="1065" y="1482"/>
                    <a:pt x="1057" y="1477"/>
                  </a:cubicBezTo>
                  <a:cubicBezTo>
                    <a:pt x="1049" y="1472"/>
                    <a:pt x="1039" y="1466"/>
                    <a:pt x="1030" y="1458"/>
                  </a:cubicBezTo>
                  <a:cubicBezTo>
                    <a:pt x="1021" y="1450"/>
                    <a:pt x="1011" y="1437"/>
                    <a:pt x="1002" y="1429"/>
                  </a:cubicBezTo>
                  <a:cubicBezTo>
                    <a:pt x="993" y="1421"/>
                    <a:pt x="986" y="1414"/>
                    <a:pt x="979" y="1408"/>
                  </a:cubicBezTo>
                  <a:cubicBezTo>
                    <a:pt x="972" y="1402"/>
                    <a:pt x="966" y="1397"/>
                    <a:pt x="958" y="1390"/>
                  </a:cubicBezTo>
                  <a:cubicBezTo>
                    <a:pt x="950" y="1383"/>
                    <a:pt x="941" y="1372"/>
                    <a:pt x="931" y="1363"/>
                  </a:cubicBezTo>
                  <a:cubicBezTo>
                    <a:pt x="921" y="1354"/>
                    <a:pt x="905" y="1343"/>
                    <a:pt x="897" y="1335"/>
                  </a:cubicBezTo>
                  <a:cubicBezTo>
                    <a:pt x="889" y="1327"/>
                    <a:pt x="890" y="1322"/>
                    <a:pt x="885" y="1317"/>
                  </a:cubicBezTo>
                  <a:cubicBezTo>
                    <a:pt x="880" y="1312"/>
                    <a:pt x="869" y="1310"/>
                    <a:pt x="865" y="1306"/>
                  </a:cubicBezTo>
                  <a:cubicBezTo>
                    <a:pt x="861" y="1303"/>
                    <a:pt x="866" y="1300"/>
                    <a:pt x="863" y="1297"/>
                  </a:cubicBezTo>
                  <a:cubicBezTo>
                    <a:pt x="860" y="1294"/>
                    <a:pt x="852" y="1292"/>
                    <a:pt x="847" y="1285"/>
                  </a:cubicBezTo>
                  <a:cubicBezTo>
                    <a:pt x="842" y="1278"/>
                    <a:pt x="837" y="1264"/>
                    <a:pt x="834" y="1255"/>
                  </a:cubicBezTo>
                  <a:cubicBezTo>
                    <a:pt x="831" y="1246"/>
                    <a:pt x="834" y="1241"/>
                    <a:pt x="832" y="1231"/>
                  </a:cubicBezTo>
                  <a:cubicBezTo>
                    <a:pt x="830" y="1221"/>
                    <a:pt x="824" y="1204"/>
                    <a:pt x="820" y="1192"/>
                  </a:cubicBezTo>
                  <a:cubicBezTo>
                    <a:pt x="816" y="1180"/>
                    <a:pt x="813" y="1175"/>
                    <a:pt x="807" y="1159"/>
                  </a:cubicBezTo>
                  <a:cubicBezTo>
                    <a:pt x="801" y="1143"/>
                    <a:pt x="791" y="1118"/>
                    <a:pt x="786" y="1095"/>
                  </a:cubicBezTo>
                  <a:cubicBezTo>
                    <a:pt x="781" y="1072"/>
                    <a:pt x="784" y="1042"/>
                    <a:pt x="778" y="1023"/>
                  </a:cubicBezTo>
                  <a:cubicBezTo>
                    <a:pt x="772" y="1004"/>
                    <a:pt x="767" y="999"/>
                    <a:pt x="748" y="982"/>
                  </a:cubicBezTo>
                  <a:cubicBezTo>
                    <a:pt x="729" y="965"/>
                    <a:pt x="684" y="936"/>
                    <a:pt x="666" y="922"/>
                  </a:cubicBezTo>
                  <a:cubicBezTo>
                    <a:pt x="648" y="908"/>
                    <a:pt x="652" y="903"/>
                    <a:pt x="637" y="897"/>
                  </a:cubicBezTo>
                  <a:cubicBezTo>
                    <a:pt x="622" y="891"/>
                    <a:pt x="587" y="893"/>
                    <a:pt x="573" y="886"/>
                  </a:cubicBezTo>
                  <a:cubicBezTo>
                    <a:pt x="559" y="879"/>
                    <a:pt x="559" y="860"/>
                    <a:pt x="553" y="855"/>
                  </a:cubicBezTo>
                  <a:cubicBezTo>
                    <a:pt x="547" y="850"/>
                    <a:pt x="542" y="859"/>
                    <a:pt x="537" y="859"/>
                  </a:cubicBezTo>
                  <a:cubicBezTo>
                    <a:pt x="532" y="859"/>
                    <a:pt x="524" y="865"/>
                    <a:pt x="522" y="858"/>
                  </a:cubicBezTo>
                  <a:cubicBezTo>
                    <a:pt x="520" y="851"/>
                    <a:pt x="528" y="821"/>
                    <a:pt x="522" y="816"/>
                  </a:cubicBezTo>
                  <a:cubicBezTo>
                    <a:pt x="516" y="811"/>
                    <a:pt x="496" y="831"/>
                    <a:pt x="486" y="826"/>
                  </a:cubicBezTo>
                  <a:cubicBezTo>
                    <a:pt x="476" y="821"/>
                    <a:pt x="469" y="797"/>
                    <a:pt x="460" y="787"/>
                  </a:cubicBezTo>
                  <a:cubicBezTo>
                    <a:pt x="451" y="777"/>
                    <a:pt x="443" y="790"/>
                    <a:pt x="433" y="763"/>
                  </a:cubicBezTo>
                  <a:cubicBezTo>
                    <a:pt x="423" y="736"/>
                    <a:pt x="407" y="661"/>
                    <a:pt x="397" y="625"/>
                  </a:cubicBezTo>
                  <a:cubicBezTo>
                    <a:pt x="387" y="589"/>
                    <a:pt x="378" y="574"/>
                    <a:pt x="375" y="549"/>
                  </a:cubicBezTo>
                  <a:cubicBezTo>
                    <a:pt x="372" y="524"/>
                    <a:pt x="378" y="497"/>
                    <a:pt x="376" y="474"/>
                  </a:cubicBezTo>
                  <a:cubicBezTo>
                    <a:pt x="374" y="451"/>
                    <a:pt x="379" y="426"/>
                    <a:pt x="364" y="408"/>
                  </a:cubicBezTo>
                  <a:cubicBezTo>
                    <a:pt x="349" y="390"/>
                    <a:pt x="304" y="377"/>
                    <a:pt x="289" y="363"/>
                  </a:cubicBezTo>
                  <a:cubicBezTo>
                    <a:pt x="274" y="349"/>
                    <a:pt x="275" y="341"/>
                    <a:pt x="274" y="324"/>
                  </a:cubicBezTo>
                  <a:cubicBezTo>
                    <a:pt x="273" y="307"/>
                    <a:pt x="289" y="276"/>
                    <a:pt x="282" y="259"/>
                  </a:cubicBezTo>
                  <a:cubicBezTo>
                    <a:pt x="275" y="242"/>
                    <a:pt x="257" y="244"/>
                    <a:pt x="232" y="222"/>
                  </a:cubicBezTo>
                  <a:cubicBezTo>
                    <a:pt x="207" y="200"/>
                    <a:pt x="156" y="151"/>
                    <a:pt x="135" y="126"/>
                  </a:cubicBezTo>
                  <a:cubicBezTo>
                    <a:pt x="114" y="101"/>
                    <a:pt x="121" y="80"/>
                    <a:pt x="109" y="72"/>
                  </a:cubicBezTo>
                  <a:cubicBezTo>
                    <a:pt x="97" y="64"/>
                    <a:pt x="79" y="91"/>
                    <a:pt x="61" y="79"/>
                  </a:cubicBezTo>
                  <a:cubicBezTo>
                    <a:pt x="43" y="67"/>
                    <a:pt x="13" y="16"/>
                    <a:pt x="0" y="0"/>
                  </a:cubicBezTo>
                </a:path>
              </a:pathLst>
            </a:custGeom>
            <a:noFill/>
            <a:ln w="12700"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02" name="Freeform 1322"/>
            <p:cNvSpPr>
              <a:spLocks/>
            </p:cNvSpPr>
            <p:nvPr/>
          </p:nvSpPr>
          <p:spPr bwMode="auto">
            <a:xfrm>
              <a:off x="2249488" y="4618116"/>
              <a:ext cx="55563" cy="95250"/>
            </a:xfrm>
            <a:custGeom>
              <a:avLst/>
              <a:gdLst>
                <a:gd name="T0" fmla="*/ 2147483647 w 115"/>
                <a:gd name="T1" fmla="*/ 2147483647 h 178"/>
                <a:gd name="T2" fmla="*/ 0 w 115"/>
                <a:gd name="T3" fmla="*/ 2147483647 h 178"/>
                <a:gd name="T4" fmla="*/ 2147483647 w 115"/>
                <a:gd name="T5" fmla="*/ 0 h 178"/>
                <a:gd name="T6" fmla="*/ 2147483647 w 115"/>
                <a:gd name="T7" fmla="*/ 2147483647 h 178"/>
                <a:gd name="T8" fmla="*/ 2147483647 w 115"/>
                <a:gd name="T9" fmla="*/ 2147483647 h 178"/>
                <a:gd name="T10" fmla="*/ 0 60000 65536"/>
                <a:gd name="T11" fmla="*/ 0 60000 65536"/>
                <a:gd name="T12" fmla="*/ 0 60000 65536"/>
                <a:gd name="T13" fmla="*/ 0 60000 65536"/>
                <a:gd name="T14" fmla="*/ 0 60000 65536"/>
                <a:gd name="T15" fmla="*/ 0 w 115"/>
                <a:gd name="T16" fmla="*/ 0 h 178"/>
                <a:gd name="T17" fmla="*/ 115 w 115"/>
                <a:gd name="T18" fmla="*/ 178 h 178"/>
              </a:gdLst>
              <a:ahLst/>
              <a:cxnLst>
                <a:cxn ang="T10">
                  <a:pos x="T0" y="T1"/>
                </a:cxn>
                <a:cxn ang="T11">
                  <a:pos x="T2" y="T3"/>
                </a:cxn>
                <a:cxn ang="T12">
                  <a:pos x="T4" y="T5"/>
                </a:cxn>
                <a:cxn ang="T13">
                  <a:pos x="T6" y="T7"/>
                </a:cxn>
                <a:cxn ang="T14">
                  <a:pos x="T8" y="T9"/>
                </a:cxn>
              </a:cxnLst>
              <a:rect l="T15" t="T16" r="T17" b="T18"/>
              <a:pathLst>
                <a:path w="115" h="178">
                  <a:moveTo>
                    <a:pt x="64" y="178"/>
                  </a:moveTo>
                  <a:lnTo>
                    <a:pt x="0" y="127"/>
                  </a:lnTo>
                  <a:lnTo>
                    <a:pt x="60" y="0"/>
                  </a:lnTo>
                  <a:lnTo>
                    <a:pt x="115" y="46"/>
                  </a:lnTo>
                  <a:lnTo>
                    <a:pt x="64" y="17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03" name="Text Box 1323"/>
            <p:cNvSpPr txBox="1">
              <a:spLocks noChangeArrowheads="1"/>
            </p:cNvSpPr>
            <p:nvPr/>
          </p:nvSpPr>
          <p:spPr bwMode="auto">
            <a:xfrm>
              <a:off x="976313" y="5805566"/>
              <a:ext cx="3714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Eschweiler</a:t>
              </a:r>
            </a:p>
          </p:txBody>
        </p:sp>
        <p:sp>
          <p:nvSpPr>
            <p:cNvPr id="204" name="Text Box 1324"/>
            <p:cNvSpPr txBox="1">
              <a:spLocks noChangeArrowheads="1"/>
            </p:cNvSpPr>
            <p:nvPr/>
          </p:nvSpPr>
          <p:spPr bwMode="auto">
            <a:xfrm rot="-3486445">
              <a:off x="1427163" y="4399041"/>
              <a:ext cx="157163" cy="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400">
                  <a:solidFill>
                    <a:srgbClr val="000000"/>
                  </a:solidFill>
                </a:rPr>
                <a:t>L 238n</a:t>
              </a:r>
            </a:p>
          </p:txBody>
        </p:sp>
        <p:sp>
          <p:nvSpPr>
            <p:cNvPr id="205" name="Text Box 1325"/>
            <p:cNvSpPr txBox="1">
              <a:spLocks noChangeArrowheads="1"/>
            </p:cNvSpPr>
            <p:nvPr/>
          </p:nvSpPr>
          <p:spPr bwMode="auto">
            <a:xfrm>
              <a:off x="1752435" y="4654633"/>
              <a:ext cx="42068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buClr>
                  <a:schemeClr val="accent1"/>
                </a:buClr>
                <a:buSzPct val="105000"/>
                <a:buFont typeface="Wingdings" pitchFamily="2" charset="2"/>
                <a:buNone/>
              </a:pPr>
              <a:r>
                <a:rPr lang="de-DE" altLang="de-DE" sz="600" b="1">
                  <a:solidFill>
                    <a:srgbClr val="FFFFFF"/>
                  </a:solidFill>
                </a:rPr>
                <a:t>Tagebau</a:t>
              </a:r>
            </a:p>
            <a:p>
              <a:pPr algn="ctr">
                <a:buClr>
                  <a:schemeClr val="accent1"/>
                </a:buClr>
                <a:buSzPct val="105000"/>
                <a:buFont typeface="Wingdings" pitchFamily="2" charset="2"/>
                <a:buNone/>
              </a:pPr>
              <a:r>
                <a:rPr lang="de-DE" altLang="de-DE" sz="600" b="1">
                  <a:solidFill>
                    <a:srgbClr val="FFFFFF"/>
                  </a:solidFill>
                </a:rPr>
                <a:t>Inden</a:t>
              </a:r>
            </a:p>
          </p:txBody>
        </p:sp>
        <p:sp>
          <p:nvSpPr>
            <p:cNvPr id="206" name="Text Box 1326"/>
            <p:cNvSpPr txBox="1">
              <a:spLocks noChangeArrowheads="1"/>
            </p:cNvSpPr>
            <p:nvPr/>
          </p:nvSpPr>
          <p:spPr bwMode="auto">
            <a:xfrm rot="-3258951">
              <a:off x="804863" y="5705553"/>
              <a:ext cx="122238"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500">
                  <a:solidFill>
                    <a:srgbClr val="000000"/>
                  </a:solidFill>
                </a:rPr>
                <a:t>Inde</a:t>
              </a:r>
            </a:p>
          </p:txBody>
        </p:sp>
        <p:sp>
          <p:nvSpPr>
            <p:cNvPr id="207" name="Freeform 1327"/>
            <p:cNvSpPr>
              <a:spLocks/>
            </p:cNvSpPr>
            <p:nvPr/>
          </p:nvSpPr>
          <p:spPr bwMode="auto">
            <a:xfrm>
              <a:off x="2862263" y="4364116"/>
              <a:ext cx="92075" cy="117475"/>
            </a:xfrm>
            <a:custGeom>
              <a:avLst/>
              <a:gdLst>
                <a:gd name="T0" fmla="*/ 2147483647 w 125"/>
                <a:gd name="T1" fmla="*/ 2147483647 h 154"/>
                <a:gd name="T2" fmla="*/ 2147483647 w 125"/>
                <a:gd name="T3" fmla="*/ 2147483647 h 154"/>
                <a:gd name="T4" fmla="*/ 2147483647 w 125"/>
                <a:gd name="T5" fmla="*/ 2147483647 h 154"/>
                <a:gd name="T6" fmla="*/ 2147483647 w 125"/>
                <a:gd name="T7" fmla="*/ 2147483647 h 154"/>
                <a:gd name="T8" fmla="*/ 2147483647 w 125"/>
                <a:gd name="T9" fmla="*/ 2147483647 h 154"/>
                <a:gd name="T10" fmla="*/ 2147483647 w 125"/>
                <a:gd name="T11" fmla="*/ 2147483647 h 154"/>
                <a:gd name="T12" fmla="*/ 0 60000 65536"/>
                <a:gd name="T13" fmla="*/ 0 60000 65536"/>
                <a:gd name="T14" fmla="*/ 0 60000 65536"/>
                <a:gd name="T15" fmla="*/ 0 60000 65536"/>
                <a:gd name="T16" fmla="*/ 0 60000 65536"/>
                <a:gd name="T17" fmla="*/ 0 60000 65536"/>
                <a:gd name="T18" fmla="*/ 0 w 125"/>
                <a:gd name="T19" fmla="*/ 0 h 154"/>
                <a:gd name="T20" fmla="*/ 125 w 125"/>
                <a:gd name="T21" fmla="*/ 154 h 154"/>
              </a:gdLst>
              <a:ahLst/>
              <a:cxnLst>
                <a:cxn ang="T12">
                  <a:pos x="T0" y="T1"/>
                </a:cxn>
                <a:cxn ang="T13">
                  <a:pos x="T2" y="T3"/>
                </a:cxn>
                <a:cxn ang="T14">
                  <a:pos x="T4" y="T5"/>
                </a:cxn>
                <a:cxn ang="T15">
                  <a:pos x="T6" y="T7"/>
                </a:cxn>
                <a:cxn ang="T16">
                  <a:pos x="T8" y="T9"/>
                </a:cxn>
                <a:cxn ang="T17">
                  <a:pos x="T10" y="T11"/>
                </a:cxn>
              </a:cxnLst>
              <a:rect l="T18" t="T19" r="T20" b="T21"/>
              <a:pathLst>
                <a:path w="125" h="154">
                  <a:moveTo>
                    <a:pt x="104" y="150"/>
                  </a:moveTo>
                  <a:cubicBezTo>
                    <a:pt x="86" y="154"/>
                    <a:pt x="24" y="86"/>
                    <a:pt x="12" y="64"/>
                  </a:cubicBezTo>
                  <a:cubicBezTo>
                    <a:pt x="0" y="42"/>
                    <a:pt x="22" y="30"/>
                    <a:pt x="30" y="20"/>
                  </a:cubicBezTo>
                  <a:cubicBezTo>
                    <a:pt x="38" y="10"/>
                    <a:pt x="47" y="0"/>
                    <a:pt x="62" y="4"/>
                  </a:cubicBezTo>
                  <a:cubicBezTo>
                    <a:pt x="77" y="8"/>
                    <a:pt x="111" y="18"/>
                    <a:pt x="118" y="42"/>
                  </a:cubicBezTo>
                  <a:cubicBezTo>
                    <a:pt x="125" y="66"/>
                    <a:pt x="122" y="146"/>
                    <a:pt x="104" y="150"/>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208" name="Freeform 1328"/>
            <p:cNvSpPr>
              <a:spLocks/>
            </p:cNvSpPr>
            <p:nvPr/>
          </p:nvSpPr>
          <p:spPr bwMode="auto">
            <a:xfrm>
              <a:off x="2476501" y="3662441"/>
              <a:ext cx="770734" cy="750888"/>
            </a:xfrm>
            <a:custGeom>
              <a:avLst/>
              <a:gdLst>
                <a:gd name="T0" fmla="*/ 2147483647 w 10765"/>
                <a:gd name="T1" fmla="*/ 2147483647 h 10000"/>
                <a:gd name="T2" fmla="*/ 2147483647 w 10765"/>
                <a:gd name="T3" fmla="*/ 2147483647 h 10000"/>
                <a:gd name="T4" fmla="*/ 2147483647 w 10765"/>
                <a:gd name="T5" fmla="*/ 2147483647 h 10000"/>
                <a:gd name="T6" fmla="*/ 2147483647 w 10765"/>
                <a:gd name="T7" fmla="*/ 2147483647 h 10000"/>
                <a:gd name="T8" fmla="*/ 2147483647 w 10765"/>
                <a:gd name="T9" fmla="*/ 2147483647 h 10000"/>
                <a:gd name="T10" fmla="*/ 2147483647 w 10765"/>
                <a:gd name="T11" fmla="*/ 2147483647 h 10000"/>
                <a:gd name="T12" fmla="*/ 2147483647 w 10765"/>
                <a:gd name="T13" fmla="*/ 2147483647 h 10000"/>
                <a:gd name="T14" fmla="*/ 2147483647 w 10765"/>
                <a:gd name="T15" fmla="*/ 2147483647 h 10000"/>
                <a:gd name="T16" fmla="*/ 2147483647 w 10765"/>
                <a:gd name="T17" fmla="*/ 0 h 10000"/>
                <a:gd name="T18" fmla="*/ 2147483647 w 10765"/>
                <a:gd name="T19" fmla="*/ 2147483647 h 10000"/>
                <a:gd name="T20" fmla="*/ 2147483647 w 10765"/>
                <a:gd name="T21" fmla="*/ 2147483647 h 10000"/>
                <a:gd name="T22" fmla="*/ 2147483647 w 10765"/>
                <a:gd name="T23" fmla="*/ 2147483647 h 10000"/>
                <a:gd name="T24" fmla="*/ 2147483647 w 10765"/>
                <a:gd name="T25" fmla="*/ 2147483647 h 10000"/>
                <a:gd name="T26" fmla="*/ 2147483647 w 10765"/>
                <a:gd name="T27" fmla="*/ 2147483647 h 10000"/>
                <a:gd name="T28" fmla="*/ 2147483647 w 10765"/>
                <a:gd name="T29" fmla="*/ 2147483647 h 10000"/>
                <a:gd name="T30" fmla="*/ 2147483647 w 10765"/>
                <a:gd name="T31" fmla="*/ 2147483647 h 10000"/>
                <a:gd name="T32" fmla="*/ 2147483647 w 10765"/>
                <a:gd name="T33" fmla="*/ 2147483647 h 10000"/>
                <a:gd name="T34" fmla="*/ 2147483647 w 10765"/>
                <a:gd name="T35" fmla="*/ 2147483647 h 10000"/>
                <a:gd name="T36" fmla="*/ 2147483647 w 10765"/>
                <a:gd name="T37" fmla="*/ 2147483647 h 10000"/>
                <a:gd name="T38" fmla="*/ 2147483647 w 10765"/>
                <a:gd name="T39" fmla="*/ 2147483647 h 10000"/>
                <a:gd name="T40" fmla="*/ 2147483647 w 10765"/>
                <a:gd name="T41" fmla="*/ 2147483647 h 10000"/>
                <a:gd name="T42" fmla="*/ 2147483647 w 10765"/>
                <a:gd name="T43" fmla="*/ 2147483647 h 10000"/>
                <a:gd name="T44" fmla="*/ 0 w 10765"/>
                <a:gd name="T45" fmla="*/ 2147483647 h 10000"/>
                <a:gd name="T46" fmla="*/ 2147483647 w 10765"/>
                <a:gd name="T47" fmla="*/ 2147483647 h 10000"/>
                <a:gd name="T48" fmla="*/ 2147483647 w 10765"/>
                <a:gd name="T49" fmla="*/ 2147483647 h 10000"/>
                <a:gd name="T50" fmla="*/ 2147483647 w 10765"/>
                <a:gd name="T51" fmla="*/ 2147483647 h 10000"/>
                <a:gd name="T52" fmla="*/ 2147483647 w 10765"/>
                <a:gd name="T53" fmla="*/ 2147483647 h 10000"/>
                <a:gd name="T54" fmla="*/ 2147483647 w 10765"/>
                <a:gd name="T55" fmla="*/ 2147483647 h 10000"/>
                <a:gd name="T56" fmla="*/ 2147483647 w 10765"/>
                <a:gd name="T57" fmla="*/ 2147483647 h 10000"/>
                <a:gd name="T58" fmla="*/ 2147483647 w 10765"/>
                <a:gd name="T59" fmla="*/ 2147483647 h 10000"/>
                <a:gd name="T60" fmla="*/ 2147483647 w 10765"/>
                <a:gd name="T61" fmla="*/ 2147483647 h 10000"/>
                <a:gd name="T62" fmla="*/ 2147483647 w 10765"/>
                <a:gd name="T63" fmla="*/ 2147483647 h 10000"/>
                <a:gd name="T64" fmla="*/ 2147483647 w 10765"/>
                <a:gd name="T65" fmla="*/ 2147483647 h 10000"/>
                <a:gd name="T66" fmla="*/ 2147483647 w 10765"/>
                <a:gd name="T67" fmla="*/ 2147483647 h 10000"/>
                <a:gd name="T68" fmla="*/ 2147483647 w 10765"/>
                <a:gd name="T69" fmla="*/ 2147483647 h 10000"/>
                <a:gd name="T70" fmla="*/ 2147483647 w 10765"/>
                <a:gd name="T71" fmla="*/ 2147483647 h 10000"/>
                <a:gd name="T72" fmla="*/ 2147483647 w 10765"/>
                <a:gd name="T73" fmla="*/ 2147483647 h 10000"/>
                <a:gd name="T74" fmla="*/ 2147483647 w 10765"/>
                <a:gd name="T75" fmla="*/ 2147483647 h 10000"/>
                <a:gd name="T76" fmla="*/ 2147483647 w 10765"/>
                <a:gd name="T77" fmla="*/ 2147483647 h 10000"/>
                <a:gd name="T78" fmla="*/ 2147483647 w 10765"/>
                <a:gd name="T79" fmla="*/ 2147483647 h 10000"/>
                <a:gd name="T80" fmla="*/ 2147483647 w 10765"/>
                <a:gd name="T81" fmla="*/ 2147483647 h 10000"/>
                <a:gd name="T82" fmla="*/ 2147483647 w 10765"/>
                <a:gd name="T83" fmla="*/ 2147483647 h 100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0765" h="10000">
                  <a:moveTo>
                    <a:pt x="8061" y="2760"/>
                  </a:moveTo>
                  <a:cubicBezTo>
                    <a:pt x="7906" y="2675"/>
                    <a:pt x="7467" y="2408"/>
                    <a:pt x="7273" y="2283"/>
                  </a:cubicBezTo>
                  <a:cubicBezTo>
                    <a:pt x="7079" y="2158"/>
                    <a:pt x="6984" y="2093"/>
                    <a:pt x="6896" y="2008"/>
                  </a:cubicBezTo>
                  <a:cubicBezTo>
                    <a:pt x="6829" y="1924"/>
                    <a:pt x="6829" y="1818"/>
                    <a:pt x="6785" y="1712"/>
                  </a:cubicBezTo>
                  <a:cubicBezTo>
                    <a:pt x="6741" y="1586"/>
                    <a:pt x="6696" y="1416"/>
                    <a:pt x="6652" y="1247"/>
                  </a:cubicBezTo>
                  <a:cubicBezTo>
                    <a:pt x="6585" y="1078"/>
                    <a:pt x="6497" y="825"/>
                    <a:pt x="6408" y="655"/>
                  </a:cubicBezTo>
                  <a:cubicBezTo>
                    <a:pt x="6341" y="507"/>
                    <a:pt x="6231" y="402"/>
                    <a:pt x="6120" y="317"/>
                  </a:cubicBezTo>
                  <a:cubicBezTo>
                    <a:pt x="6031" y="211"/>
                    <a:pt x="5965" y="169"/>
                    <a:pt x="5876" y="106"/>
                  </a:cubicBezTo>
                  <a:cubicBezTo>
                    <a:pt x="5765" y="63"/>
                    <a:pt x="5632" y="21"/>
                    <a:pt x="5477" y="0"/>
                  </a:cubicBezTo>
                  <a:cubicBezTo>
                    <a:pt x="5322" y="0"/>
                    <a:pt x="5144" y="0"/>
                    <a:pt x="4945" y="21"/>
                  </a:cubicBezTo>
                  <a:cubicBezTo>
                    <a:pt x="4745" y="42"/>
                    <a:pt x="4523" y="63"/>
                    <a:pt x="4257" y="106"/>
                  </a:cubicBezTo>
                  <a:lnTo>
                    <a:pt x="3415" y="254"/>
                  </a:lnTo>
                  <a:cubicBezTo>
                    <a:pt x="3171" y="296"/>
                    <a:pt x="3082" y="338"/>
                    <a:pt x="2927" y="381"/>
                  </a:cubicBezTo>
                  <a:cubicBezTo>
                    <a:pt x="2749" y="423"/>
                    <a:pt x="2616" y="423"/>
                    <a:pt x="2417" y="486"/>
                  </a:cubicBezTo>
                  <a:cubicBezTo>
                    <a:pt x="2217" y="550"/>
                    <a:pt x="1907" y="677"/>
                    <a:pt x="1707" y="740"/>
                  </a:cubicBezTo>
                  <a:cubicBezTo>
                    <a:pt x="1530" y="825"/>
                    <a:pt x="1441" y="803"/>
                    <a:pt x="1286" y="888"/>
                  </a:cubicBezTo>
                  <a:cubicBezTo>
                    <a:pt x="1109" y="994"/>
                    <a:pt x="843" y="1184"/>
                    <a:pt x="710" y="1311"/>
                  </a:cubicBezTo>
                  <a:cubicBezTo>
                    <a:pt x="576" y="1459"/>
                    <a:pt x="532" y="1607"/>
                    <a:pt x="466" y="1734"/>
                  </a:cubicBezTo>
                  <a:cubicBezTo>
                    <a:pt x="377" y="1839"/>
                    <a:pt x="355" y="1903"/>
                    <a:pt x="310" y="2030"/>
                  </a:cubicBezTo>
                  <a:cubicBezTo>
                    <a:pt x="244" y="2156"/>
                    <a:pt x="200" y="2389"/>
                    <a:pt x="155" y="2516"/>
                  </a:cubicBezTo>
                  <a:cubicBezTo>
                    <a:pt x="133" y="2643"/>
                    <a:pt x="89" y="2685"/>
                    <a:pt x="67" y="2812"/>
                  </a:cubicBezTo>
                  <a:cubicBezTo>
                    <a:pt x="44" y="2939"/>
                    <a:pt x="44" y="3129"/>
                    <a:pt x="44" y="3277"/>
                  </a:cubicBezTo>
                  <a:cubicBezTo>
                    <a:pt x="22" y="3446"/>
                    <a:pt x="0" y="3615"/>
                    <a:pt x="0" y="3763"/>
                  </a:cubicBezTo>
                  <a:cubicBezTo>
                    <a:pt x="22" y="3911"/>
                    <a:pt x="67" y="4080"/>
                    <a:pt x="89" y="4228"/>
                  </a:cubicBezTo>
                  <a:cubicBezTo>
                    <a:pt x="133" y="4355"/>
                    <a:pt x="89" y="4440"/>
                    <a:pt x="222" y="4630"/>
                  </a:cubicBezTo>
                  <a:cubicBezTo>
                    <a:pt x="333" y="4799"/>
                    <a:pt x="665" y="5180"/>
                    <a:pt x="843" y="5328"/>
                  </a:cubicBezTo>
                  <a:cubicBezTo>
                    <a:pt x="1020" y="5476"/>
                    <a:pt x="1131" y="5433"/>
                    <a:pt x="1242" y="5539"/>
                  </a:cubicBezTo>
                  <a:cubicBezTo>
                    <a:pt x="1375" y="5645"/>
                    <a:pt x="1397" y="5772"/>
                    <a:pt x="1508" y="5941"/>
                  </a:cubicBezTo>
                  <a:cubicBezTo>
                    <a:pt x="1619" y="6089"/>
                    <a:pt x="1774" y="6364"/>
                    <a:pt x="1907" y="6512"/>
                  </a:cubicBezTo>
                  <a:cubicBezTo>
                    <a:pt x="2040" y="6681"/>
                    <a:pt x="2173" y="6765"/>
                    <a:pt x="2328" y="6934"/>
                  </a:cubicBezTo>
                  <a:cubicBezTo>
                    <a:pt x="2506" y="7082"/>
                    <a:pt x="2572" y="7082"/>
                    <a:pt x="2927" y="7400"/>
                  </a:cubicBezTo>
                  <a:cubicBezTo>
                    <a:pt x="3259" y="7738"/>
                    <a:pt x="4013" y="8457"/>
                    <a:pt x="4479" y="8879"/>
                  </a:cubicBezTo>
                  <a:cubicBezTo>
                    <a:pt x="4922" y="9302"/>
                    <a:pt x="5388" y="9937"/>
                    <a:pt x="5632" y="9979"/>
                  </a:cubicBezTo>
                  <a:cubicBezTo>
                    <a:pt x="5876" y="10000"/>
                    <a:pt x="5854" y="9345"/>
                    <a:pt x="5898" y="9049"/>
                  </a:cubicBezTo>
                  <a:cubicBezTo>
                    <a:pt x="5942" y="8732"/>
                    <a:pt x="5987" y="8541"/>
                    <a:pt x="5920" y="8140"/>
                  </a:cubicBezTo>
                  <a:cubicBezTo>
                    <a:pt x="5854" y="7717"/>
                    <a:pt x="5610" y="7082"/>
                    <a:pt x="5543" y="6554"/>
                  </a:cubicBezTo>
                  <a:cubicBezTo>
                    <a:pt x="5477" y="6025"/>
                    <a:pt x="6508" y="5761"/>
                    <a:pt x="6663" y="5444"/>
                  </a:cubicBezTo>
                  <a:cubicBezTo>
                    <a:pt x="6819" y="5127"/>
                    <a:pt x="6286" y="4787"/>
                    <a:pt x="6430" y="4630"/>
                  </a:cubicBezTo>
                  <a:cubicBezTo>
                    <a:pt x="6574" y="4473"/>
                    <a:pt x="7195" y="4578"/>
                    <a:pt x="7528" y="4504"/>
                  </a:cubicBezTo>
                  <a:cubicBezTo>
                    <a:pt x="7861" y="4430"/>
                    <a:pt x="7901" y="4493"/>
                    <a:pt x="8426" y="4186"/>
                  </a:cubicBezTo>
                  <a:cubicBezTo>
                    <a:pt x="8951" y="3879"/>
                    <a:pt x="10598" y="2664"/>
                    <a:pt x="10676" y="2664"/>
                  </a:cubicBezTo>
                  <a:cubicBezTo>
                    <a:pt x="10765" y="2749"/>
                    <a:pt x="8371" y="2675"/>
                    <a:pt x="8061" y="2760"/>
                  </a:cubicBezTo>
                  <a:close/>
                </a:path>
              </a:pathLst>
            </a:custGeom>
            <a:solidFill>
              <a:srgbClr val="009900"/>
            </a:solidFill>
            <a:ln w="9525" cap="flat" cmpd="sng">
              <a:solidFill>
                <a:srgbClr val="009900"/>
              </a:solidFill>
              <a:prstDash val="solid"/>
              <a:round/>
              <a:headEnd type="none" w="med" len="med"/>
              <a:tailEnd type="none" w="med" len="med"/>
            </a:ln>
          </p:spPr>
          <p:txBody>
            <a:bodyPr lIns="0" tIns="0" rIns="0" bIns="0">
              <a:spAutoFit/>
            </a:bodyPr>
            <a:lstStyle/>
            <a:p>
              <a:endParaRPr lang="de-DE"/>
            </a:p>
          </p:txBody>
        </p:sp>
        <p:sp>
          <p:nvSpPr>
            <p:cNvPr id="209" name="Freeform 1329"/>
            <p:cNvSpPr>
              <a:spLocks/>
            </p:cNvSpPr>
            <p:nvPr/>
          </p:nvSpPr>
          <p:spPr bwMode="auto">
            <a:xfrm>
              <a:off x="3943350" y="3121103"/>
              <a:ext cx="730250" cy="323850"/>
            </a:xfrm>
            <a:custGeom>
              <a:avLst/>
              <a:gdLst>
                <a:gd name="T0" fmla="*/ 0 w 460"/>
                <a:gd name="T1" fmla="*/ 2147483647 h 204"/>
                <a:gd name="T2" fmla="*/ 2147483647 w 460"/>
                <a:gd name="T3" fmla="*/ 2147483647 h 204"/>
                <a:gd name="T4" fmla="*/ 2147483647 w 460"/>
                <a:gd name="T5" fmla="*/ 2147483647 h 204"/>
                <a:gd name="T6" fmla="*/ 2147483647 w 460"/>
                <a:gd name="T7" fmla="*/ 2147483647 h 204"/>
                <a:gd name="T8" fmla="*/ 2147483647 w 460"/>
                <a:gd name="T9" fmla="*/ 2147483647 h 204"/>
                <a:gd name="T10" fmla="*/ 2147483647 w 460"/>
                <a:gd name="T11" fmla="*/ 2147483647 h 204"/>
                <a:gd name="T12" fmla="*/ 2147483647 w 460"/>
                <a:gd name="T13" fmla="*/ 2147483647 h 204"/>
                <a:gd name="T14" fmla="*/ 2147483647 w 460"/>
                <a:gd name="T15" fmla="*/ 2147483647 h 204"/>
                <a:gd name="T16" fmla="*/ 2147483647 w 460"/>
                <a:gd name="T17" fmla="*/ 2147483647 h 204"/>
                <a:gd name="T18" fmla="*/ 2147483647 w 460"/>
                <a:gd name="T19" fmla="*/ 2147483647 h 204"/>
                <a:gd name="T20" fmla="*/ 2147483647 w 460"/>
                <a:gd name="T21" fmla="*/ 2147483647 h 204"/>
                <a:gd name="T22" fmla="*/ 2147483647 w 460"/>
                <a:gd name="T23" fmla="*/ 2147483647 h 204"/>
                <a:gd name="T24" fmla="*/ 2147483647 w 460"/>
                <a:gd name="T25" fmla="*/ 2147483647 h 204"/>
                <a:gd name="T26" fmla="*/ 2147483647 w 460"/>
                <a:gd name="T27" fmla="*/ 2147483647 h 204"/>
                <a:gd name="T28" fmla="*/ 2147483647 w 460"/>
                <a:gd name="T29" fmla="*/ 2147483647 h 204"/>
                <a:gd name="T30" fmla="*/ 2147483647 w 460"/>
                <a:gd name="T31" fmla="*/ 2147483647 h 204"/>
                <a:gd name="T32" fmla="*/ 2147483647 w 460"/>
                <a:gd name="T33" fmla="*/ 2147483647 h 204"/>
                <a:gd name="T34" fmla="*/ 2147483647 w 460"/>
                <a:gd name="T35" fmla="*/ 2147483647 h 204"/>
                <a:gd name="T36" fmla="*/ 2147483647 w 460"/>
                <a:gd name="T37" fmla="*/ 2147483647 h 204"/>
                <a:gd name="T38" fmla="*/ 2147483647 w 460"/>
                <a:gd name="T39" fmla="*/ 2147483647 h 204"/>
                <a:gd name="T40" fmla="*/ 2147483647 w 460"/>
                <a:gd name="T41" fmla="*/ 2147483647 h 204"/>
                <a:gd name="T42" fmla="*/ 2147483647 w 460"/>
                <a:gd name="T43" fmla="*/ 2147483647 h 204"/>
                <a:gd name="T44" fmla="*/ 2147483647 w 460"/>
                <a:gd name="T45" fmla="*/ 2147483647 h 204"/>
                <a:gd name="T46" fmla="*/ 2147483647 w 460"/>
                <a:gd name="T47" fmla="*/ 2147483647 h 204"/>
                <a:gd name="T48" fmla="*/ 2147483647 w 460"/>
                <a:gd name="T49" fmla="*/ 2147483647 h 204"/>
                <a:gd name="T50" fmla="*/ 2147483647 w 460"/>
                <a:gd name="T51" fmla="*/ 2147483647 h 204"/>
                <a:gd name="T52" fmla="*/ 2147483647 w 460"/>
                <a:gd name="T53" fmla="*/ 2147483647 h 204"/>
                <a:gd name="T54" fmla="*/ 2147483647 w 460"/>
                <a:gd name="T55" fmla="*/ 2147483647 h 204"/>
                <a:gd name="T56" fmla="*/ 2147483647 w 460"/>
                <a:gd name="T57" fmla="*/ 2147483647 h 204"/>
                <a:gd name="T58" fmla="*/ 2147483647 w 460"/>
                <a:gd name="T59" fmla="*/ 2147483647 h 204"/>
                <a:gd name="T60" fmla="*/ 2147483647 w 460"/>
                <a:gd name="T61" fmla="*/ 2147483647 h 204"/>
                <a:gd name="T62" fmla="*/ 2147483647 w 460"/>
                <a:gd name="T63" fmla="*/ 2147483647 h 204"/>
                <a:gd name="T64" fmla="*/ 2147483647 w 460"/>
                <a:gd name="T65" fmla="*/ 2147483647 h 204"/>
                <a:gd name="T66" fmla="*/ 2147483647 w 460"/>
                <a:gd name="T67" fmla="*/ 2147483647 h 204"/>
                <a:gd name="T68" fmla="*/ 2147483647 w 460"/>
                <a:gd name="T69" fmla="*/ 2147483647 h 204"/>
                <a:gd name="T70" fmla="*/ 2147483647 w 460"/>
                <a:gd name="T71" fmla="*/ 2147483647 h 204"/>
                <a:gd name="T72" fmla="*/ 2147483647 w 460"/>
                <a:gd name="T73" fmla="*/ 2147483647 h 204"/>
                <a:gd name="T74" fmla="*/ 2147483647 w 460"/>
                <a:gd name="T75" fmla="*/ 2147483647 h 204"/>
                <a:gd name="T76" fmla="*/ 2147483647 w 460"/>
                <a:gd name="T77" fmla="*/ 2147483647 h 204"/>
                <a:gd name="T78" fmla="*/ 2147483647 w 460"/>
                <a:gd name="T79" fmla="*/ 2147483647 h 204"/>
                <a:gd name="T80" fmla="*/ 2147483647 w 460"/>
                <a:gd name="T81" fmla="*/ 2147483647 h 204"/>
                <a:gd name="T82" fmla="*/ 2147483647 w 460"/>
                <a:gd name="T83" fmla="*/ 2147483647 h 204"/>
                <a:gd name="T84" fmla="*/ 2147483647 w 460"/>
                <a:gd name="T85" fmla="*/ 2147483647 h 204"/>
                <a:gd name="T86" fmla="*/ 2147483647 w 460"/>
                <a:gd name="T87" fmla="*/ 2147483647 h 204"/>
                <a:gd name="T88" fmla="*/ 2147483647 w 460"/>
                <a:gd name="T89" fmla="*/ 2147483647 h 204"/>
                <a:gd name="T90" fmla="*/ 2147483647 w 460"/>
                <a:gd name="T91" fmla="*/ 2147483647 h 204"/>
                <a:gd name="T92" fmla="*/ 2147483647 w 460"/>
                <a:gd name="T93" fmla="*/ 2147483647 h 204"/>
                <a:gd name="T94" fmla="*/ 2147483647 w 460"/>
                <a:gd name="T95" fmla="*/ 2147483647 h 204"/>
                <a:gd name="T96" fmla="*/ 2147483647 w 460"/>
                <a:gd name="T97" fmla="*/ 2147483647 h 204"/>
                <a:gd name="T98" fmla="*/ 2147483647 w 460"/>
                <a:gd name="T99" fmla="*/ 2147483647 h 204"/>
                <a:gd name="T100" fmla="*/ 2147483647 w 460"/>
                <a:gd name="T101" fmla="*/ 2147483647 h 204"/>
                <a:gd name="T102" fmla="*/ 2147483647 w 460"/>
                <a:gd name="T103" fmla="*/ 2147483647 h 204"/>
                <a:gd name="T104" fmla="*/ 2147483647 w 460"/>
                <a:gd name="T105" fmla="*/ 2147483647 h 204"/>
                <a:gd name="T106" fmla="*/ 2147483647 w 460"/>
                <a:gd name="T107" fmla="*/ 2147483647 h 204"/>
                <a:gd name="T108" fmla="*/ 2147483647 w 460"/>
                <a:gd name="T109" fmla="*/ 2147483647 h 204"/>
                <a:gd name="T110" fmla="*/ 2147483647 w 460"/>
                <a:gd name="T111" fmla="*/ 2147483647 h 204"/>
                <a:gd name="T112" fmla="*/ 2147483647 w 460"/>
                <a:gd name="T113" fmla="*/ 2147483647 h 204"/>
                <a:gd name="T114" fmla="*/ 2147483647 w 460"/>
                <a:gd name="T115" fmla="*/ 2147483647 h 204"/>
                <a:gd name="T116" fmla="*/ 2147483647 w 460"/>
                <a:gd name="T117" fmla="*/ 2147483647 h 204"/>
                <a:gd name="T118" fmla="*/ 0 w 460"/>
                <a:gd name="T119" fmla="*/ 2147483647 h 2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0"/>
                <a:gd name="T181" fmla="*/ 0 h 204"/>
                <a:gd name="T182" fmla="*/ 460 w 460"/>
                <a:gd name="T183" fmla="*/ 204 h 2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0" h="204">
                  <a:moveTo>
                    <a:pt x="0" y="32"/>
                  </a:moveTo>
                  <a:cubicBezTo>
                    <a:pt x="31" y="29"/>
                    <a:pt x="163" y="31"/>
                    <a:pt x="197" y="30"/>
                  </a:cubicBezTo>
                  <a:cubicBezTo>
                    <a:pt x="231" y="29"/>
                    <a:pt x="202" y="25"/>
                    <a:pt x="207" y="23"/>
                  </a:cubicBezTo>
                  <a:cubicBezTo>
                    <a:pt x="212" y="21"/>
                    <a:pt x="209" y="23"/>
                    <a:pt x="225" y="20"/>
                  </a:cubicBezTo>
                  <a:cubicBezTo>
                    <a:pt x="241" y="17"/>
                    <a:pt x="287" y="0"/>
                    <a:pt x="305" y="2"/>
                  </a:cubicBezTo>
                  <a:cubicBezTo>
                    <a:pt x="323" y="4"/>
                    <a:pt x="323" y="29"/>
                    <a:pt x="332" y="35"/>
                  </a:cubicBezTo>
                  <a:cubicBezTo>
                    <a:pt x="341" y="41"/>
                    <a:pt x="354" y="30"/>
                    <a:pt x="361" y="36"/>
                  </a:cubicBezTo>
                  <a:lnTo>
                    <a:pt x="375" y="74"/>
                  </a:lnTo>
                  <a:cubicBezTo>
                    <a:pt x="379" y="85"/>
                    <a:pt x="385" y="96"/>
                    <a:pt x="387" y="103"/>
                  </a:cubicBezTo>
                  <a:cubicBezTo>
                    <a:pt x="389" y="109"/>
                    <a:pt x="384" y="113"/>
                    <a:pt x="390" y="113"/>
                  </a:cubicBezTo>
                  <a:cubicBezTo>
                    <a:pt x="396" y="113"/>
                    <a:pt x="415" y="96"/>
                    <a:pt x="425" y="104"/>
                  </a:cubicBezTo>
                  <a:cubicBezTo>
                    <a:pt x="435" y="112"/>
                    <a:pt x="460" y="148"/>
                    <a:pt x="453" y="159"/>
                  </a:cubicBezTo>
                  <a:cubicBezTo>
                    <a:pt x="446" y="170"/>
                    <a:pt x="404" y="175"/>
                    <a:pt x="386" y="171"/>
                  </a:cubicBezTo>
                  <a:cubicBezTo>
                    <a:pt x="368" y="167"/>
                    <a:pt x="350" y="138"/>
                    <a:pt x="346" y="137"/>
                  </a:cubicBezTo>
                  <a:cubicBezTo>
                    <a:pt x="342" y="136"/>
                    <a:pt x="362" y="163"/>
                    <a:pt x="363" y="167"/>
                  </a:cubicBezTo>
                  <a:cubicBezTo>
                    <a:pt x="364" y="171"/>
                    <a:pt x="353" y="163"/>
                    <a:pt x="351" y="163"/>
                  </a:cubicBezTo>
                  <a:cubicBezTo>
                    <a:pt x="349" y="163"/>
                    <a:pt x="357" y="169"/>
                    <a:pt x="351" y="169"/>
                  </a:cubicBezTo>
                  <a:cubicBezTo>
                    <a:pt x="346" y="170"/>
                    <a:pt x="326" y="162"/>
                    <a:pt x="320" y="168"/>
                  </a:cubicBezTo>
                  <a:cubicBezTo>
                    <a:pt x="313" y="173"/>
                    <a:pt x="315" y="196"/>
                    <a:pt x="314" y="200"/>
                  </a:cubicBezTo>
                  <a:cubicBezTo>
                    <a:pt x="312" y="204"/>
                    <a:pt x="309" y="194"/>
                    <a:pt x="307" y="192"/>
                  </a:cubicBezTo>
                  <a:cubicBezTo>
                    <a:pt x="305" y="189"/>
                    <a:pt x="304" y="187"/>
                    <a:pt x="301" y="185"/>
                  </a:cubicBezTo>
                  <a:cubicBezTo>
                    <a:pt x="298" y="183"/>
                    <a:pt x="293" y="180"/>
                    <a:pt x="289" y="179"/>
                  </a:cubicBezTo>
                  <a:cubicBezTo>
                    <a:pt x="285" y="177"/>
                    <a:pt x="280" y="177"/>
                    <a:pt x="277" y="176"/>
                  </a:cubicBezTo>
                  <a:cubicBezTo>
                    <a:pt x="274" y="176"/>
                    <a:pt x="269" y="176"/>
                    <a:pt x="268" y="174"/>
                  </a:cubicBezTo>
                  <a:cubicBezTo>
                    <a:pt x="266" y="173"/>
                    <a:pt x="267" y="171"/>
                    <a:pt x="270" y="168"/>
                  </a:cubicBezTo>
                  <a:cubicBezTo>
                    <a:pt x="273" y="164"/>
                    <a:pt x="279" y="159"/>
                    <a:pt x="284" y="155"/>
                  </a:cubicBezTo>
                  <a:cubicBezTo>
                    <a:pt x="289" y="151"/>
                    <a:pt x="294" y="150"/>
                    <a:pt x="301" y="146"/>
                  </a:cubicBezTo>
                  <a:cubicBezTo>
                    <a:pt x="308" y="141"/>
                    <a:pt x="319" y="133"/>
                    <a:pt x="327" y="128"/>
                  </a:cubicBezTo>
                  <a:cubicBezTo>
                    <a:pt x="335" y="124"/>
                    <a:pt x="343" y="120"/>
                    <a:pt x="349" y="117"/>
                  </a:cubicBezTo>
                  <a:cubicBezTo>
                    <a:pt x="356" y="114"/>
                    <a:pt x="363" y="112"/>
                    <a:pt x="367" y="110"/>
                  </a:cubicBezTo>
                  <a:cubicBezTo>
                    <a:pt x="371" y="108"/>
                    <a:pt x="372" y="108"/>
                    <a:pt x="373" y="104"/>
                  </a:cubicBezTo>
                  <a:cubicBezTo>
                    <a:pt x="374" y="100"/>
                    <a:pt x="376" y="90"/>
                    <a:pt x="376" y="87"/>
                  </a:cubicBezTo>
                  <a:cubicBezTo>
                    <a:pt x="375" y="84"/>
                    <a:pt x="374" y="84"/>
                    <a:pt x="370" y="85"/>
                  </a:cubicBezTo>
                  <a:cubicBezTo>
                    <a:pt x="366" y="86"/>
                    <a:pt x="357" y="89"/>
                    <a:pt x="352" y="92"/>
                  </a:cubicBezTo>
                  <a:cubicBezTo>
                    <a:pt x="346" y="94"/>
                    <a:pt x="343" y="96"/>
                    <a:pt x="337" y="99"/>
                  </a:cubicBezTo>
                  <a:cubicBezTo>
                    <a:pt x="332" y="101"/>
                    <a:pt x="325" y="104"/>
                    <a:pt x="320" y="107"/>
                  </a:cubicBezTo>
                  <a:cubicBezTo>
                    <a:pt x="314" y="110"/>
                    <a:pt x="309" y="111"/>
                    <a:pt x="303" y="116"/>
                  </a:cubicBezTo>
                  <a:cubicBezTo>
                    <a:pt x="297" y="120"/>
                    <a:pt x="290" y="126"/>
                    <a:pt x="283" y="131"/>
                  </a:cubicBezTo>
                  <a:cubicBezTo>
                    <a:pt x="276" y="137"/>
                    <a:pt x="267" y="142"/>
                    <a:pt x="262" y="146"/>
                  </a:cubicBezTo>
                  <a:cubicBezTo>
                    <a:pt x="257" y="150"/>
                    <a:pt x="254" y="153"/>
                    <a:pt x="252" y="154"/>
                  </a:cubicBezTo>
                  <a:cubicBezTo>
                    <a:pt x="250" y="156"/>
                    <a:pt x="249" y="155"/>
                    <a:pt x="246" y="156"/>
                  </a:cubicBezTo>
                  <a:cubicBezTo>
                    <a:pt x="244" y="156"/>
                    <a:pt x="240" y="154"/>
                    <a:pt x="237" y="156"/>
                  </a:cubicBezTo>
                  <a:cubicBezTo>
                    <a:pt x="234" y="157"/>
                    <a:pt x="233" y="160"/>
                    <a:pt x="229" y="163"/>
                  </a:cubicBezTo>
                  <a:cubicBezTo>
                    <a:pt x="224" y="166"/>
                    <a:pt x="219" y="172"/>
                    <a:pt x="213" y="173"/>
                  </a:cubicBezTo>
                  <a:cubicBezTo>
                    <a:pt x="206" y="173"/>
                    <a:pt x="195" y="169"/>
                    <a:pt x="189" y="167"/>
                  </a:cubicBezTo>
                  <a:cubicBezTo>
                    <a:pt x="182" y="165"/>
                    <a:pt x="178" y="164"/>
                    <a:pt x="172" y="162"/>
                  </a:cubicBezTo>
                  <a:cubicBezTo>
                    <a:pt x="167" y="160"/>
                    <a:pt x="163" y="157"/>
                    <a:pt x="158" y="156"/>
                  </a:cubicBezTo>
                  <a:cubicBezTo>
                    <a:pt x="154" y="154"/>
                    <a:pt x="147" y="153"/>
                    <a:pt x="143" y="152"/>
                  </a:cubicBezTo>
                  <a:cubicBezTo>
                    <a:pt x="139" y="150"/>
                    <a:pt x="139" y="149"/>
                    <a:pt x="135" y="148"/>
                  </a:cubicBezTo>
                  <a:cubicBezTo>
                    <a:pt x="130" y="146"/>
                    <a:pt x="122" y="147"/>
                    <a:pt x="116" y="144"/>
                  </a:cubicBezTo>
                  <a:cubicBezTo>
                    <a:pt x="110" y="142"/>
                    <a:pt x="103" y="137"/>
                    <a:pt x="97" y="133"/>
                  </a:cubicBezTo>
                  <a:cubicBezTo>
                    <a:pt x="91" y="129"/>
                    <a:pt x="84" y="124"/>
                    <a:pt x="79" y="120"/>
                  </a:cubicBezTo>
                  <a:cubicBezTo>
                    <a:pt x="73" y="116"/>
                    <a:pt x="71" y="113"/>
                    <a:pt x="67" y="110"/>
                  </a:cubicBezTo>
                  <a:cubicBezTo>
                    <a:pt x="63" y="106"/>
                    <a:pt x="59" y="102"/>
                    <a:pt x="56" y="100"/>
                  </a:cubicBezTo>
                  <a:cubicBezTo>
                    <a:pt x="52" y="97"/>
                    <a:pt x="48" y="99"/>
                    <a:pt x="46" y="96"/>
                  </a:cubicBezTo>
                  <a:cubicBezTo>
                    <a:pt x="43" y="93"/>
                    <a:pt x="43" y="84"/>
                    <a:pt x="40" y="80"/>
                  </a:cubicBezTo>
                  <a:cubicBezTo>
                    <a:pt x="37" y="76"/>
                    <a:pt x="32" y="72"/>
                    <a:pt x="29" y="68"/>
                  </a:cubicBezTo>
                  <a:cubicBezTo>
                    <a:pt x="26" y="64"/>
                    <a:pt x="23" y="62"/>
                    <a:pt x="20" y="58"/>
                  </a:cubicBezTo>
                  <a:cubicBezTo>
                    <a:pt x="16" y="55"/>
                    <a:pt x="12" y="53"/>
                    <a:pt x="8" y="49"/>
                  </a:cubicBezTo>
                  <a:lnTo>
                    <a:pt x="0" y="32"/>
                  </a:ln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210" name="Freeform 1330"/>
            <p:cNvSpPr>
              <a:spLocks/>
            </p:cNvSpPr>
            <p:nvPr/>
          </p:nvSpPr>
          <p:spPr bwMode="auto">
            <a:xfrm>
              <a:off x="1704975" y="3625928"/>
              <a:ext cx="117475" cy="122238"/>
            </a:xfrm>
            <a:custGeom>
              <a:avLst/>
              <a:gdLst>
                <a:gd name="T0" fmla="*/ 2147483647 w 159"/>
                <a:gd name="T1" fmla="*/ 2147483647 h 161"/>
                <a:gd name="T2" fmla="*/ 2147483647 w 159"/>
                <a:gd name="T3" fmla="*/ 2147483647 h 161"/>
                <a:gd name="T4" fmla="*/ 2147483647 w 159"/>
                <a:gd name="T5" fmla="*/ 2147483647 h 161"/>
                <a:gd name="T6" fmla="*/ 0 w 159"/>
                <a:gd name="T7" fmla="*/ 0 h 161"/>
                <a:gd name="T8" fmla="*/ 0 w 159"/>
                <a:gd name="T9" fmla="*/ 2147483647 h 161"/>
                <a:gd name="T10" fmla="*/ 2147483647 w 159"/>
                <a:gd name="T11" fmla="*/ 2147483647 h 161"/>
                <a:gd name="T12" fmla="*/ 2147483647 w 159"/>
                <a:gd name="T13" fmla="*/ 2147483647 h 161"/>
                <a:gd name="T14" fmla="*/ 2147483647 w 159"/>
                <a:gd name="T15" fmla="*/ 2147483647 h 161"/>
                <a:gd name="T16" fmla="*/ 2147483647 w 159"/>
                <a:gd name="T17" fmla="*/ 2147483647 h 16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9"/>
                <a:gd name="T28" fmla="*/ 0 h 161"/>
                <a:gd name="T29" fmla="*/ 159 w 159"/>
                <a:gd name="T30" fmla="*/ 161 h 16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9" h="161">
                  <a:moveTo>
                    <a:pt x="159" y="78"/>
                  </a:moveTo>
                  <a:lnTo>
                    <a:pt x="123" y="50"/>
                  </a:lnTo>
                  <a:lnTo>
                    <a:pt x="81" y="89"/>
                  </a:lnTo>
                  <a:lnTo>
                    <a:pt x="0" y="0"/>
                  </a:lnTo>
                  <a:lnTo>
                    <a:pt x="0" y="63"/>
                  </a:lnTo>
                  <a:lnTo>
                    <a:pt x="58" y="114"/>
                  </a:lnTo>
                  <a:lnTo>
                    <a:pt x="31" y="138"/>
                  </a:lnTo>
                  <a:lnTo>
                    <a:pt x="58" y="161"/>
                  </a:lnTo>
                  <a:lnTo>
                    <a:pt x="159" y="7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11" name="Freeform 1331"/>
            <p:cNvSpPr>
              <a:spLocks/>
            </p:cNvSpPr>
            <p:nvPr/>
          </p:nvSpPr>
          <p:spPr bwMode="auto">
            <a:xfrm>
              <a:off x="2138363" y="3538616"/>
              <a:ext cx="98425" cy="98425"/>
            </a:xfrm>
            <a:custGeom>
              <a:avLst/>
              <a:gdLst>
                <a:gd name="T0" fmla="*/ 2147483647 w 132"/>
                <a:gd name="T1" fmla="*/ 2147483647 h 130"/>
                <a:gd name="T2" fmla="*/ 2147483647 w 132"/>
                <a:gd name="T3" fmla="*/ 2147483647 h 130"/>
                <a:gd name="T4" fmla="*/ 2147483647 w 132"/>
                <a:gd name="T5" fmla="*/ 2147483647 h 130"/>
                <a:gd name="T6" fmla="*/ 0 w 132"/>
                <a:gd name="T7" fmla="*/ 0 h 130"/>
                <a:gd name="T8" fmla="*/ 2147483647 w 132"/>
                <a:gd name="T9" fmla="*/ 2147483647 h 130"/>
                <a:gd name="T10" fmla="*/ 2147483647 w 132"/>
                <a:gd name="T11" fmla="*/ 2147483647 h 130"/>
                <a:gd name="T12" fmla="*/ 2147483647 w 132"/>
                <a:gd name="T13" fmla="*/ 2147483647 h 130"/>
                <a:gd name="T14" fmla="*/ 2147483647 w 132"/>
                <a:gd name="T15" fmla="*/ 2147483647 h 130"/>
                <a:gd name="T16" fmla="*/ 2147483647 w 132"/>
                <a:gd name="T17" fmla="*/ 2147483647 h 130"/>
                <a:gd name="T18" fmla="*/ 2147483647 w 132"/>
                <a:gd name="T19" fmla="*/ 2147483647 h 1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130"/>
                <a:gd name="T32" fmla="*/ 132 w 132"/>
                <a:gd name="T33" fmla="*/ 130 h 1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130">
                  <a:moveTo>
                    <a:pt x="132" y="106"/>
                  </a:moveTo>
                  <a:lnTo>
                    <a:pt x="81" y="82"/>
                  </a:lnTo>
                  <a:lnTo>
                    <a:pt x="76" y="9"/>
                  </a:lnTo>
                  <a:lnTo>
                    <a:pt x="0" y="0"/>
                  </a:lnTo>
                  <a:lnTo>
                    <a:pt x="1" y="21"/>
                  </a:lnTo>
                  <a:lnTo>
                    <a:pt x="51" y="30"/>
                  </a:lnTo>
                  <a:lnTo>
                    <a:pt x="52" y="130"/>
                  </a:lnTo>
                  <a:lnTo>
                    <a:pt x="81" y="111"/>
                  </a:lnTo>
                  <a:lnTo>
                    <a:pt x="112" y="126"/>
                  </a:lnTo>
                  <a:lnTo>
                    <a:pt x="132" y="106"/>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12" name="Freeform 1332"/>
            <p:cNvSpPr>
              <a:spLocks/>
            </p:cNvSpPr>
            <p:nvPr/>
          </p:nvSpPr>
          <p:spPr bwMode="auto">
            <a:xfrm>
              <a:off x="2065338" y="3479878"/>
              <a:ext cx="71438" cy="87313"/>
            </a:xfrm>
            <a:custGeom>
              <a:avLst/>
              <a:gdLst>
                <a:gd name="T0" fmla="*/ 2147483647 w 97"/>
                <a:gd name="T1" fmla="*/ 2147483647 h 115"/>
                <a:gd name="T2" fmla="*/ 2147483647 w 97"/>
                <a:gd name="T3" fmla="*/ 2147483647 h 115"/>
                <a:gd name="T4" fmla="*/ 2147483647 w 97"/>
                <a:gd name="T5" fmla="*/ 2147483647 h 115"/>
                <a:gd name="T6" fmla="*/ 0 w 97"/>
                <a:gd name="T7" fmla="*/ 0 h 115"/>
                <a:gd name="T8" fmla="*/ 2147483647 w 97"/>
                <a:gd name="T9" fmla="*/ 2147483647 h 115"/>
                <a:gd name="T10" fmla="*/ 0 60000 65536"/>
                <a:gd name="T11" fmla="*/ 0 60000 65536"/>
                <a:gd name="T12" fmla="*/ 0 60000 65536"/>
                <a:gd name="T13" fmla="*/ 0 60000 65536"/>
                <a:gd name="T14" fmla="*/ 0 60000 65536"/>
                <a:gd name="T15" fmla="*/ 0 w 97"/>
                <a:gd name="T16" fmla="*/ 0 h 115"/>
                <a:gd name="T17" fmla="*/ 97 w 97"/>
                <a:gd name="T18" fmla="*/ 115 h 115"/>
              </a:gdLst>
              <a:ahLst/>
              <a:cxnLst>
                <a:cxn ang="T10">
                  <a:pos x="T0" y="T1"/>
                </a:cxn>
                <a:cxn ang="T11">
                  <a:pos x="T2" y="T3"/>
                </a:cxn>
                <a:cxn ang="T12">
                  <a:pos x="T4" y="T5"/>
                </a:cxn>
                <a:cxn ang="T13">
                  <a:pos x="T6" y="T7"/>
                </a:cxn>
                <a:cxn ang="T14">
                  <a:pos x="T8" y="T9"/>
                </a:cxn>
              </a:cxnLst>
              <a:rect l="T15" t="T16" r="T17" b="T18"/>
              <a:pathLst>
                <a:path w="97" h="115">
                  <a:moveTo>
                    <a:pt x="15" y="115"/>
                  </a:moveTo>
                  <a:lnTo>
                    <a:pt x="97" y="12"/>
                  </a:lnTo>
                  <a:lnTo>
                    <a:pt x="39" y="16"/>
                  </a:lnTo>
                  <a:lnTo>
                    <a:pt x="0" y="0"/>
                  </a:lnTo>
                  <a:lnTo>
                    <a:pt x="15" y="11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13" name="Freeform 1333"/>
            <p:cNvSpPr>
              <a:spLocks/>
            </p:cNvSpPr>
            <p:nvPr/>
          </p:nvSpPr>
          <p:spPr bwMode="auto">
            <a:xfrm>
              <a:off x="2344738" y="3236991"/>
              <a:ext cx="104775" cy="84138"/>
            </a:xfrm>
            <a:custGeom>
              <a:avLst/>
              <a:gdLst>
                <a:gd name="T0" fmla="*/ 2147483647 w 141"/>
                <a:gd name="T1" fmla="*/ 0 h 111"/>
                <a:gd name="T2" fmla="*/ 2147483647 w 141"/>
                <a:gd name="T3" fmla="*/ 2147483647 h 111"/>
                <a:gd name="T4" fmla="*/ 0 w 141"/>
                <a:gd name="T5" fmla="*/ 2147483647 h 111"/>
                <a:gd name="T6" fmla="*/ 2147483647 w 141"/>
                <a:gd name="T7" fmla="*/ 2147483647 h 111"/>
                <a:gd name="T8" fmla="*/ 2147483647 w 141"/>
                <a:gd name="T9" fmla="*/ 0 h 111"/>
                <a:gd name="T10" fmla="*/ 0 60000 65536"/>
                <a:gd name="T11" fmla="*/ 0 60000 65536"/>
                <a:gd name="T12" fmla="*/ 0 60000 65536"/>
                <a:gd name="T13" fmla="*/ 0 60000 65536"/>
                <a:gd name="T14" fmla="*/ 0 60000 65536"/>
                <a:gd name="T15" fmla="*/ 0 w 141"/>
                <a:gd name="T16" fmla="*/ 0 h 111"/>
                <a:gd name="T17" fmla="*/ 141 w 141"/>
                <a:gd name="T18" fmla="*/ 111 h 111"/>
              </a:gdLst>
              <a:ahLst/>
              <a:cxnLst>
                <a:cxn ang="T10">
                  <a:pos x="T0" y="T1"/>
                </a:cxn>
                <a:cxn ang="T11">
                  <a:pos x="T2" y="T3"/>
                </a:cxn>
                <a:cxn ang="T12">
                  <a:pos x="T4" y="T5"/>
                </a:cxn>
                <a:cxn ang="T13">
                  <a:pos x="T6" y="T7"/>
                </a:cxn>
                <a:cxn ang="T14">
                  <a:pos x="T8" y="T9"/>
                </a:cxn>
              </a:cxnLst>
              <a:rect l="T15" t="T16" r="T17" b="T18"/>
              <a:pathLst>
                <a:path w="141" h="111">
                  <a:moveTo>
                    <a:pt x="141" y="0"/>
                  </a:moveTo>
                  <a:lnTo>
                    <a:pt x="34" y="111"/>
                  </a:lnTo>
                  <a:lnTo>
                    <a:pt x="0" y="42"/>
                  </a:lnTo>
                  <a:lnTo>
                    <a:pt x="58" y="8"/>
                  </a:lnTo>
                  <a:lnTo>
                    <a:pt x="141" y="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14" name="Freeform 1334"/>
            <p:cNvSpPr>
              <a:spLocks/>
            </p:cNvSpPr>
            <p:nvPr/>
          </p:nvSpPr>
          <p:spPr bwMode="auto">
            <a:xfrm>
              <a:off x="1838325" y="3171903"/>
              <a:ext cx="263525" cy="115888"/>
            </a:xfrm>
            <a:custGeom>
              <a:avLst/>
              <a:gdLst>
                <a:gd name="T0" fmla="*/ 2147483647 w 166"/>
                <a:gd name="T1" fmla="*/ 2147483647 h 73"/>
                <a:gd name="T2" fmla="*/ 2147483647 w 166"/>
                <a:gd name="T3" fmla="*/ 0 h 73"/>
                <a:gd name="T4" fmla="*/ 2147483647 w 166"/>
                <a:gd name="T5" fmla="*/ 2147483647 h 73"/>
                <a:gd name="T6" fmla="*/ 2147483647 w 166"/>
                <a:gd name="T7" fmla="*/ 2147483647 h 73"/>
                <a:gd name="T8" fmla="*/ 2147483647 w 166"/>
                <a:gd name="T9" fmla="*/ 2147483647 h 73"/>
                <a:gd name="T10" fmla="*/ 2147483647 w 166"/>
                <a:gd name="T11" fmla="*/ 2147483647 h 73"/>
                <a:gd name="T12" fmla="*/ 2147483647 w 166"/>
                <a:gd name="T13" fmla="*/ 2147483647 h 73"/>
                <a:gd name="T14" fmla="*/ 2147483647 w 166"/>
                <a:gd name="T15" fmla="*/ 2147483647 h 73"/>
                <a:gd name="T16" fmla="*/ 0 w 166"/>
                <a:gd name="T17" fmla="*/ 2147483647 h 73"/>
                <a:gd name="T18" fmla="*/ 2147483647 w 166"/>
                <a:gd name="T19" fmla="*/ 2147483647 h 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6"/>
                <a:gd name="T31" fmla="*/ 0 h 73"/>
                <a:gd name="T32" fmla="*/ 166 w 166"/>
                <a:gd name="T33" fmla="*/ 73 h 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 h="73">
                  <a:moveTo>
                    <a:pt x="16" y="73"/>
                  </a:moveTo>
                  <a:lnTo>
                    <a:pt x="166" y="0"/>
                  </a:lnTo>
                  <a:lnTo>
                    <a:pt x="115" y="1"/>
                  </a:lnTo>
                  <a:lnTo>
                    <a:pt x="107" y="10"/>
                  </a:lnTo>
                  <a:lnTo>
                    <a:pt x="83" y="11"/>
                  </a:lnTo>
                  <a:lnTo>
                    <a:pt x="79" y="21"/>
                  </a:lnTo>
                  <a:lnTo>
                    <a:pt x="37" y="44"/>
                  </a:lnTo>
                  <a:lnTo>
                    <a:pt x="28" y="35"/>
                  </a:lnTo>
                  <a:lnTo>
                    <a:pt x="0" y="43"/>
                  </a:lnTo>
                  <a:lnTo>
                    <a:pt x="16" y="73"/>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15" name="Freeform 1335"/>
            <p:cNvSpPr>
              <a:spLocks/>
            </p:cNvSpPr>
            <p:nvPr/>
          </p:nvSpPr>
          <p:spPr bwMode="auto">
            <a:xfrm>
              <a:off x="1833563" y="3871991"/>
              <a:ext cx="279400" cy="439738"/>
            </a:xfrm>
            <a:custGeom>
              <a:avLst/>
              <a:gdLst>
                <a:gd name="T0" fmla="*/ 2147483647 w 176"/>
                <a:gd name="T1" fmla="*/ 2147483647 h 277"/>
                <a:gd name="T2" fmla="*/ 2147483647 w 176"/>
                <a:gd name="T3" fmla="*/ 2147483647 h 277"/>
                <a:gd name="T4" fmla="*/ 2147483647 w 176"/>
                <a:gd name="T5" fmla="*/ 2147483647 h 277"/>
                <a:gd name="T6" fmla="*/ 2147483647 w 176"/>
                <a:gd name="T7" fmla="*/ 2147483647 h 277"/>
                <a:gd name="T8" fmla="*/ 2147483647 w 176"/>
                <a:gd name="T9" fmla="*/ 2147483647 h 277"/>
                <a:gd name="T10" fmla="*/ 2147483647 w 176"/>
                <a:gd name="T11" fmla="*/ 2147483647 h 277"/>
                <a:gd name="T12" fmla="*/ 2147483647 w 176"/>
                <a:gd name="T13" fmla="*/ 2147483647 h 277"/>
                <a:gd name="T14" fmla="*/ 0 w 176"/>
                <a:gd name="T15" fmla="*/ 2147483647 h 277"/>
                <a:gd name="T16" fmla="*/ 2147483647 w 176"/>
                <a:gd name="T17" fmla="*/ 2147483647 h 277"/>
                <a:gd name="T18" fmla="*/ 2147483647 w 176"/>
                <a:gd name="T19" fmla="*/ 2147483647 h 277"/>
                <a:gd name="T20" fmla="*/ 2147483647 w 176"/>
                <a:gd name="T21" fmla="*/ 0 h 277"/>
                <a:gd name="T22" fmla="*/ 2147483647 w 176"/>
                <a:gd name="T23" fmla="*/ 2147483647 h 277"/>
                <a:gd name="T24" fmla="*/ 2147483647 w 176"/>
                <a:gd name="T25" fmla="*/ 2147483647 h 277"/>
                <a:gd name="T26" fmla="*/ 2147483647 w 176"/>
                <a:gd name="T27" fmla="*/ 2147483647 h 277"/>
                <a:gd name="T28" fmla="*/ 2147483647 w 176"/>
                <a:gd name="T29" fmla="*/ 2147483647 h 277"/>
                <a:gd name="T30" fmla="*/ 2147483647 w 176"/>
                <a:gd name="T31" fmla="*/ 2147483647 h 277"/>
                <a:gd name="T32" fmla="*/ 2147483647 w 176"/>
                <a:gd name="T33" fmla="*/ 2147483647 h 277"/>
                <a:gd name="T34" fmla="*/ 2147483647 w 176"/>
                <a:gd name="T35" fmla="*/ 2147483647 h 277"/>
                <a:gd name="T36" fmla="*/ 2147483647 w 176"/>
                <a:gd name="T37" fmla="*/ 2147483647 h 277"/>
                <a:gd name="T38" fmla="*/ 2147483647 w 176"/>
                <a:gd name="T39" fmla="*/ 2147483647 h 277"/>
                <a:gd name="T40" fmla="*/ 2147483647 w 176"/>
                <a:gd name="T41" fmla="*/ 2147483647 h 277"/>
                <a:gd name="T42" fmla="*/ 2147483647 w 176"/>
                <a:gd name="T43" fmla="*/ 2147483647 h 27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6"/>
                <a:gd name="T67" fmla="*/ 0 h 277"/>
                <a:gd name="T68" fmla="*/ 176 w 176"/>
                <a:gd name="T69" fmla="*/ 277 h 27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6" h="277">
                  <a:moveTo>
                    <a:pt x="107" y="187"/>
                  </a:moveTo>
                  <a:lnTo>
                    <a:pt x="102" y="261"/>
                  </a:lnTo>
                  <a:lnTo>
                    <a:pt x="77" y="277"/>
                  </a:lnTo>
                  <a:lnTo>
                    <a:pt x="42" y="189"/>
                  </a:lnTo>
                  <a:lnTo>
                    <a:pt x="32" y="159"/>
                  </a:lnTo>
                  <a:lnTo>
                    <a:pt x="24" y="142"/>
                  </a:lnTo>
                  <a:lnTo>
                    <a:pt x="8" y="97"/>
                  </a:lnTo>
                  <a:lnTo>
                    <a:pt x="0" y="72"/>
                  </a:lnTo>
                  <a:lnTo>
                    <a:pt x="30" y="57"/>
                  </a:lnTo>
                  <a:lnTo>
                    <a:pt x="26" y="16"/>
                  </a:lnTo>
                  <a:lnTo>
                    <a:pt x="62" y="0"/>
                  </a:lnTo>
                  <a:lnTo>
                    <a:pt x="99" y="42"/>
                  </a:lnTo>
                  <a:lnTo>
                    <a:pt x="138" y="6"/>
                  </a:lnTo>
                  <a:lnTo>
                    <a:pt x="153" y="22"/>
                  </a:lnTo>
                  <a:lnTo>
                    <a:pt x="126" y="67"/>
                  </a:lnTo>
                  <a:lnTo>
                    <a:pt x="140" y="78"/>
                  </a:lnTo>
                  <a:lnTo>
                    <a:pt x="162" y="73"/>
                  </a:lnTo>
                  <a:lnTo>
                    <a:pt x="170" y="96"/>
                  </a:lnTo>
                  <a:lnTo>
                    <a:pt x="173" y="118"/>
                  </a:lnTo>
                  <a:lnTo>
                    <a:pt x="176" y="136"/>
                  </a:lnTo>
                  <a:lnTo>
                    <a:pt x="158" y="171"/>
                  </a:lnTo>
                  <a:lnTo>
                    <a:pt x="107" y="187"/>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16" name="Freeform 1336"/>
            <p:cNvSpPr>
              <a:spLocks/>
            </p:cNvSpPr>
            <p:nvPr/>
          </p:nvSpPr>
          <p:spPr bwMode="auto">
            <a:xfrm>
              <a:off x="2274888" y="3991053"/>
              <a:ext cx="171450" cy="134938"/>
            </a:xfrm>
            <a:custGeom>
              <a:avLst/>
              <a:gdLst>
                <a:gd name="T0" fmla="*/ 2147483647 w 231"/>
                <a:gd name="T1" fmla="*/ 2147483647 h 178"/>
                <a:gd name="T2" fmla="*/ 2147483647 w 231"/>
                <a:gd name="T3" fmla="*/ 2147483647 h 178"/>
                <a:gd name="T4" fmla="*/ 2147483647 w 231"/>
                <a:gd name="T5" fmla="*/ 2147483647 h 178"/>
                <a:gd name="T6" fmla="*/ 0 w 231"/>
                <a:gd name="T7" fmla="*/ 2147483647 h 178"/>
                <a:gd name="T8" fmla="*/ 2147483647 w 231"/>
                <a:gd name="T9" fmla="*/ 2147483647 h 178"/>
                <a:gd name="T10" fmla="*/ 2147483647 w 231"/>
                <a:gd name="T11" fmla="*/ 0 h 178"/>
                <a:gd name="T12" fmla="*/ 2147483647 w 231"/>
                <a:gd name="T13" fmla="*/ 2147483647 h 178"/>
                <a:gd name="T14" fmla="*/ 2147483647 w 231"/>
                <a:gd name="T15" fmla="*/ 2147483647 h 178"/>
                <a:gd name="T16" fmla="*/ 2147483647 w 231"/>
                <a:gd name="T17" fmla="*/ 2147483647 h 178"/>
                <a:gd name="T18" fmla="*/ 2147483647 w 231"/>
                <a:gd name="T19" fmla="*/ 2147483647 h 1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1"/>
                <a:gd name="T31" fmla="*/ 0 h 178"/>
                <a:gd name="T32" fmla="*/ 231 w 231"/>
                <a:gd name="T33" fmla="*/ 178 h 1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1" h="178">
                  <a:moveTo>
                    <a:pt x="195" y="178"/>
                  </a:moveTo>
                  <a:lnTo>
                    <a:pt x="72" y="90"/>
                  </a:lnTo>
                  <a:lnTo>
                    <a:pt x="9" y="78"/>
                  </a:lnTo>
                  <a:lnTo>
                    <a:pt x="0" y="27"/>
                  </a:lnTo>
                  <a:lnTo>
                    <a:pt x="68" y="39"/>
                  </a:lnTo>
                  <a:lnTo>
                    <a:pt x="90" y="0"/>
                  </a:lnTo>
                  <a:lnTo>
                    <a:pt x="117" y="22"/>
                  </a:lnTo>
                  <a:lnTo>
                    <a:pt x="116" y="63"/>
                  </a:lnTo>
                  <a:lnTo>
                    <a:pt x="231" y="138"/>
                  </a:lnTo>
                  <a:lnTo>
                    <a:pt x="195" y="17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17" name="Freeform 1337"/>
            <p:cNvSpPr>
              <a:spLocks/>
            </p:cNvSpPr>
            <p:nvPr/>
          </p:nvSpPr>
          <p:spPr bwMode="auto">
            <a:xfrm>
              <a:off x="3032125" y="5159453"/>
              <a:ext cx="147638" cy="152400"/>
            </a:xfrm>
            <a:custGeom>
              <a:avLst/>
              <a:gdLst>
                <a:gd name="T0" fmla="*/ 2147483647 w 198"/>
                <a:gd name="T1" fmla="*/ 2147483647 h 202"/>
                <a:gd name="T2" fmla="*/ 2147483647 w 198"/>
                <a:gd name="T3" fmla="*/ 2147483647 h 202"/>
                <a:gd name="T4" fmla="*/ 2147483647 w 198"/>
                <a:gd name="T5" fmla="*/ 2147483647 h 202"/>
                <a:gd name="T6" fmla="*/ 2147483647 w 198"/>
                <a:gd name="T7" fmla="*/ 2147483647 h 202"/>
                <a:gd name="T8" fmla="*/ 2147483647 w 198"/>
                <a:gd name="T9" fmla="*/ 2147483647 h 202"/>
                <a:gd name="T10" fmla="*/ 2147483647 w 198"/>
                <a:gd name="T11" fmla="*/ 2147483647 h 202"/>
                <a:gd name="T12" fmla="*/ 2147483647 w 198"/>
                <a:gd name="T13" fmla="*/ 2147483647 h 202"/>
                <a:gd name="T14" fmla="*/ 0 w 198"/>
                <a:gd name="T15" fmla="*/ 2147483647 h 202"/>
                <a:gd name="T16" fmla="*/ 2147483647 w 198"/>
                <a:gd name="T17" fmla="*/ 2147483647 h 202"/>
                <a:gd name="T18" fmla="*/ 2147483647 w 198"/>
                <a:gd name="T19" fmla="*/ 2147483647 h 202"/>
                <a:gd name="T20" fmla="*/ 2147483647 w 198"/>
                <a:gd name="T21" fmla="*/ 2147483647 h 202"/>
                <a:gd name="T22" fmla="*/ 2147483647 w 198"/>
                <a:gd name="T23" fmla="*/ 0 h 202"/>
                <a:gd name="T24" fmla="*/ 2147483647 w 198"/>
                <a:gd name="T25" fmla="*/ 0 h 202"/>
                <a:gd name="T26" fmla="*/ 2147483647 w 198"/>
                <a:gd name="T27" fmla="*/ 2147483647 h 202"/>
                <a:gd name="T28" fmla="*/ 2147483647 w 198"/>
                <a:gd name="T29" fmla="*/ 2147483647 h 202"/>
                <a:gd name="T30" fmla="*/ 2147483647 w 198"/>
                <a:gd name="T31" fmla="*/ 2147483647 h 202"/>
                <a:gd name="T32" fmla="*/ 2147483647 w 198"/>
                <a:gd name="T33" fmla="*/ 2147483647 h 202"/>
                <a:gd name="T34" fmla="*/ 2147483647 w 198"/>
                <a:gd name="T35" fmla="*/ 2147483647 h 202"/>
                <a:gd name="T36" fmla="*/ 2147483647 w 198"/>
                <a:gd name="T37" fmla="*/ 2147483647 h 202"/>
                <a:gd name="T38" fmla="*/ 2147483647 w 198"/>
                <a:gd name="T39" fmla="*/ 2147483647 h 202"/>
                <a:gd name="T40" fmla="*/ 2147483647 w 198"/>
                <a:gd name="T41" fmla="*/ 2147483647 h 2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8"/>
                <a:gd name="T64" fmla="*/ 0 h 202"/>
                <a:gd name="T65" fmla="*/ 198 w 198"/>
                <a:gd name="T66" fmla="*/ 202 h 2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8" h="202">
                  <a:moveTo>
                    <a:pt x="163" y="171"/>
                  </a:moveTo>
                  <a:lnTo>
                    <a:pt x="136" y="187"/>
                  </a:lnTo>
                  <a:lnTo>
                    <a:pt x="60" y="171"/>
                  </a:lnTo>
                  <a:lnTo>
                    <a:pt x="55" y="202"/>
                  </a:lnTo>
                  <a:lnTo>
                    <a:pt x="39" y="202"/>
                  </a:lnTo>
                  <a:lnTo>
                    <a:pt x="31" y="177"/>
                  </a:lnTo>
                  <a:lnTo>
                    <a:pt x="9" y="178"/>
                  </a:lnTo>
                  <a:lnTo>
                    <a:pt x="0" y="127"/>
                  </a:lnTo>
                  <a:lnTo>
                    <a:pt x="36" y="111"/>
                  </a:lnTo>
                  <a:lnTo>
                    <a:pt x="24" y="72"/>
                  </a:lnTo>
                  <a:lnTo>
                    <a:pt x="46" y="55"/>
                  </a:lnTo>
                  <a:lnTo>
                    <a:pt x="49" y="0"/>
                  </a:lnTo>
                  <a:lnTo>
                    <a:pt x="81" y="0"/>
                  </a:lnTo>
                  <a:lnTo>
                    <a:pt x="82" y="54"/>
                  </a:lnTo>
                  <a:lnTo>
                    <a:pt x="103" y="79"/>
                  </a:lnTo>
                  <a:lnTo>
                    <a:pt x="121" y="72"/>
                  </a:lnTo>
                  <a:lnTo>
                    <a:pt x="153" y="109"/>
                  </a:lnTo>
                  <a:lnTo>
                    <a:pt x="193" y="123"/>
                  </a:lnTo>
                  <a:lnTo>
                    <a:pt x="198" y="138"/>
                  </a:lnTo>
                  <a:lnTo>
                    <a:pt x="160" y="153"/>
                  </a:lnTo>
                  <a:lnTo>
                    <a:pt x="163" y="171"/>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18" name="Freeform 1338"/>
            <p:cNvSpPr>
              <a:spLocks/>
            </p:cNvSpPr>
            <p:nvPr/>
          </p:nvSpPr>
          <p:spPr bwMode="auto">
            <a:xfrm>
              <a:off x="3122613" y="4907041"/>
              <a:ext cx="88900" cy="104775"/>
            </a:xfrm>
            <a:custGeom>
              <a:avLst/>
              <a:gdLst>
                <a:gd name="T0" fmla="*/ 2147483647 w 120"/>
                <a:gd name="T1" fmla="*/ 2147483647 h 138"/>
                <a:gd name="T2" fmla="*/ 2147483647 w 120"/>
                <a:gd name="T3" fmla="*/ 2147483647 h 138"/>
                <a:gd name="T4" fmla="*/ 2147483647 w 120"/>
                <a:gd name="T5" fmla="*/ 2147483647 h 138"/>
                <a:gd name="T6" fmla="*/ 2147483647 w 120"/>
                <a:gd name="T7" fmla="*/ 2147483647 h 138"/>
                <a:gd name="T8" fmla="*/ 0 w 120"/>
                <a:gd name="T9" fmla="*/ 2147483647 h 138"/>
                <a:gd name="T10" fmla="*/ 2147483647 w 120"/>
                <a:gd name="T11" fmla="*/ 2147483647 h 138"/>
                <a:gd name="T12" fmla="*/ 2147483647 w 120"/>
                <a:gd name="T13" fmla="*/ 2147483647 h 138"/>
                <a:gd name="T14" fmla="*/ 2147483647 w 120"/>
                <a:gd name="T15" fmla="*/ 0 h 138"/>
                <a:gd name="T16" fmla="*/ 2147483647 w 120"/>
                <a:gd name="T17" fmla="*/ 2147483647 h 138"/>
                <a:gd name="T18" fmla="*/ 2147483647 w 120"/>
                <a:gd name="T19" fmla="*/ 2147483647 h 138"/>
                <a:gd name="T20" fmla="*/ 2147483647 w 120"/>
                <a:gd name="T21" fmla="*/ 2147483647 h 1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0"/>
                <a:gd name="T34" fmla="*/ 0 h 138"/>
                <a:gd name="T35" fmla="*/ 120 w 120"/>
                <a:gd name="T36" fmla="*/ 138 h 1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0" h="138">
                  <a:moveTo>
                    <a:pt x="120" y="112"/>
                  </a:moveTo>
                  <a:lnTo>
                    <a:pt x="99" y="138"/>
                  </a:lnTo>
                  <a:lnTo>
                    <a:pt x="39" y="93"/>
                  </a:lnTo>
                  <a:lnTo>
                    <a:pt x="21" y="109"/>
                  </a:lnTo>
                  <a:lnTo>
                    <a:pt x="0" y="91"/>
                  </a:lnTo>
                  <a:lnTo>
                    <a:pt x="5" y="55"/>
                  </a:lnTo>
                  <a:lnTo>
                    <a:pt x="5" y="7"/>
                  </a:lnTo>
                  <a:lnTo>
                    <a:pt x="24" y="0"/>
                  </a:lnTo>
                  <a:lnTo>
                    <a:pt x="68" y="30"/>
                  </a:lnTo>
                  <a:lnTo>
                    <a:pt x="68" y="63"/>
                  </a:lnTo>
                  <a:lnTo>
                    <a:pt x="120" y="11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19" name="Freeform 1339"/>
            <p:cNvSpPr>
              <a:spLocks/>
            </p:cNvSpPr>
            <p:nvPr/>
          </p:nvSpPr>
          <p:spPr bwMode="auto">
            <a:xfrm>
              <a:off x="2628900" y="4321253"/>
              <a:ext cx="114300" cy="150813"/>
            </a:xfrm>
            <a:custGeom>
              <a:avLst/>
              <a:gdLst>
                <a:gd name="T0" fmla="*/ 2147483647 w 72"/>
                <a:gd name="T1" fmla="*/ 2147483647 h 95"/>
                <a:gd name="T2" fmla="*/ 2147483647 w 72"/>
                <a:gd name="T3" fmla="*/ 2147483647 h 95"/>
                <a:gd name="T4" fmla="*/ 2147483647 w 72"/>
                <a:gd name="T5" fmla="*/ 2147483647 h 95"/>
                <a:gd name="T6" fmla="*/ 2147483647 w 72"/>
                <a:gd name="T7" fmla="*/ 2147483647 h 95"/>
                <a:gd name="T8" fmla="*/ 2147483647 w 72"/>
                <a:gd name="T9" fmla="*/ 2147483647 h 95"/>
                <a:gd name="T10" fmla="*/ 2147483647 w 72"/>
                <a:gd name="T11" fmla="*/ 2147483647 h 95"/>
                <a:gd name="T12" fmla="*/ 2147483647 w 72"/>
                <a:gd name="T13" fmla="*/ 0 h 95"/>
                <a:gd name="T14" fmla="*/ 2147483647 w 72"/>
                <a:gd name="T15" fmla="*/ 0 h 95"/>
                <a:gd name="T16" fmla="*/ 0 w 72"/>
                <a:gd name="T17" fmla="*/ 2147483647 h 95"/>
                <a:gd name="T18" fmla="*/ 2147483647 w 72"/>
                <a:gd name="T19" fmla="*/ 2147483647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95"/>
                <a:gd name="T32" fmla="*/ 72 w 72"/>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95">
                  <a:moveTo>
                    <a:pt x="35" y="95"/>
                  </a:moveTo>
                  <a:lnTo>
                    <a:pt x="51" y="77"/>
                  </a:lnTo>
                  <a:lnTo>
                    <a:pt x="48" y="65"/>
                  </a:lnTo>
                  <a:lnTo>
                    <a:pt x="72" y="45"/>
                  </a:lnTo>
                  <a:lnTo>
                    <a:pt x="65" y="35"/>
                  </a:lnTo>
                  <a:lnTo>
                    <a:pt x="50" y="39"/>
                  </a:lnTo>
                  <a:lnTo>
                    <a:pt x="48" y="0"/>
                  </a:lnTo>
                  <a:lnTo>
                    <a:pt x="27" y="0"/>
                  </a:lnTo>
                  <a:lnTo>
                    <a:pt x="0" y="45"/>
                  </a:lnTo>
                  <a:lnTo>
                    <a:pt x="35" y="9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20" name="Freeform 1340"/>
            <p:cNvSpPr>
              <a:spLocks/>
            </p:cNvSpPr>
            <p:nvPr/>
          </p:nvSpPr>
          <p:spPr bwMode="auto">
            <a:xfrm>
              <a:off x="3106738" y="3516391"/>
              <a:ext cx="125413" cy="85725"/>
            </a:xfrm>
            <a:custGeom>
              <a:avLst/>
              <a:gdLst>
                <a:gd name="T0" fmla="*/ 2147483647 w 170"/>
                <a:gd name="T1" fmla="*/ 2147483647 h 114"/>
                <a:gd name="T2" fmla="*/ 2147483647 w 170"/>
                <a:gd name="T3" fmla="*/ 2147483647 h 114"/>
                <a:gd name="T4" fmla="*/ 2147483647 w 170"/>
                <a:gd name="T5" fmla="*/ 2147483647 h 114"/>
                <a:gd name="T6" fmla="*/ 2147483647 w 170"/>
                <a:gd name="T7" fmla="*/ 2147483647 h 114"/>
                <a:gd name="T8" fmla="*/ 2147483647 w 170"/>
                <a:gd name="T9" fmla="*/ 2147483647 h 114"/>
                <a:gd name="T10" fmla="*/ 2147483647 w 170"/>
                <a:gd name="T11" fmla="*/ 2147483647 h 114"/>
                <a:gd name="T12" fmla="*/ 2147483647 w 170"/>
                <a:gd name="T13" fmla="*/ 2147483647 h 114"/>
                <a:gd name="T14" fmla="*/ 2147483647 w 170"/>
                <a:gd name="T15" fmla="*/ 0 h 114"/>
                <a:gd name="T16" fmla="*/ 2147483647 w 170"/>
                <a:gd name="T17" fmla="*/ 2147483647 h 114"/>
                <a:gd name="T18" fmla="*/ 2147483647 w 170"/>
                <a:gd name="T19" fmla="*/ 2147483647 h 114"/>
                <a:gd name="T20" fmla="*/ 2147483647 w 170"/>
                <a:gd name="T21" fmla="*/ 2147483647 h 114"/>
                <a:gd name="T22" fmla="*/ 0 w 170"/>
                <a:gd name="T23" fmla="*/ 2147483647 h 114"/>
                <a:gd name="T24" fmla="*/ 2147483647 w 170"/>
                <a:gd name="T25" fmla="*/ 2147483647 h 114"/>
                <a:gd name="T26" fmla="*/ 2147483647 w 170"/>
                <a:gd name="T27" fmla="*/ 2147483647 h 114"/>
                <a:gd name="T28" fmla="*/ 2147483647 w 170"/>
                <a:gd name="T29" fmla="*/ 2147483647 h 114"/>
                <a:gd name="T30" fmla="*/ 2147483647 w 170"/>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0"/>
                <a:gd name="T49" fmla="*/ 0 h 114"/>
                <a:gd name="T50" fmla="*/ 170 w 170"/>
                <a:gd name="T51" fmla="*/ 114 h 1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0" h="114">
                  <a:moveTo>
                    <a:pt x="129" y="114"/>
                  </a:moveTo>
                  <a:lnTo>
                    <a:pt x="170" y="96"/>
                  </a:lnTo>
                  <a:lnTo>
                    <a:pt x="165" y="61"/>
                  </a:lnTo>
                  <a:lnTo>
                    <a:pt x="134" y="40"/>
                  </a:lnTo>
                  <a:lnTo>
                    <a:pt x="96" y="1"/>
                  </a:lnTo>
                  <a:lnTo>
                    <a:pt x="84" y="27"/>
                  </a:lnTo>
                  <a:lnTo>
                    <a:pt x="63" y="27"/>
                  </a:lnTo>
                  <a:lnTo>
                    <a:pt x="66" y="0"/>
                  </a:lnTo>
                  <a:lnTo>
                    <a:pt x="18" y="1"/>
                  </a:lnTo>
                  <a:lnTo>
                    <a:pt x="30" y="42"/>
                  </a:lnTo>
                  <a:lnTo>
                    <a:pt x="6" y="42"/>
                  </a:lnTo>
                  <a:lnTo>
                    <a:pt x="0" y="72"/>
                  </a:lnTo>
                  <a:lnTo>
                    <a:pt x="65" y="102"/>
                  </a:lnTo>
                  <a:lnTo>
                    <a:pt x="86" y="64"/>
                  </a:lnTo>
                  <a:lnTo>
                    <a:pt x="125" y="70"/>
                  </a:lnTo>
                  <a:lnTo>
                    <a:pt x="129" y="114"/>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21" name="Freeform 1341"/>
            <p:cNvSpPr>
              <a:spLocks/>
            </p:cNvSpPr>
            <p:nvPr/>
          </p:nvSpPr>
          <p:spPr bwMode="auto">
            <a:xfrm>
              <a:off x="4310063" y="4116466"/>
              <a:ext cx="153988" cy="120650"/>
            </a:xfrm>
            <a:custGeom>
              <a:avLst/>
              <a:gdLst>
                <a:gd name="T0" fmla="*/ 2147483647 w 208"/>
                <a:gd name="T1" fmla="*/ 2147483647 h 160"/>
                <a:gd name="T2" fmla="*/ 2147483647 w 208"/>
                <a:gd name="T3" fmla="*/ 2147483647 h 160"/>
                <a:gd name="T4" fmla="*/ 2147483647 w 208"/>
                <a:gd name="T5" fmla="*/ 2147483647 h 160"/>
                <a:gd name="T6" fmla="*/ 2147483647 w 208"/>
                <a:gd name="T7" fmla="*/ 2147483647 h 160"/>
                <a:gd name="T8" fmla="*/ 0 w 208"/>
                <a:gd name="T9" fmla="*/ 2147483647 h 160"/>
                <a:gd name="T10" fmla="*/ 2147483647 w 208"/>
                <a:gd name="T11" fmla="*/ 2147483647 h 160"/>
                <a:gd name="T12" fmla="*/ 2147483647 w 208"/>
                <a:gd name="T13" fmla="*/ 2147483647 h 160"/>
                <a:gd name="T14" fmla="*/ 2147483647 w 208"/>
                <a:gd name="T15" fmla="*/ 2147483647 h 160"/>
                <a:gd name="T16" fmla="*/ 2147483647 w 208"/>
                <a:gd name="T17" fmla="*/ 2147483647 h 160"/>
                <a:gd name="T18" fmla="*/ 2147483647 w 208"/>
                <a:gd name="T19" fmla="*/ 2147483647 h 160"/>
                <a:gd name="T20" fmla="*/ 2147483647 w 208"/>
                <a:gd name="T21" fmla="*/ 2147483647 h 160"/>
                <a:gd name="T22" fmla="*/ 2147483647 w 208"/>
                <a:gd name="T23" fmla="*/ 0 h 160"/>
                <a:gd name="T24" fmla="*/ 2147483647 w 208"/>
                <a:gd name="T25" fmla="*/ 2147483647 h 160"/>
                <a:gd name="T26" fmla="*/ 2147483647 w 208"/>
                <a:gd name="T27" fmla="*/ 2147483647 h 160"/>
                <a:gd name="T28" fmla="*/ 2147483647 w 208"/>
                <a:gd name="T29" fmla="*/ 2147483647 h 160"/>
                <a:gd name="T30" fmla="*/ 2147483647 w 208"/>
                <a:gd name="T31" fmla="*/ 2147483647 h 160"/>
                <a:gd name="T32" fmla="*/ 2147483647 w 208"/>
                <a:gd name="T33" fmla="*/ 2147483647 h 160"/>
                <a:gd name="T34" fmla="*/ 2147483647 w 208"/>
                <a:gd name="T35" fmla="*/ 2147483647 h 1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8"/>
                <a:gd name="T55" fmla="*/ 0 h 160"/>
                <a:gd name="T56" fmla="*/ 208 w 208"/>
                <a:gd name="T57" fmla="*/ 160 h 1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8" h="160">
                  <a:moveTo>
                    <a:pt x="85" y="132"/>
                  </a:moveTo>
                  <a:lnTo>
                    <a:pt x="70" y="159"/>
                  </a:lnTo>
                  <a:lnTo>
                    <a:pt x="28" y="144"/>
                  </a:lnTo>
                  <a:lnTo>
                    <a:pt x="45" y="118"/>
                  </a:lnTo>
                  <a:lnTo>
                    <a:pt x="0" y="93"/>
                  </a:lnTo>
                  <a:lnTo>
                    <a:pt x="36" y="54"/>
                  </a:lnTo>
                  <a:lnTo>
                    <a:pt x="67" y="72"/>
                  </a:lnTo>
                  <a:lnTo>
                    <a:pt x="90" y="27"/>
                  </a:lnTo>
                  <a:lnTo>
                    <a:pt x="115" y="34"/>
                  </a:lnTo>
                  <a:lnTo>
                    <a:pt x="139" y="12"/>
                  </a:lnTo>
                  <a:lnTo>
                    <a:pt x="160" y="28"/>
                  </a:lnTo>
                  <a:lnTo>
                    <a:pt x="193" y="0"/>
                  </a:lnTo>
                  <a:lnTo>
                    <a:pt x="208" y="13"/>
                  </a:lnTo>
                  <a:lnTo>
                    <a:pt x="177" y="51"/>
                  </a:lnTo>
                  <a:lnTo>
                    <a:pt x="195" y="60"/>
                  </a:lnTo>
                  <a:lnTo>
                    <a:pt x="180" y="118"/>
                  </a:lnTo>
                  <a:lnTo>
                    <a:pt x="126" y="160"/>
                  </a:lnTo>
                  <a:lnTo>
                    <a:pt x="85" y="13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22" name="Freeform 1342"/>
            <p:cNvSpPr>
              <a:spLocks/>
            </p:cNvSpPr>
            <p:nvPr/>
          </p:nvSpPr>
          <p:spPr bwMode="auto">
            <a:xfrm>
              <a:off x="4227513" y="4011691"/>
              <a:ext cx="36513" cy="50800"/>
            </a:xfrm>
            <a:custGeom>
              <a:avLst/>
              <a:gdLst>
                <a:gd name="T0" fmla="*/ 2147483647 w 48"/>
                <a:gd name="T1" fmla="*/ 2147483647 h 67"/>
                <a:gd name="T2" fmla="*/ 2147483647 w 48"/>
                <a:gd name="T3" fmla="*/ 2147483647 h 67"/>
                <a:gd name="T4" fmla="*/ 0 w 48"/>
                <a:gd name="T5" fmla="*/ 2147483647 h 67"/>
                <a:gd name="T6" fmla="*/ 2147483647 w 48"/>
                <a:gd name="T7" fmla="*/ 2147483647 h 67"/>
                <a:gd name="T8" fmla="*/ 2147483647 w 48"/>
                <a:gd name="T9" fmla="*/ 2147483647 h 67"/>
                <a:gd name="T10" fmla="*/ 2147483647 w 48"/>
                <a:gd name="T11" fmla="*/ 0 h 67"/>
                <a:gd name="T12" fmla="*/ 2147483647 w 48"/>
                <a:gd name="T13" fmla="*/ 2147483647 h 67"/>
                <a:gd name="T14" fmla="*/ 2147483647 w 48"/>
                <a:gd name="T15" fmla="*/ 2147483647 h 67"/>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7"/>
                <a:gd name="T26" fmla="*/ 48 w 48"/>
                <a:gd name="T27" fmla="*/ 67 h 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7">
                  <a:moveTo>
                    <a:pt x="48" y="30"/>
                  </a:moveTo>
                  <a:lnTo>
                    <a:pt x="33" y="67"/>
                  </a:lnTo>
                  <a:lnTo>
                    <a:pt x="0" y="42"/>
                  </a:lnTo>
                  <a:lnTo>
                    <a:pt x="18" y="22"/>
                  </a:lnTo>
                  <a:lnTo>
                    <a:pt x="12" y="4"/>
                  </a:lnTo>
                  <a:lnTo>
                    <a:pt x="27" y="0"/>
                  </a:lnTo>
                  <a:lnTo>
                    <a:pt x="38" y="24"/>
                  </a:lnTo>
                  <a:lnTo>
                    <a:pt x="48" y="3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23" name="Freeform 1343"/>
            <p:cNvSpPr>
              <a:spLocks/>
            </p:cNvSpPr>
            <p:nvPr/>
          </p:nvSpPr>
          <p:spPr bwMode="auto">
            <a:xfrm>
              <a:off x="4284663" y="3771978"/>
              <a:ext cx="138113" cy="65088"/>
            </a:xfrm>
            <a:custGeom>
              <a:avLst/>
              <a:gdLst>
                <a:gd name="T0" fmla="*/ 2147483647 w 186"/>
                <a:gd name="T1" fmla="*/ 2147483647 h 86"/>
                <a:gd name="T2" fmla="*/ 0 w 186"/>
                <a:gd name="T3" fmla="*/ 2147483647 h 86"/>
                <a:gd name="T4" fmla="*/ 2147483647 w 186"/>
                <a:gd name="T5" fmla="*/ 2147483647 h 86"/>
                <a:gd name="T6" fmla="*/ 2147483647 w 186"/>
                <a:gd name="T7" fmla="*/ 2147483647 h 86"/>
                <a:gd name="T8" fmla="*/ 2147483647 w 186"/>
                <a:gd name="T9" fmla="*/ 0 h 86"/>
                <a:gd name="T10" fmla="*/ 2147483647 w 186"/>
                <a:gd name="T11" fmla="*/ 2147483647 h 86"/>
                <a:gd name="T12" fmla="*/ 2147483647 w 186"/>
                <a:gd name="T13" fmla="*/ 2147483647 h 86"/>
                <a:gd name="T14" fmla="*/ 0 60000 65536"/>
                <a:gd name="T15" fmla="*/ 0 60000 65536"/>
                <a:gd name="T16" fmla="*/ 0 60000 65536"/>
                <a:gd name="T17" fmla="*/ 0 60000 65536"/>
                <a:gd name="T18" fmla="*/ 0 60000 65536"/>
                <a:gd name="T19" fmla="*/ 0 60000 65536"/>
                <a:gd name="T20" fmla="*/ 0 60000 65536"/>
                <a:gd name="T21" fmla="*/ 0 w 186"/>
                <a:gd name="T22" fmla="*/ 0 h 86"/>
                <a:gd name="T23" fmla="*/ 186 w 186"/>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6" h="86">
                  <a:moveTo>
                    <a:pt x="186" y="86"/>
                  </a:moveTo>
                  <a:lnTo>
                    <a:pt x="0" y="86"/>
                  </a:lnTo>
                  <a:lnTo>
                    <a:pt x="3" y="17"/>
                  </a:lnTo>
                  <a:lnTo>
                    <a:pt x="18" y="17"/>
                  </a:lnTo>
                  <a:lnTo>
                    <a:pt x="28" y="0"/>
                  </a:lnTo>
                  <a:lnTo>
                    <a:pt x="180" y="57"/>
                  </a:lnTo>
                  <a:lnTo>
                    <a:pt x="186" y="86"/>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24" name="Freeform 1344"/>
            <p:cNvSpPr>
              <a:spLocks/>
            </p:cNvSpPr>
            <p:nvPr/>
          </p:nvSpPr>
          <p:spPr bwMode="auto">
            <a:xfrm>
              <a:off x="3471863" y="3413203"/>
              <a:ext cx="146050" cy="80963"/>
            </a:xfrm>
            <a:custGeom>
              <a:avLst/>
              <a:gdLst>
                <a:gd name="T0" fmla="*/ 2147483647 w 198"/>
                <a:gd name="T1" fmla="*/ 2147483647 h 106"/>
                <a:gd name="T2" fmla="*/ 2147483647 w 198"/>
                <a:gd name="T3" fmla="*/ 2147483647 h 106"/>
                <a:gd name="T4" fmla="*/ 2147483647 w 198"/>
                <a:gd name="T5" fmla="*/ 2147483647 h 106"/>
                <a:gd name="T6" fmla="*/ 2147483647 w 198"/>
                <a:gd name="T7" fmla="*/ 2147483647 h 106"/>
                <a:gd name="T8" fmla="*/ 0 w 198"/>
                <a:gd name="T9" fmla="*/ 2147483647 h 106"/>
                <a:gd name="T10" fmla="*/ 2147483647 w 198"/>
                <a:gd name="T11" fmla="*/ 2147483647 h 106"/>
                <a:gd name="T12" fmla="*/ 2147483647 w 198"/>
                <a:gd name="T13" fmla="*/ 0 h 106"/>
                <a:gd name="T14" fmla="*/ 2147483647 w 198"/>
                <a:gd name="T15" fmla="*/ 2147483647 h 106"/>
                <a:gd name="T16" fmla="*/ 2147483647 w 198"/>
                <a:gd name="T17" fmla="*/ 2147483647 h 106"/>
                <a:gd name="T18" fmla="*/ 2147483647 w 198"/>
                <a:gd name="T19" fmla="*/ 2147483647 h 106"/>
                <a:gd name="T20" fmla="*/ 2147483647 w 198"/>
                <a:gd name="T21" fmla="*/ 2147483647 h 106"/>
                <a:gd name="T22" fmla="*/ 2147483647 w 198"/>
                <a:gd name="T23" fmla="*/ 2147483647 h 1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8"/>
                <a:gd name="T37" fmla="*/ 0 h 106"/>
                <a:gd name="T38" fmla="*/ 198 w 198"/>
                <a:gd name="T39" fmla="*/ 106 h 1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8" h="106">
                  <a:moveTo>
                    <a:pt x="153" y="90"/>
                  </a:moveTo>
                  <a:lnTo>
                    <a:pt x="99" y="106"/>
                  </a:lnTo>
                  <a:lnTo>
                    <a:pt x="87" y="79"/>
                  </a:lnTo>
                  <a:lnTo>
                    <a:pt x="20" y="88"/>
                  </a:lnTo>
                  <a:lnTo>
                    <a:pt x="0" y="43"/>
                  </a:lnTo>
                  <a:lnTo>
                    <a:pt x="104" y="1"/>
                  </a:lnTo>
                  <a:lnTo>
                    <a:pt x="198" y="0"/>
                  </a:lnTo>
                  <a:lnTo>
                    <a:pt x="198" y="28"/>
                  </a:lnTo>
                  <a:lnTo>
                    <a:pt x="125" y="31"/>
                  </a:lnTo>
                  <a:lnTo>
                    <a:pt x="129" y="57"/>
                  </a:lnTo>
                  <a:lnTo>
                    <a:pt x="147" y="55"/>
                  </a:lnTo>
                  <a:lnTo>
                    <a:pt x="153" y="9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25" name="Freeform 1345"/>
            <p:cNvSpPr>
              <a:spLocks/>
            </p:cNvSpPr>
            <p:nvPr/>
          </p:nvSpPr>
          <p:spPr bwMode="auto">
            <a:xfrm>
              <a:off x="4514850" y="3932316"/>
              <a:ext cx="117475" cy="96838"/>
            </a:xfrm>
            <a:custGeom>
              <a:avLst/>
              <a:gdLst>
                <a:gd name="T0" fmla="*/ 0 w 159"/>
                <a:gd name="T1" fmla="*/ 2147483647 h 129"/>
                <a:gd name="T2" fmla="*/ 2147483647 w 159"/>
                <a:gd name="T3" fmla="*/ 2147483647 h 129"/>
                <a:gd name="T4" fmla="*/ 2147483647 w 159"/>
                <a:gd name="T5" fmla="*/ 2147483647 h 129"/>
                <a:gd name="T6" fmla="*/ 2147483647 w 159"/>
                <a:gd name="T7" fmla="*/ 2147483647 h 129"/>
                <a:gd name="T8" fmla="*/ 2147483647 w 159"/>
                <a:gd name="T9" fmla="*/ 0 h 129"/>
                <a:gd name="T10" fmla="*/ 2147483647 w 159"/>
                <a:gd name="T11" fmla="*/ 2147483647 h 129"/>
                <a:gd name="T12" fmla="*/ 2147483647 w 159"/>
                <a:gd name="T13" fmla="*/ 2147483647 h 129"/>
                <a:gd name="T14" fmla="*/ 2147483647 w 159"/>
                <a:gd name="T15" fmla="*/ 2147483647 h 129"/>
                <a:gd name="T16" fmla="*/ 2147483647 w 159"/>
                <a:gd name="T17" fmla="*/ 2147483647 h 129"/>
                <a:gd name="T18" fmla="*/ 2147483647 w 159"/>
                <a:gd name="T19" fmla="*/ 2147483647 h 129"/>
                <a:gd name="T20" fmla="*/ 2147483647 w 159"/>
                <a:gd name="T21" fmla="*/ 2147483647 h 129"/>
                <a:gd name="T22" fmla="*/ 2147483647 w 159"/>
                <a:gd name="T23" fmla="*/ 2147483647 h 129"/>
                <a:gd name="T24" fmla="*/ 2147483647 w 159"/>
                <a:gd name="T25" fmla="*/ 2147483647 h 129"/>
                <a:gd name="T26" fmla="*/ 2147483647 w 159"/>
                <a:gd name="T27" fmla="*/ 2147483647 h 129"/>
                <a:gd name="T28" fmla="*/ 2147483647 w 159"/>
                <a:gd name="T29" fmla="*/ 2147483647 h 129"/>
                <a:gd name="T30" fmla="*/ 2147483647 w 159"/>
                <a:gd name="T31" fmla="*/ 2147483647 h 129"/>
                <a:gd name="T32" fmla="*/ 0 w 159"/>
                <a:gd name="T33" fmla="*/ 2147483647 h 1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9"/>
                <a:gd name="T52" fmla="*/ 0 h 129"/>
                <a:gd name="T53" fmla="*/ 159 w 159"/>
                <a:gd name="T54" fmla="*/ 129 h 1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9" h="129">
                  <a:moveTo>
                    <a:pt x="0" y="76"/>
                  </a:moveTo>
                  <a:lnTo>
                    <a:pt x="54" y="40"/>
                  </a:lnTo>
                  <a:lnTo>
                    <a:pt x="66" y="46"/>
                  </a:lnTo>
                  <a:lnTo>
                    <a:pt x="75" y="28"/>
                  </a:lnTo>
                  <a:lnTo>
                    <a:pt x="114" y="0"/>
                  </a:lnTo>
                  <a:lnTo>
                    <a:pt x="138" y="15"/>
                  </a:lnTo>
                  <a:lnTo>
                    <a:pt x="152" y="10"/>
                  </a:lnTo>
                  <a:lnTo>
                    <a:pt x="137" y="48"/>
                  </a:lnTo>
                  <a:lnTo>
                    <a:pt x="159" y="81"/>
                  </a:lnTo>
                  <a:lnTo>
                    <a:pt x="140" y="93"/>
                  </a:lnTo>
                  <a:lnTo>
                    <a:pt x="138" y="124"/>
                  </a:lnTo>
                  <a:lnTo>
                    <a:pt x="114" y="129"/>
                  </a:lnTo>
                  <a:lnTo>
                    <a:pt x="101" y="112"/>
                  </a:lnTo>
                  <a:lnTo>
                    <a:pt x="90" y="118"/>
                  </a:lnTo>
                  <a:lnTo>
                    <a:pt x="81" y="105"/>
                  </a:lnTo>
                  <a:lnTo>
                    <a:pt x="50" y="121"/>
                  </a:lnTo>
                  <a:lnTo>
                    <a:pt x="0" y="76"/>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26" name="Freeform 1346"/>
            <p:cNvSpPr>
              <a:spLocks/>
            </p:cNvSpPr>
            <p:nvPr/>
          </p:nvSpPr>
          <p:spPr bwMode="auto">
            <a:xfrm>
              <a:off x="3641725" y="3938666"/>
              <a:ext cx="63500" cy="44450"/>
            </a:xfrm>
            <a:custGeom>
              <a:avLst/>
              <a:gdLst>
                <a:gd name="T0" fmla="*/ 2147483647 w 86"/>
                <a:gd name="T1" fmla="*/ 2147483647 h 58"/>
                <a:gd name="T2" fmla="*/ 2147483647 w 86"/>
                <a:gd name="T3" fmla="*/ 2147483647 h 58"/>
                <a:gd name="T4" fmla="*/ 2147483647 w 86"/>
                <a:gd name="T5" fmla="*/ 2147483647 h 58"/>
                <a:gd name="T6" fmla="*/ 2147483647 w 86"/>
                <a:gd name="T7" fmla="*/ 2147483647 h 58"/>
                <a:gd name="T8" fmla="*/ 2147483647 w 86"/>
                <a:gd name="T9" fmla="*/ 0 h 58"/>
                <a:gd name="T10" fmla="*/ 2147483647 w 86"/>
                <a:gd name="T11" fmla="*/ 2147483647 h 58"/>
                <a:gd name="T12" fmla="*/ 2147483647 w 86"/>
                <a:gd name="T13" fmla="*/ 2147483647 h 58"/>
                <a:gd name="T14" fmla="*/ 2147483647 w 86"/>
                <a:gd name="T15" fmla="*/ 2147483647 h 58"/>
                <a:gd name="T16" fmla="*/ 2147483647 w 86"/>
                <a:gd name="T17" fmla="*/ 2147483647 h 58"/>
                <a:gd name="T18" fmla="*/ 2147483647 w 86"/>
                <a:gd name="T19" fmla="*/ 2147483647 h 58"/>
                <a:gd name="T20" fmla="*/ 2147483647 w 86"/>
                <a:gd name="T21" fmla="*/ 2147483647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8"/>
                <a:gd name="T35" fmla="*/ 86 w 86"/>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8">
                  <a:moveTo>
                    <a:pt x="85" y="54"/>
                  </a:moveTo>
                  <a:cubicBezTo>
                    <a:pt x="86" y="51"/>
                    <a:pt x="82" y="42"/>
                    <a:pt x="76" y="36"/>
                  </a:cubicBezTo>
                  <a:cubicBezTo>
                    <a:pt x="70" y="30"/>
                    <a:pt x="56" y="24"/>
                    <a:pt x="49" y="19"/>
                  </a:cubicBezTo>
                  <a:cubicBezTo>
                    <a:pt x="42" y="14"/>
                    <a:pt x="37" y="9"/>
                    <a:pt x="31" y="6"/>
                  </a:cubicBezTo>
                  <a:cubicBezTo>
                    <a:pt x="25" y="3"/>
                    <a:pt x="17" y="0"/>
                    <a:pt x="12" y="0"/>
                  </a:cubicBezTo>
                  <a:cubicBezTo>
                    <a:pt x="7" y="0"/>
                    <a:pt x="4" y="2"/>
                    <a:pt x="3" y="4"/>
                  </a:cubicBezTo>
                  <a:cubicBezTo>
                    <a:pt x="2" y="6"/>
                    <a:pt x="0" y="10"/>
                    <a:pt x="4" y="15"/>
                  </a:cubicBezTo>
                  <a:cubicBezTo>
                    <a:pt x="8" y="20"/>
                    <a:pt x="18" y="28"/>
                    <a:pt x="25" y="33"/>
                  </a:cubicBezTo>
                  <a:cubicBezTo>
                    <a:pt x="32" y="38"/>
                    <a:pt x="39" y="41"/>
                    <a:pt x="46" y="45"/>
                  </a:cubicBezTo>
                  <a:cubicBezTo>
                    <a:pt x="53" y="49"/>
                    <a:pt x="63" y="56"/>
                    <a:pt x="69" y="57"/>
                  </a:cubicBezTo>
                  <a:cubicBezTo>
                    <a:pt x="75" y="58"/>
                    <a:pt x="84" y="57"/>
                    <a:pt x="85" y="54"/>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227" name="Freeform 1347"/>
            <p:cNvSpPr>
              <a:spLocks/>
            </p:cNvSpPr>
            <p:nvPr/>
          </p:nvSpPr>
          <p:spPr bwMode="auto">
            <a:xfrm>
              <a:off x="3470275" y="3848178"/>
              <a:ext cx="171450" cy="95250"/>
            </a:xfrm>
            <a:custGeom>
              <a:avLst/>
              <a:gdLst>
                <a:gd name="T0" fmla="*/ 2147483647 w 230"/>
                <a:gd name="T1" fmla="*/ 2147483647 h 126"/>
                <a:gd name="T2" fmla="*/ 2147483647 w 230"/>
                <a:gd name="T3" fmla="*/ 2147483647 h 126"/>
                <a:gd name="T4" fmla="*/ 2147483647 w 230"/>
                <a:gd name="T5" fmla="*/ 2147483647 h 126"/>
                <a:gd name="T6" fmla="*/ 2147483647 w 230"/>
                <a:gd name="T7" fmla="*/ 2147483647 h 126"/>
                <a:gd name="T8" fmla="*/ 2147483647 w 230"/>
                <a:gd name="T9" fmla="*/ 2147483647 h 126"/>
                <a:gd name="T10" fmla="*/ 2147483647 w 230"/>
                <a:gd name="T11" fmla="*/ 2147483647 h 126"/>
                <a:gd name="T12" fmla="*/ 2147483647 w 230"/>
                <a:gd name="T13" fmla="*/ 2147483647 h 126"/>
                <a:gd name="T14" fmla="*/ 2147483647 w 230"/>
                <a:gd name="T15" fmla="*/ 2147483647 h 126"/>
                <a:gd name="T16" fmla="*/ 2147483647 w 230"/>
                <a:gd name="T17" fmla="*/ 2147483647 h 126"/>
                <a:gd name="T18" fmla="*/ 2147483647 w 230"/>
                <a:gd name="T19" fmla="*/ 2147483647 h 126"/>
                <a:gd name="T20" fmla="*/ 2147483647 w 230"/>
                <a:gd name="T21" fmla="*/ 2147483647 h 126"/>
                <a:gd name="T22" fmla="*/ 2147483647 w 230"/>
                <a:gd name="T23" fmla="*/ 2147483647 h 126"/>
                <a:gd name="T24" fmla="*/ 2147483647 w 230"/>
                <a:gd name="T25" fmla="*/ 2147483647 h 126"/>
                <a:gd name="T26" fmla="*/ 2147483647 w 230"/>
                <a:gd name="T27" fmla="*/ 2147483647 h 126"/>
                <a:gd name="T28" fmla="*/ 2147483647 w 230"/>
                <a:gd name="T29" fmla="*/ 2147483647 h 126"/>
                <a:gd name="T30" fmla="*/ 2147483647 w 230"/>
                <a:gd name="T31" fmla="*/ 2147483647 h 126"/>
                <a:gd name="T32" fmla="*/ 2147483647 w 230"/>
                <a:gd name="T33" fmla="*/ 2147483647 h 126"/>
                <a:gd name="T34" fmla="*/ 2147483647 w 230"/>
                <a:gd name="T35" fmla="*/ 2147483647 h 126"/>
                <a:gd name="T36" fmla="*/ 2147483647 w 230"/>
                <a:gd name="T37" fmla="*/ 2147483647 h 126"/>
                <a:gd name="T38" fmla="*/ 2147483647 w 230"/>
                <a:gd name="T39" fmla="*/ 2147483647 h 126"/>
                <a:gd name="T40" fmla="*/ 2147483647 w 230"/>
                <a:gd name="T41" fmla="*/ 2147483647 h 126"/>
                <a:gd name="T42" fmla="*/ 2147483647 w 230"/>
                <a:gd name="T43" fmla="*/ 2147483647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30"/>
                <a:gd name="T67" fmla="*/ 0 h 126"/>
                <a:gd name="T68" fmla="*/ 230 w 23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30" h="126">
                  <a:moveTo>
                    <a:pt x="154" y="63"/>
                  </a:moveTo>
                  <a:cubicBezTo>
                    <a:pt x="144" y="58"/>
                    <a:pt x="128" y="49"/>
                    <a:pt x="118" y="44"/>
                  </a:cubicBezTo>
                  <a:cubicBezTo>
                    <a:pt x="108" y="39"/>
                    <a:pt x="99" y="34"/>
                    <a:pt x="91" y="30"/>
                  </a:cubicBezTo>
                  <a:cubicBezTo>
                    <a:pt x="83" y="26"/>
                    <a:pt x="74" y="23"/>
                    <a:pt x="67" y="20"/>
                  </a:cubicBezTo>
                  <a:cubicBezTo>
                    <a:pt x="60" y="17"/>
                    <a:pt x="56" y="12"/>
                    <a:pt x="48" y="9"/>
                  </a:cubicBezTo>
                  <a:cubicBezTo>
                    <a:pt x="40" y="6"/>
                    <a:pt x="26" y="4"/>
                    <a:pt x="19" y="3"/>
                  </a:cubicBezTo>
                  <a:cubicBezTo>
                    <a:pt x="12" y="2"/>
                    <a:pt x="7" y="0"/>
                    <a:pt x="4" y="2"/>
                  </a:cubicBezTo>
                  <a:cubicBezTo>
                    <a:pt x="1" y="4"/>
                    <a:pt x="0" y="12"/>
                    <a:pt x="3" y="15"/>
                  </a:cubicBezTo>
                  <a:cubicBezTo>
                    <a:pt x="6" y="18"/>
                    <a:pt x="14" y="18"/>
                    <a:pt x="21" y="20"/>
                  </a:cubicBezTo>
                  <a:cubicBezTo>
                    <a:pt x="28" y="22"/>
                    <a:pt x="38" y="23"/>
                    <a:pt x="48" y="26"/>
                  </a:cubicBezTo>
                  <a:cubicBezTo>
                    <a:pt x="58" y="29"/>
                    <a:pt x="70" y="36"/>
                    <a:pt x="81" y="41"/>
                  </a:cubicBezTo>
                  <a:cubicBezTo>
                    <a:pt x="92" y="46"/>
                    <a:pt x="103" y="48"/>
                    <a:pt x="114" y="54"/>
                  </a:cubicBezTo>
                  <a:cubicBezTo>
                    <a:pt x="125" y="60"/>
                    <a:pt x="138" y="68"/>
                    <a:pt x="148" y="75"/>
                  </a:cubicBezTo>
                  <a:cubicBezTo>
                    <a:pt x="158" y="82"/>
                    <a:pt x="167" y="88"/>
                    <a:pt x="175" y="93"/>
                  </a:cubicBezTo>
                  <a:cubicBezTo>
                    <a:pt x="183" y="98"/>
                    <a:pt x="187" y="101"/>
                    <a:pt x="193" y="105"/>
                  </a:cubicBezTo>
                  <a:cubicBezTo>
                    <a:pt x="199" y="109"/>
                    <a:pt x="207" y="116"/>
                    <a:pt x="213" y="119"/>
                  </a:cubicBezTo>
                  <a:cubicBezTo>
                    <a:pt x="219" y="122"/>
                    <a:pt x="226" y="126"/>
                    <a:pt x="228" y="125"/>
                  </a:cubicBezTo>
                  <a:cubicBezTo>
                    <a:pt x="230" y="124"/>
                    <a:pt x="230" y="116"/>
                    <a:pt x="228" y="111"/>
                  </a:cubicBezTo>
                  <a:cubicBezTo>
                    <a:pt x="226" y="106"/>
                    <a:pt x="221" y="100"/>
                    <a:pt x="217" y="96"/>
                  </a:cubicBezTo>
                  <a:cubicBezTo>
                    <a:pt x="213" y="92"/>
                    <a:pt x="207" y="92"/>
                    <a:pt x="201" y="89"/>
                  </a:cubicBezTo>
                  <a:cubicBezTo>
                    <a:pt x="195" y="86"/>
                    <a:pt x="187" y="81"/>
                    <a:pt x="180" y="77"/>
                  </a:cubicBezTo>
                  <a:cubicBezTo>
                    <a:pt x="173" y="73"/>
                    <a:pt x="164" y="68"/>
                    <a:pt x="154" y="63"/>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228" name="Freeform 1348"/>
            <p:cNvSpPr>
              <a:spLocks/>
            </p:cNvSpPr>
            <p:nvPr/>
          </p:nvSpPr>
          <p:spPr bwMode="auto">
            <a:xfrm rot="342635">
              <a:off x="3405188" y="3840241"/>
              <a:ext cx="46038" cy="14288"/>
            </a:xfrm>
            <a:custGeom>
              <a:avLst/>
              <a:gdLst>
                <a:gd name="T0" fmla="*/ 2147483647 w 62"/>
                <a:gd name="T1" fmla="*/ 2147483647 h 19"/>
                <a:gd name="T2" fmla="*/ 2147483647 w 62"/>
                <a:gd name="T3" fmla="*/ 2147483647 h 19"/>
                <a:gd name="T4" fmla="*/ 2147483647 w 62"/>
                <a:gd name="T5" fmla="*/ 2147483647 h 19"/>
                <a:gd name="T6" fmla="*/ 2147483647 w 62"/>
                <a:gd name="T7" fmla="*/ 2147483647 h 19"/>
                <a:gd name="T8" fmla="*/ 2147483647 w 62"/>
                <a:gd name="T9" fmla="*/ 2147483647 h 19"/>
                <a:gd name="T10" fmla="*/ 2147483647 w 62"/>
                <a:gd name="T11" fmla="*/ 2147483647 h 19"/>
                <a:gd name="T12" fmla="*/ 2147483647 w 62"/>
                <a:gd name="T13" fmla="*/ 2147483647 h 19"/>
                <a:gd name="T14" fmla="*/ 2147483647 w 62"/>
                <a:gd name="T15" fmla="*/ 2147483647 h 19"/>
                <a:gd name="T16" fmla="*/ 2147483647 w 62"/>
                <a:gd name="T17" fmla="*/ 214748364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2"/>
                <a:gd name="T28" fmla="*/ 0 h 19"/>
                <a:gd name="T29" fmla="*/ 62 w 62"/>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2" h="19">
                  <a:moveTo>
                    <a:pt x="52" y="2"/>
                  </a:moveTo>
                  <a:cubicBezTo>
                    <a:pt x="47" y="0"/>
                    <a:pt x="35" y="1"/>
                    <a:pt x="29" y="1"/>
                  </a:cubicBezTo>
                  <a:cubicBezTo>
                    <a:pt x="23" y="1"/>
                    <a:pt x="21" y="1"/>
                    <a:pt x="17" y="2"/>
                  </a:cubicBezTo>
                  <a:cubicBezTo>
                    <a:pt x="13" y="3"/>
                    <a:pt x="4" y="2"/>
                    <a:pt x="2" y="5"/>
                  </a:cubicBezTo>
                  <a:cubicBezTo>
                    <a:pt x="0" y="8"/>
                    <a:pt x="1" y="15"/>
                    <a:pt x="5" y="17"/>
                  </a:cubicBezTo>
                  <a:cubicBezTo>
                    <a:pt x="9" y="19"/>
                    <a:pt x="21" y="19"/>
                    <a:pt x="28" y="19"/>
                  </a:cubicBezTo>
                  <a:cubicBezTo>
                    <a:pt x="35" y="19"/>
                    <a:pt x="44" y="18"/>
                    <a:pt x="49" y="17"/>
                  </a:cubicBezTo>
                  <a:cubicBezTo>
                    <a:pt x="54" y="16"/>
                    <a:pt x="60" y="15"/>
                    <a:pt x="61" y="13"/>
                  </a:cubicBezTo>
                  <a:cubicBezTo>
                    <a:pt x="62" y="11"/>
                    <a:pt x="57" y="4"/>
                    <a:pt x="52" y="2"/>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229" name="Freeform 1349"/>
            <p:cNvSpPr>
              <a:spLocks/>
            </p:cNvSpPr>
            <p:nvPr/>
          </p:nvSpPr>
          <p:spPr bwMode="auto">
            <a:xfrm>
              <a:off x="4191000" y="3176666"/>
              <a:ext cx="293688" cy="211138"/>
            </a:xfrm>
            <a:custGeom>
              <a:avLst/>
              <a:gdLst>
                <a:gd name="T0" fmla="*/ 2147483647 w 398"/>
                <a:gd name="T1" fmla="*/ 2147483647 h 280"/>
                <a:gd name="T2" fmla="*/ 2147483647 w 398"/>
                <a:gd name="T3" fmla="*/ 2147483647 h 280"/>
                <a:gd name="T4" fmla="*/ 2147483647 w 398"/>
                <a:gd name="T5" fmla="*/ 2147483647 h 280"/>
                <a:gd name="T6" fmla="*/ 2147483647 w 398"/>
                <a:gd name="T7" fmla="*/ 2147483647 h 280"/>
                <a:gd name="T8" fmla="*/ 2147483647 w 398"/>
                <a:gd name="T9" fmla="*/ 2147483647 h 280"/>
                <a:gd name="T10" fmla="*/ 2147483647 w 398"/>
                <a:gd name="T11" fmla="*/ 2147483647 h 280"/>
                <a:gd name="T12" fmla="*/ 2147483647 w 398"/>
                <a:gd name="T13" fmla="*/ 2147483647 h 280"/>
                <a:gd name="T14" fmla="*/ 2147483647 w 398"/>
                <a:gd name="T15" fmla="*/ 2147483647 h 280"/>
                <a:gd name="T16" fmla="*/ 2147483647 w 398"/>
                <a:gd name="T17" fmla="*/ 2147483647 h 280"/>
                <a:gd name="T18" fmla="*/ 2147483647 w 398"/>
                <a:gd name="T19" fmla="*/ 2147483647 h 280"/>
                <a:gd name="T20" fmla="*/ 2147483647 w 398"/>
                <a:gd name="T21" fmla="*/ 2147483647 h 280"/>
                <a:gd name="T22" fmla="*/ 2147483647 w 398"/>
                <a:gd name="T23" fmla="*/ 2147483647 h 280"/>
                <a:gd name="T24" fmla="*/ 2147483647 w 398"/>
                <a:gd name="T25" fmla="*/ 2147483647 h 280"/>
                <a:gd name="T26" fmla="*/ 2147483647 w 398"/>
                <a:gd name="T27" fmla="*/ 2147483647 h 280"/>
                <a:gd name="T28" fmla="*/ 2147483647 w 398"/>
                <a:gd name="T29" fmla="*/ 2147483647 h 280"/>
                <a:gd name="T30" fmla="*/ 2147483647 w 398"/>
                <a:gd name="T31" fmla="*/ 2147483647 h 280"/>
                <a:gd name="T32" fmla="*/ 2147483647 w 398"/>
                <a:gd name="T33" fmla="*/ 2147483647 h 280"/>
                <a:gd name="T34" fmla="*/ 2147483647 w 398"/>
                <a:gd name="T35" fmla="*/ 2147483647 h 280"/>
                <a:gd name="T36" fmla="*/ 2147483647 w 398"/>
                <a:gd name="T37" fmla="*/ 2147483647 h 280"/>
                <a:gd name="T38" fmla="*/ 2147483647 w 398"/>
                <a:gd name="T39" fmla="*/ 2147483647 h 280"/>
                <a:gd name="T40" fmla="*/ 2147483647 w 398"/>
                <a:gd name="T41" fmla="*/ 2147483647 h 280"/>
                <a:gd name="T42" fmla="*/ 2147483647 w 398"/>
                <a:gd name="T43" fmla="*/ 2147483647 h 280"/>
                <a:gd name="T44" fmla="*/ 2147483647 w 398"/>
                <a:gd name="T45" fmla="*/ 2147483647 h 280"/>
                <a:gd name="T46" fmla="*/ 2147483647 w 398"/>
                <a:gd name="T47" fmla="*/ 2147483647 h 280"/>
                <a:gd name="T48" fmla="*/ 2147483647 w 398"/>
                <a:gd name="T49" fmla="*/ 2147483647 h 280"/>
                <a:gd name="T50" fmla="*/ 2147483647 w 398"/>
                <a:gd name="T51" fmla="*/ 2147483647 h 280"/>
                <a:gd name="T52" fmla="*/ 2147483647 w 398"/>
                <a:gd name="T53" fmla="*/ 2147483647 h 280"/>
                <a:gd name="T54" fmla="*/ 2147483647 w 398"/>
                <a:gd name="T55" fmla="*/ 2147483647 h 280"/>
                <a:gd name="T56" fmla="*/ 2147483647 w 398"/>
                <a:gd name="T57" fmla="*/ 2147483647 h 280"/>
                <a:gd name="T58" fmla="*/ 2147483647 w 398"/>
                <a:gd name="T59" fmla="*/ 2147483647 h 280"/>
                <a:gd name="T60" fmla="*/ 2147483647 w 398"/>
                <a:gd name="T61" fmla="*/ 2147483647 h 280"/>
                <a:gd name="T62" fmla="*/ 2147483647 w 398"/>
                <a:gd name="T63" fmla="*/ 2147483647 h 280"/>
                <a:gd name="T64" fmla="*/ 2147483647 w 398"/>
                <a:gd name="T65" fmla="*/ 2147483647 h 280"/>
                <a:gd name="T66" fmla="*/ 2147483647 w 398"/>
                <a:gd name="T67" fmla="*/ 2147483647 h 280"/>
                <a:gd name="T68" fmla="*/ 2147483647 w 398"/>
                <a:gd name="T69" fmla="*/ 2147483647 h 280"/>
                <a:gd name="T70" fmla="*/ 2147483647 w 398"/>
                <a:gd name="T71" fmla="*/ 2147483647 h 280"/>
                <a:gd name="T72" fmla="*/ 2147483647 w 398"/>
                <a:gd name="T73" fmla="*/ 2147483647 h 280"/>
                <a:gd name="T74" fmla="*/ 2147483647 w 398"/>
                <a:gd name="T75" fmla="*/ 2147483647 h 280"/>
                <a:gd name="T76" fmla="*/ 2147483647 w 398"/>
                <a:gd name="T77" fmla="*/ 2147483647 h 280"/>
                <a:gd name="T78" fmla="*/ 2147483647 w 398"/>
                <a:gd name="T79" fmla="*/ 2147483647 h 280"/>
                <a:gd name="T80" fmla="*/ 2147483647 w 398"/>
                <a:gd name="T81" fmla="*/ 2147483647 h 280"/>
                <a:gd name="T82" fmla="*/ 2147483647 w 398"/>
                <a:gd name="T83" fmla="*/ 2147483647 h 280"/>
                <a:gd name="T84" fmla="*/ 2147483647 w 398"/>
                <a:gd name="T85" fmla="*/ 2147483647 h 280"/>
                <a:gd name="T86" fmla="*/ 2147483647 w 398"/>
                <a:gd name="T87" fmla="*/ 2147483647 h 280"/>
                <a:gd name="T88" fmla="*/ 2147483647 w 398"/>
                <a:gd name="T89" fmla="*/ 2147483647 h 280"/>
                <a:gd name="T90" fmla="*/ 2147483647 w 398"/>
                <a:gd name="T91" fmla="*/ 2147483647 h 28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8"/>
                <a:gd name="T139" fmla="*/ 0 h 280"/>
                <a:gd name="T140" fmla="*/ 398 w 398"/>
                <a:gd name="T141" fmla="*/ 280 h 28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8" h="280">
                  <a:moveTo>
                    <a:pt x="378" y="131"/>
                  </a:moveTo>
                  <a:cubicBezTo>
                    <a:pt x="361" y="140"/>
                    <a:pt x="319" y="157"/>
                    <a:pt x="294" y="170"/>
                  </a:cubicBezTo>
                  <a:cubicBezTo>
                    <a:pt x="269" y="183"/>
                    <a:pt x="247" y="201"/>
                    <a:pt x="230" y="212"/>
                  </a:cubicBezTo>
                  <a:cubicBezTo>
                    <a:pt x="213" y="223"/>
                    <a:pt x="204" y="230"/>
                    <a:pt x="194" y="236"/>
                  </a:cubicBezTo>
                  <a:cubicBezTo>
                    <a:pt x="184" y="242"/>
                    <a:pt x="177" y="244"/>
                    <a:pt x="171" y="248"/>
                  </a:cubicBezTo>
                  <a:cubicBezTo>
                    <a:pt x="165" y="252"/>
                    <a:pt x="160" y="258"/>
                    <a:pt x="156" y="261"/>
                  </a:cubicBezTo>
                  <a:cubicBezTo>
                    <a:pt x="152" y="264"/>
                    <a:pt x="154" y="266"/>
                    <a:pt x="149" y="269"/>
                  </a:cubicBezTo>
                  <a:cubicBezTo>
                    <a:pt x="144" y="272"/>
                    <a:pt x="133" y="278"/>
                    <a:pt x="125" y="279"/>
                  </a:cubicBezTo>
                  <a:cubicBezTo>
                    <a:pt x="117" y="280"/>
                    <a:pt x="108" y="278"/>
                    <a:pt x="98" y="275"/>
                  </a:cubicBezTo>
                  <a:cubicBezTo>
                    <a:pt x="88" y="272"/>
                    <a:pt x="75" y="269"/>
                    <a:pt x="65" y="263"/>
                  </a:cubicBezTo>
                  <a:cubicBezTo>
                    <a:pt x="55" y="257"/>
                    <a:pt x="43" y="249"/>
                    <a:pt x="35" y="239"/>
                  </a:cubicBezTo>
                  <a:cubicBezTo>
                    <a:pt x="27" y="229"/>
                    <a:pt x="20" y="214"/>
                    <a:pt x="15" y="204"/>
                  </a:cubicBezTo>
                  <a:cubicBezTo>
                    <a:pt x="10" y="194"/>
                    <a:pt x="4" y="186"/>
                    <a:pt x="2" y="177"/>
                  </a:cubicBezTo>
                  <a:cubicBezTo>
                    <a:pt x="0" y="168"/>
                    <a:pt x="1" y="159"/>
                    <a:pt x="5" y="152"/>
                  </a:cubicBezTo>
                  <a:cubicBezTo>
                    <a:pt x="9" y="145"/>
                    <a:pt x="19" y="141"/>
                    <a:pt x="26" y="135"/>
                  </a:cubicBezTo>
                  <a:cubicBezTo>
                    <a:pt x="33" y="129"/>
                    <a:pt x="40" y="124"/>
                    <a:pt x="47" y="117"/>
                  </a:cubicBezTo>
                  <a:cubicBezTo>
                    <a:pt x="54" y="110"/>
                    <a:pt x="60" y="103"/>
                    <a:pt x="68" y="92"/>
                  </a:cubicBezTo>
                  <a:cubicBezTo>
                    <a:pt x="76" y="81"/>
                    <a:pt x="86" y="61"/>
                    <a:pt x="93" y="50"/>
                  </a:cubicBezTo>
                  <a:cubicBezTo>
                    <a:pt x="100" y="39"/>
                    <a:pt x="107" y="32"/>
                    <a:pt x="113" y="27"/>
                  </a:cubicBezTo>
                  <a:cubicBezTo>
                    <a:pt x="119" y="22"/>
                    <a:pt x="122" y="17"/>
                    <a:pt x="129" y="17"/>
                  </a:cubicBezTo>
                  <a:cubicBezTo>
                    <a:pt x="136" y="17"/>
                    <a:pt x="146" y="20"/>
                    <a:pt x="153" y="26"/>
                  </a:cubicBezTo>
                  <a:cubicBezTo>
                    <a:pt x="160" y="32"/>
                    <a:pt x="165" y="45"/>
                    <a:pt x="170" y="53"/>
                  </a:cubicBezTo>
                  <a:cubicBezTo>
                    <a:pt x="175" y="61"/>
                    <a:pt x="181" y="74"/>
                    <a:pt x="183" y="71"/>
                  </a:cubicBezTo>
                  <a:cubicBezTo>
                    <a:pt x="185" y="68"/>
                    <a:pt x="183" y="47"/>
                    <a:pt x="182" y="38"/>
                  </a:cubicBezTo>
                  <a:cubicBezTo>
                    <a:pt x="181" y="29"/>
                    <a:pt x="175" y="24"/>
                    <a:pt x="174" y="18"/>
                  </a:cubicBezTo>
                  <a:cubicBezTo>
                    <a:pt x="173" y="12"/>
                    <a:pt x="170" y="4"/>
                    <a:pt x="176" y="2"/>
                  </a:cubicBezTo>
                  <a:cubicBezTo>
                    <a:pt x="182" y="0"/>
                    <a:pt x="200" y="3"/>
                    <a:pt x="212" y="5"/>
                  </a:cubicBezTo>
                  <a:cubicBezTo>
                    <a:pt x="224" y="7"/>
                    <a:pt x="239" y="7"/>
                    <a:pt x="248" y="11"/>
                  </a:cubicBezTo>
                  <a:cubicBezTo>
                    <a:pt x="257" y="15"/>
                    <a:pt x="263" y="20"/>
                    <a:pt x="269" y="27"/>
                  </a:cubicBezTo>
                  <a:cubicBezTo>
                    <a:pt x="275" y="34"/>
                    <a:pt x="279" y="44"/>
                    <a:pt x="285" y="53"/>
                  </a:cubicBezTo>
                  <a:cubicBezTo>
                    <a:pt x="291" y="62"/>
                    <a:pt x="298" y="74"/>
                    <a:pt x="302" y="81"/>
                  </a:cubicBezTo>
                  <a:cubicBezTo>
                    <a:pt x="306" y="88"/>
                    <a:pt x="310" y="90"/>
                    <a:pt x="306" y="93"/>
                  </a:cubicBezTo>
                  <a:cubicBezTo>
                    <a:pt x="302" y="96"/>
                    <a:pt x="287" y="98"/>
                    <a:pt x="276" y="98"/>
                  </a:cubicBezTo>
                  <a:cubicBezTo>
                    <a:pt x="265" y="98"/>
                    <a:pt x="248" y="97"/>
                    <a:pt x="240" y="95"/>
                  </a:cubicBezTo>
                  <a:cubicBezTo>
                    <a:pt x="232" y="93"/>
                    <a:pt x="232" y="89"/>
                    <a:pt x="228" y="86"/>
                  </a:cubicBezTo>
                  <a:cubicBezTo>
                    <a:pt x="224" y="83"/>
                    <a:pt x="220" y="76"/>
                    <a:pt x="216" y="74"/>
                  </a:cubicBezTo>
                  <a:cubicBezTo>
                    <a:pt x="212" y="72"/>
                    <a:pt x="204" y="73"/>
                    <a:pt x="201" y="74"/>
                  </a:cubicBezTo>
                  <a:cubicBezTo>
                    <a:pt x="198" y="75"/>
                    <a:pt x="195" y="78"/>
                    <a:pt x="195" y="83"/>
                  </a:cubicBezTo>
                  <a:cubicBezTo>
                    <a:pt x="195" y="88"/>
                    <a:pt x="199" y="99"/>
                    <a:pt x="203" y="107"/>
                  </a:cubicBezTo>
                  <a:lnTo>
                    <a:pt x="219" y="131"/>
                  </a:lnTo>
                  <a:cubicBezTo>
                    <a:pt x="225" y="137"/>
                    <a:pt x="231" y="142"/>
                    <a:pt x="237" y="143"/>
                  </a:cubicBezTo>
                  <a:cubicBezTo>
                    <a:pt x="243" y="144"/>
                    <a:pt x="250" y="134"/>
                    <a:pt x="255" y="135"/>
                  </a:cubicBezTo>
                  <a:lnTo>
                    <a:pt x="269" y="150"/>
                  </a:lnTo>
                  <a:cubicBezTo>
                    <a:pt x="291" y="145"/>
                    <a:pt x="365" y="107"/>
                    <a:pt x="386" y="102"/>
                  </a:cubicBezTo>
                  <a:lnTo>
                    <a:pt x="398" y="123"/>
                  </a:lnTo>
                  <a:cubicBezTo>
                    <a:pt x="397" y="128"/>
                    <a:pt x="382" y="129"/>
                    <a:pt x="378" y="131"/>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230" name="Freeform 1350"/>
            <p:cNvSpPr>
              <a:spLocks/>
            </p:cNvSpPr>
            <p:nvPr/>
          </p:nvSpPr>
          <p:spPr bwMode="auto">
            <a:xfrm>
              <a:off x="4119563" y="3173491"/>
              <a:ext cx="120650" cy="90488"/>
            </a:xfrm>
            <a:custGeom>
              <a:avLst/>
              <a:gdLst>
                <a:gd name="T0" fmla="*/ 2147483647 w 164"/>
                <a:gd name="T1" fmla="*/ 2147483647 h 120"/>
                <a:gd name="T2" fmla="*/ 0 w 164"/>
                <a:gd name="T3" fmla="*/ 2147483647 h 120"/>
                <a:gd name="T4" fmla="*/ 2147483647 w 164"/>
                <a:gd name="T5" fmla="*/ 0 h 120"/>
                <a:gd name="T6" fmla="*/ 2147483647 w 164"/>
                <a:gd name="T7" fmla="*/ 2147483647 h 120"/>
                <a:gd name="T8" fmla="*/ 2147483647 w 164"/>
                <a:gd name="T9" fmla="*/ 2147483647 h 120"/>
                <a:gd name="T10" fmla="*/ 2147483647 w 164"/>
                <a:gd name="T11" fmla="*/ 2147483647 h 120"/>
                <a:gd name="T12" fmla="*/ 0 60000 65536"/>
                <a:gd name="T13" fmla="*/ 0 60000 65536"/>
                <a:gd name="T14" fmla="*/ 0 60000 65536"/>
                <a:gd name="T15" fmla="*/ 0 60000 65536"/>
                <a:gd name="T16" fmla="*/ 0 60000 65536"/>
                <a:gd name="T17" fmla="*/ 0 60000 65536"/>
                <a:gd name="T18" fmla="*/ 0 w 164"/>
                <a:gd name="T19" fmla="*/ 0 h 120"/>
                <a:gd name="T20" fmla="*/ 164 w 164"/>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164" h="120">
                  <a:moveTo>
                    <a:pt x="60" y="120"/>
                  </a:moveTo>
                  <a:lnTo>
                    <a:pt x="0" y="33"/>
                  </a:lnTo>
                  <a:lnTo>
                    <a:pt x="78" y="0"/>
                  </a:lnTo>
                  <a:lnTo>
                    <a:pt x="164" y="2"/>
                  </a:lnTo>
                  <a:lnTo>
                    <a:pt x="129" y="45"/>
                  </a:lnTo>
                  <a:lnTo>
                    <a:pt x="60" y="120"/>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231" name="Freeform 1351"/>
            <p:cNvSpPr>
              <a:spLocks/>
            </p:cNvSpPr>
            <p:nvPr/>
          </p:nvSpPr>
          <p:spPr bwMode="auto">
            <a:xfrm>
              <a:off x="4021138" y="3210003"/>
              <a:ext cx="141288" cy="120650"/>
            </a:xfrm>
            <a:custGeom>
              <a:avLst/>
              <a:gdLst>
                <a:gd name="T0" fmla="*/ 2147483647 w 191"/>
                <a:gd name="T1" fmla="*/ 2147483647 h 158"/>
                <a:gd name="T2" fmla="*/ 2147483647 w 191"/>
                <a:gd name="T3" fmla="*/ 2147483647 h 158"/>
                <a:gd name="T4" fmla="*/ 0 w 191"/>
                <a:gd name="T5" fmla="*/ 2147483647 h 158"/>
                <a:gd name="T6" fmla="*/ 2147483647 w 191"/>
                <a:gd name="T7" fmla="*/ 2147483647 h 158"/>
                <a:gd name="T8" fmla="*/ 2147483647 w 191"/>
                <a:gd name="T9" fmla="*/ 2147483647 h 158"/>
                <a:gd name="T10" fmla="*/ 2147483647 w 191"/>
                <a:gd name="T11" fmla="*/ 2147483647 h 158"/>
                <a:gd name="T12" fmla="*/ 2147483647 w 191"/>
                <a:gd name="T13" fmla="*/ 2147483647 h 158"/>
                <a:gd name="T14" fmla="*/ 2147483647 w 191"/>
                <a:gd name="T15" fmla="*/ 2147483647 h 158"/>
                <a:gd name="T16" fmla="*/ 2147483647 w 191"/>
                <a:gd name="T17" fmla="*/ 2147483647 h 158"/>
                <a:gd name="T18" fmla="*/ 2147483647 w 191"/>
                <a:gd name="T19" fmla="*/ 2147483647 h 158"/>
                <a:gd name="T20" fmla="*/ 2147483647 w 191"/>
                <a:gd name="T21" fmla="*/ 2147483647 h 158"/>
                <a:gd name="T22" fmla="*/ 2147483647 w 191"/>
                <a:gd name="T23" fmla="*/ 2147483647 h 158"/>
                <a:gd name="T24" fmla="*/ 2147483647 w 191"/>
                <a:gd name="T25" fmla="*/ 2147483647 h 158"/>
                <a:gd name="T26" fmla="*/ 2147483647 w 191"/>
                <a:gd name="T27" fmla="*/ 2147483647 h 158"/>
                <a:gd name="T28" fmla="*/ 2147483647 w 191"/>
                <a:gd name="T29" fmla="*/ 2147483647 h 158"/>
                <a:gd name="T30" fmla="*/ 2147483647 w 191"/>
                <a:gd name="T31" fmla="*/ 2147483647 h 158"/>
                <a:gd name="T32" fmla="*/ 2147483647 w 191"/>
                <a:gd name="T33" fmla="*/ 2147483647 h 158"/>
                <a:gd name="T34" fmla="*/ 2147483647 w 191"/>
                <a:gd name="T35" fmla="*/ 2147483647 h 158"/>
                <a:gd name="T36" fmla="*/ 2147483647 w 191"/>
                <a:gd name="T37" fmla="*/ 2147483647 h 158"/>
                <a:gd name="T38" fmla="*/ 2147483647 w 191"/>
                <a:gd name="T39" fmla="*/ 2147483647 h 1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1"/>
                <a:gd name="T61" fmla="*/ 0 h 158"/>
                <a:gd name="T62" fmla="*/ 191 w 191"/>
                <a:gd name="T63" fmla="*/ 158 h 1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1" h="158">
                  <a:moveTo>
                    <a:pt x="51" y="98"/>
                  </a:moveTo>
                  <a:cubicBezTo>
                    <a:pt x="37" y="89"/>
                    <a:pt x="23" y="81"/>
                    <a:pt x="15" y="74"/>
                  </a:cubicBezTo>
                  <a:cubicBezTo>
                    <a:pt x="7" y="67"/>
                    <a:pt x="0" y="63"/>
                    <a:pt x="0" y="57"/>
                  </a:cubicBezTo>
                  <a:cubicBezTo>
                    <a:pt x="0" y="51"/>
                    <a:pt x="9" y="44"/>
                    <a:pt x="15" y="38"/>
                  </a:cubicBezTo>
                  <a:cubicBezTo>
                    <a:pt x="21" y="32"/>
                    <a:pt x="29" y="24"/>
                    <a:pt x="38" y="20"/>
                  </a:cubicBezTo>
                  <a:cubicBezTo>
                    <a:pt x="47" y="16"/>
                    <a:pt x="60" y="15"/>
                    <a:pt x="71" y="12"/>
                  </a:cubicBezTo>
                  <a:cubicBezTo>
                    <a:pt x="82" y="9"/>
                    <a:pt x="96" y="4"/>
                    <a:pt x="105" y="2"/>
                  </a:cubicBezTo>
                  <a:cubicBezTo>
                    <a:pt x="114" y="0"/>
                    <a:pt x="120" y="1"/>
                    <a:pt x="123" y="3"/>
                  </a:cubicBezTo>
                  <a:cubicBezTo>
                    <a:pt x="126" y="5"/>
                    <a:pt x="121" y="10"/>
                    <a:pt x="125" y="17"/>
                  </a:cubicBezTo>
                  <a:cubicBezTo>
                    <a:pt x="129" y="24"/>
                    <a:pt x="139" y="36"/>
                    <a:pt x="146" y="45"/>
                  </a:cubicBezTo>
                  <a:cubicBezTo>
                    <a:pt x="153" y="54"/>
                    <a:pt x="161" y="62"/>
                    <a:pt x="167" y="71"/>
                  </a:cubicBezTo>
                  <a:cubicBezTo>
                    <a:pt x="173" y="80"/>
                    <a:pt x="177" y="91"/>
                    <a:pt x="180" y="101"/>
                  </a:cubicBezTo>
                  <a:cubicBezTo>
                    <a:pt x="183" y="111"/>
                    <a:pt x="185" y="121"/>
                    <a:pt x="186" y="129"/>
                  </a:cubicBezTo>
                  <a:cubicBezTo>
                    <a:pt x="187" y="137"/>
                    <a:pt x="191" y="145"/>
                    <a:pt x="188" y="150"/>
                  </a:cubicBezTo>
                  <a:cubicBezTo>
                    <a:pt x="185" y="155"/>
                    <a:pt x="174" y="158"/>
                    <a:pt x="167" y="158"/>
                  </a:cubicBezTo>
                  <a:cubicBezTo>
                    <a:pt x="160" y="158"/>
                    <a:pt x="153" y="156"/>
                    <a:pt x="143" y="152"/>
                  </a:cubicBezTo>
                  <a:cubicBezTo>
                    <a:pt x="133" y="148"/>
                    <a:pt x="122" y="144"/>
                    <a:pt x="110" y="137"/>
                  </a:cubicBezTo>
                  <a:cubicBezTo>
                    <a:pt x="98" y="130"/>
                    <a:pt x="81" y="116"/>
                    <a:pt x="68" y="107"/>
                  </a:cubicBezTo>
                  <a:cubicBezTo>
                    <a:pt x="55" y="98"/>
                    <a:pt x="43" y="93"/>
                    <a:pt x="33" y="86"/>
                  </a:cubicBezTo>
                  <a:cubicBezTo>
                    <a:pt x="23" y="79"/>
                    <a:pt x="10" y="67"/>
                    <a:pt x="5" y="63"/>
                  </a:cubicBezTo>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232" name="Freeform 1352"/>
            <p:cNvSpPr>
              <a:spLocks/>
            </p:cNvSpPr>
            <p:nvPr/>
          </p:nvSpPr>
          <p:spPr bwMode="auto">
            <a:xfrm>
              <a:off x="3255963" y="4807028"/>
              <a:ext cx="1530350" cy="812800"/>
            </a:xfrm>
            <a:custGeom>
              <a:avLst/>
              <a:gdLst>
                <a:gd name="T0" fmla="*/ 0 w 964"/>
                <a:gd name="T1" fmla="*/ 2147483647 h 512"/>
                <a:gd name="T2" fmla="*/ 2147483647 w 964"/>
                <a:gd name="T3" fmla="*/ 2147483647 h 512"/>
                <a:gd name="T4" fmla="*/ 2147483647 w 964"/>
                <a:gd name="T5" fmla="*/ 2147483647 h 512"/>
                <a:gd name="T6" fmla="*/ 2147483647 w 964"/>
                <a:gd name="T7" fmla="*/ 2147483647 h 512"/>
                <a:gd name="T8" fmla="*/ 2147483647 w 964"/>
                <a:gd name="T9" fmla="*/ 2147483647 h 512"/>
                <a:gd name="T10" fmla="*/ 2147483647 w 964"/>
                <a:gd name="T11" fmla="*/ 2147483647 h 512"/>
                <a:gd name="T12" fmla="*/ 2147483647 w 964"/>
                <a:gd name="T13" fmla="*/ 2147483647 h 512"/>
                <a:gd name="T14" fmla="*/ 2147483647 w 964"/>
                <a:gd name="T15" fmla="*/ 2147483647 h 512"/>
                <a:gd name="T16" fmla="*/ 2147483647 w 964"/>
                <a:gd name="T17" fmla="*/ 2147483647 h 512"/>
                <a:gd name="T18" fmla="*/ 2147483647 w 964"/>
                <a:gd name="T19" fmla="*/ 2147483647 h 512"/>
                <a:gd name="T20" fmla="*/ 2147483647 w 964"/>
                <a:gd name="T21" fmla="*/ 2147483647 h 512"/>
                <a:gd name="T22" fmla="*/ 2147483647 w 964"/>
                <a:gd name="T23" fmla="*/ 2147483647 h 512"/>
                <a:gd name="T24" fmla="*/ 2147483647 w 964"/>
                <a:gd name="T25" fmla="*/ 2147483647 h 512"/>
                <a:gd name="T26" fmla="*/ 2147483647 w 964"/>
                <a:gd name="T27" fmla="*/ 0 h 5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64"/>
                <a:gd name="T43" fmla="*/ 0 h 512"/>
                <a:gd name="T44" fmla="*/ 964 w 964"/>
                <a:gd name="T45" fmla="*/ 512 h 5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64" h="512">
                  <a:moveTo>
                    <a:pt x="0" y="512"/>
                  </a:moveTo>
                  <a:lnTo>
                    <a:pt x="202" y="404"/>
                  </a:lnTo>
                  <a:lnTo>
                    <a:pt x="378" y="297"/>
                  </a:lnTo>
                  <a:lnTo>
                    <a:pt x="411" y="285"/>
                  </a:lnTo>
                  <a:cubicBezTo>
                    <a:pt x="423" y="279"/>
                    <a:pt x="412" y="280"/>
                    <a:pt x="453" y="258"/>
                  </a:cubicBezTo>
                  <a:lnTo>
                    <a:pt x="658" y="155"/>
                  </a:lnTo>
                  <a:lnTo>
                    <a:pt x="705" y="102"/>
                  </a:lnTo>
                  <a:cubicBezTo>
                    <a:pt x="716" y="90"/>
                    <a:pt x="717" y="89"/>
                    <a:pt x="726" y="83"/>
                  </a:cubicBezTo>
                  <a:lnTo>
                    <a:pt x="760" y="64"/>
                  </a:lnTo>
                  <a:lnTo>
                    <a:pt x="781" y="52"/>
                  </a:lnTo>
                  <a:cubicBezTo>
                    <a:pt x="790" y="48"/>
                    <a:pt x="799" y="40"/>
                    <a:pt x="814" y="39"/>
                  </a:cubicBezTo>
                  <a:lnTo>
                    <a:pt x="870" y="44"/>
                  </a:lnTo>
                  <a:lnTo>
                    <a:pt x="931" y="29"/>
                  </a:lnTo>
                  <a:lnTo>
                    <a:pt x="964" y="0"/>
                  </a:ln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33" name="Freeform 1354"/>
            <p:cNvSpPr>
              <a:spLocks/>
            </p:cNvSpPr>
            <p:nvPr/>
          </p:nvSpPr>
          <p:spPr bwMode="auto">
            <a:xfrm>
              <a:off x="1747838" y="2038428"/>
              <a:ext cx="3351213" cy="1770063"/>
            </a:xfrm>
            <a:custGeom>
              <a:avLst/>
              <a:gdLst>
                <a:gd name="T0" fmla="*/ 2147483647 w 2111"/>
                <a:gd name="T1" fmla="*/ 2147483647 h 1115"/>
                <a:gd name="T2" fmla="*/ 2147483647 w 2111"/>
                <a:gd name="T3" fmla="*/ 2147483647 h 1115"/>
                <a:gd name="T4" fmla="*/ 2147483647 w 2111"/>
                <a:gd name="T5" fmla="*/ 2147483647 h 1115"/>
                <a:gd name="T6" fmla="*/ 2147483647 w 2111"/>
                <a:gd name="T7" fmla="*/ 2147483647 h 1115"/>
                <a:gd name="T8" fmla="*/ 2147483647 w 2111"/>
                <a:gd name="T9" fmla="*/ 2147483647 h 1115"/>
                <a:gd name="T10" fmla="*/ 2147483647 w 2111"/>
                <a:gd name="T11" fmla="*/ 2147483647 h 1115"/>
                <a:gd name="T12" fmla="*/ 2147483647 w 2111"/>
                <a:gd name="T13" fmla="*/ 2147483647 h 1115"/>
                <a:gd name="T14" fmla="*/ 2147483647 w 2111"/>
                <a:gd name="T15" fmla="*/ 2147483647 h 1115"/>
                <a:gd name="T16" fmla="*/ 2147483647 w 2111"/>
                <a:gd name="T17" fmla="*/ 2147483647 h 1115"/>
                <a:gd name="T18" fmla="*/ 2147483647 w 2111"/>
                <a:gd name="T19" fmla="*/ 2147483647 h 1115"/>
                <a:gd name="T20" fmla="*/ 2147483647 w 2111"/>
                <a:gd name="T21" fmla="*/ 2147483647 h 1115"/>
                <a:gd name="T22" fmla="*/ 2147483647 w 2111"/>
                <a:gd name="T23" fmla="*/ 2147483647 h 1115"/>
                <a:gd name="T24" fmla="*/ 2147483647 w 2111"/>
                <a:gd name="T25" fmla="*/ 2147483647 h 1115"/>
                <a:gd name="T26" fmla="*/ 2147483647 w 2111"/>
                <a:gd name="T27" fmla="*/ 2147483647 h 1115"/>
                <a:gd name="T28" fmla="*/ 2147483647 w 2111"/>
                <a:gd name="T29" fmla="*/ 2147483647 h 1115"/>
                <a:gd name="T30" fmla="*/ 2147483647 w 2111"/>
                <a:gd name="T31" fmla="*/ 2147483647 h 1115"/>
                <a:gd name="T32" fmla="*/ 2147483647 w 2111"/>
                <a:gd name="T33" fmla="*/ 2147483647 h 1115"/>
                <a:gd name="T34" fmla="*/ 2147483647 w 2111"/>
                <a:gd name="T35" fmla="*/ 2147483647 h 1115"/>
                <a:gd name="T36" fmla="*/ 2147483647 w 2111"/>
                <a:gd name="T37" fmla="*/ 2147483647 h 1115"/>
                <a:gd name="T38" fmla="*/ 2147483647 w 2111"/>
                <a:gd name="T39" fmla="*/ 2147483647 h 1115"/>
                <a:gd name="T40" fmla="*/ 2147483647 w 2111"/>
                <a:gd name="T41" fmla="*/ 2147483647 h 1115"/>
                <a:gd name="T42" fmla="*/ 2147483647 w 2111"/>
                <a:gd name="T43" fmla="*/ 2147483647 h 1115"/>
                <a:gd name="T44" fmla="*/ 2147483647 w 2111"/>
                <a:gd name="T45" fmla="*/ 2147483647 h 1115"/>
                <a:gd name="T46" fmla="*/ 2147483647 w 2111"/>
                <a:gd name="T47" fmla="*/ 2147483647 h 1115"/>
                <a:gd name="T48" fmla="*/ 2147483647 w 2111"/>
                <a:gd name="T49" fmla="*/ 2147483647 h 1115"/>
                <a:gd name="T50" fmla="*/ 2147483647 w 2111"/>
                <a:gd name="T51" fmla="*/ 2147483647 h 1115"/>
                <a:gd name="T52" fmla="*/ 2147483647 w 2111"/>
                <a:gd name="T53" fmla="*/ 2147483647 h 1115"/>
                <a:gd name="T54" fmla="*/ 2147483647 w 2111"/>
                <a:gd name="T55" fmla="*/ 2147483647 h 1115"/>
                <a:gd name="T56" fmla="*/ 2147483647 w 2111"/>
                <a:gd name="T57" fmla="*/ 2147483647 h 1115"/>
                <a:gd name="T58" fmla="*/ 2147483647 w 2111"/>
                <a:gd name="T59" fmla="*/ 2147483647 h 1115"/>
                <a:gd name="T60" fmla="*/ 2147483647 w 2111"/>
                <a:gd name="T61" fmla="*/ 2147483647 h 1115"/>
                <a:gd name="T62" fmla="*/ 2147483647 w 2111"/>
                <a:gd name="T63" fmla="*/ 2147483647 h 11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1"/>
                <a:gd name="T97" fmla="*/ 0 h 1115"/>
                <a:gd name="T98" fmla="*/ 2111 w 2111"/>
                <a:gd name="T99" fmla="*/ 1115 h 111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1" h="1115">
                  <a:moveTo>
                    <a:pt x="777" y="1023"/>
                  </a:moveTo>
                  <a:cubicBezTo>
                    <a:pt x="756" y="995"/>
                    <a:pt x="680" y="892"/>
                    <a:pt x="650" y="855"/>
                  </a:cubicBezTo>
                  <a:cubicBezTo>
                    <a:pt x="620" y="818"/>
                    <a:pt x="611" y="821"/>
                    <a:pt x="597" y="802"/>
                  </a:cubicBezTo>
                  <a:cubicBezTo>
                    <a:pt x="583" y="783"/>
                    <a:pt x="586" y="785"/>
                    <a:pt x="563" y="744"/>
                  </a:cubicBezTo>
                  <a:cubicBezTo>
                    <a:pt x="540" y="703"/>
                    <a:pt x="489" y="593"/>
                    <a:pt x="458" y="556"/>
                  </a:cubicBezTo>
                  <a:cubicBezTo>
                    <a:pt x="427" y="519"/>
                    <a:pt x="407" y="523"/>
                    <a:pt x="377" y="519"/>
                  </a:cubicBezTo>
                  <a:cubicBezTo>
                    <a:pt x="347" y="515"/>
                    <a:pt x="306" y="526"/>
                    <a:pt x="279" y="531"/>
                  </a:cubicBezTo>
                  <a:cubicBezTo>
                    <a:pt x="252" y="536"/>
                    <a:pt x="237" y="547"/>
                    <a:pt x="213" y="552"/>
                  </a:cubicBezTo>
                  <a:cubicBezTo>
                    <a:pt x="189" y="557"/>
                    <a:pt x="165" y="549"/>
                    <a:pt x="132" y="561"/>
                  </a:cubicBezTo>
                  <a:cubicBezTo>
                    <a:pt x="99" y="573"/>
                    <a:pt x="30" y="598"/>
                    <a:pt x="15" y="625"/>
                  </a:cubicBezTo>
                  <a:cubicBezTo>
                    <a:pt x="0" y="652"/>
                    <a:pt x="32" y="691"/>
                    <a:pt x="44" y="723"/>
                  </a:cubicBezTo>
                  <a:cubicBezTo>
                    <a:pt x="56" y="755"/>
                    <a:pt x="69" y="790"/>
                    <a:pt x="87" y="817"/>
                  </a:cubicBezTo>
                  <a:cubicBezTo>
                    <a:pt x="105" y="844"/>
                    <a:pt x="136" y="870"/>
                    <a:pt x="152" y="888"/>
                  </a:cubicBezTo>
                  <a:cubicBezTo>
                    <a:pt x="168" y="906"/>
                    <a:pt x="180" y="916"/>
                    <a:pt x="186" y="924"/>
                  </a:cubicBezTo>
                  <a:cubicBezTo>
                    <a:pt x="192" y="932"/>
                    <a:pt x="187" y="932"/>
                    <a:pt x="188" y="936"/>
                  </a:cubicBezTo>
                  <a:cubicBezTo>
                    <a:pt x="189" y="940"/>
                    <a:pt x="191" y="944"/>
                    <a:pt x="194" y="950"/>
                  </a:cubicBezTo>
                  <a:cubicBezTo>
                    <a:pt x="197" y="956"/>
                    <a:pt x="201" y="965"/>
                    <a:pt x="206" y="973"/>
                  </a:cubicBezTo>
                  <a:cubicBezTo>
                    <a:pt x="211" y="981"/>
                    <a:pt x="212" y="988"/>
                    <a:pt x="221" y="997"/>
                  </a:cubicBezTo>
                  <a:cubicBezTo>
                    <a:pt x="230" y="1006"/>
                    <a:pt x="252" y="1020"/>
                    <a:pt x="261" y="1026"/>
                  </a:cubicBezTo>
                  <a:cubicBezTo>
                    <a:pt x="270" y="1032"/>
                    <a:pt x="267" y="1033"/>
                    <a:pt x="275" y="1035"/>
                  </a:cubicBezTo>
                  <a:cubicBezTo>
                    <a:pt x="283" y="1037"/>
                    <a:pt x="296" y="1037"/>
                    <a:pt x="308" y="1041"/>
                  </a:cubicBezTo>
                  <a:cubicBezTo>
                    <a:pt x="320" y="1045"/>
                    <a:pt x="333" y="1053"/>
                    <a:pt x="347" y="1062"/>
                  </a:cubicBezTo>
                  <a:cubicBezTo>
                    <a:pt x="361" y="1071"/>
                    <a:pt x="376" y="1084"/>
                    <a:pt x="390" y="1092"/>
                  </a:cubicBezTo>
                  <a:cubicBezTo>
                    <a:pt x="404" y="1100"/>
                    <a:pt x="420" y="1115"/>
                    <a:pt x="434" y="1113"/>
                  </a:cubicBezTo>
                  <a:cubicBezTo>
                    <a:pt x="448" y="1111"/>
                    <a:pt x="462" y="1090"/>
                    <a:pt x="472" y="1081"/>
                  </a:cubicBezTo>
                  <a:cubicBezTo>
                    <a:pt x="482" y="1072"/>
                    <a:pt x="486" y="1063"/>
                    <a:pt x="497" y="1058"/>
                  </a:cubicBezTo>
                  <a:cubicBezTo>
                    <a:pt x="508" y="1053"/>
                    <a:pt x="524" y="1055"/>
                    <a:pt x="536" y="1051"/>
                  </a:cubicBezTo>
                  <a:cubicBezTo>
                    <a:pt x="548" y="1047"/>
                    <a:pt x="559" y="1038"/>
                    <a:pt x="569" y="1033"/>
                  </a:cubicBezTo>
                  <a:cubicBezTo>
                    <a:pt x="579" y="1028"/>
                    <a:pt x="583" y="1024"/>
                    <a:pt x="597" y="1021"/>
                  </a:cubicBezTo>
                  <a:cubicBezTo>
                    <a:pt x="611" y="1018"/>
                    <a:pt x="630" y="1015"/>
                    <a:pt x="651" y="1014"/>
                  </a:cubicBezTo>
                  <a:cubicBezTo>
                    <a:pt x="672" y="1013"/>
                    <a:pt x="703" y="1013"/>
                    <a:pt x="723" y="1015"/>
                  </a:cubicBezTo>
                  <a:cubicBezTo>
                    <a:pt x="743" y="1017"/>
                    <a:pt x="755" y="1020"/>
                    <a:pt x="772" y="1024"/>
                  </a:cubicBezTo>
                  <a:cubicBezTo>
                    <a:pt x="789" y="1028"/>
                    <a:pt x="805" y="1035"/>
                    <a:pt x="825" y="1039"/>
                  </a:cubicBezTo>
                  <a:cubicBezTo>
                    <a:pt x="845" y="1043"/>
                    <a:pt x="871" y="1051"/>
                    <a:pt x="893" y="1051"/>
                  </a:cubicBezTo>
                  <a:cubicBezTo>
                    <a:pt x="915" y="1051"/>
                    <a:pt x="938" y="1042"/>
                    <a:pt x="956" y="1036"/>
                  </a:cubicBezTo>
                  <a:cubicBezTo>
                    <a:pt x="974" y="1030"/>
                    <a:pt x="984" y="1023"/>
                    <a:pt x="1002" y="1017"/>
                  </a:cubicBezTo>
                  <a:cubicBezTo>
                    <a:pt x="1020" y="1011"/>
                    <a:pt x="1044" y="1005"/>
                    <a:pt x="1064" y="1002"/>
                  </a:cubicBezTo>
                  <a:cubicBezTo>
                    <a:pt x="1084" y="999"/>
                    <a:pt x="1103" y="996"/>
                    <a:pt x="1124" y="997"/>
                  </a:cubicBezTo>
                  <a:cubicBezTo>
                    <a:pt x="1145" y="998"/>
                    <a:pt x="1168" y="1004"/>
                    <a:pt x="1190" y="1008"/>
                  </a:cubicBezTo>
                  <a:cubicBezTo>
                    <a:pt x="1212" y="1012"/>
                    <a:pt x="1234" y="1016"/>
                    <a:pt x="1257" y="1024"/>
                  </a:cubicBezTo>
                  <a:cubicBezTo>
                    <a:pt x="1280" y="1032"/>
                    <a:pt x="1309" y="1048"/>
                    <a:pt x="1331" y="1054"/>
                  </a:cubicBezTo>
                  <a:cubicBezTo>
                    <a:pt x="1353" y="1060"/>
                    <a:pt x="1375" y="1061"/>
                    <a:pt x="1392" y="1061"/>
                  </a:cubicBezTo>
                  <a:cubicBezTo>
                    <a:pt x="1409" y="1061"/>
                    <a:pt x="1422" y="1056"/>
                    <a:pt x="1434" y="1051"/>
                  </a:cubicBezTo>
                  <a:cubicBezTo>
                    <a:pt x="1446" y="1046"/>
                    <a:pt x="1454" y="1041"/>
                    <a:pt x="1463" y="1033"/>
                  </a:cubicBezTo>
                  <a:cubicBezTo>
                    <a:pt x="1472" y="1025"/>
                    <a:pt x="1481" y="1015"/>
                    <a:pt x="1491" y="1003"/>
                  </a:cubicBezTo>
                  <a:cubicBezTo>
                    <a:pt x="1501" y="991"/>
                    <a:pt x="1514" y="972"/>
                    <a:pt x="1524" y="960"/>
                  </a:cubicBezTo>
                  <a:cubicBezTo>
                    <a:pt x="1534" y="948"/>
                    <a:pt x="1542" y="938"/>
                    <a:pt x="1551" y="928"/>
                  </a:cubicBezTo>
                  <a:cubicBezTo>
                    <a:pt x="1560" y="918"/>
                    <a:pt x="1568" y="905"/>
                    <a:pt x="1577" y="897"/>
                  </a:cubicBezTo>
                  <a:cubicBezTo>
                    <a:pt x="1586" y="889"/>
                    <a:pt x="1596" y="886"/>
                    <a:pt x="1607" y="879"/>
                  </a:cubicBezTo>
                  <a:cubicBezTo>
                    <a:pt x="1618" y="872"/>
                    <a:pt x="1632" y="863"/>
                    <a:pt x="1642" y="855"/>
                  </a:cubicBezTo>
                  <a:cubicBezTo>
                    <a:pt x="1652" y="847"/>
                    <a:pt x="1659" y="840"/>
                    <a:pt x="1670" y="833"/>
                  </a:cubicBezTo>
                  <a:cubicBezTo>
                    <a:pt x="1681" y="827"/>
                    <a:pt x="1695" y="820"/>
                    <a:pt x="1707" y="814"/>
                  </a:cubicBezTo>
                  <a:cubicBezTo>
                    <a:pt x="1719" y="809"/>
                    <a:pt x="1730" y="805"/>
                    <a:pt x="1741" y="801"/>
                  </a:cubicBezTo>
                  <a:cubicBezTo>
                    <a:pt x="1752" y="797"/>
                    <a:pt x="1764" y="794"/>
                    <a:pt x="1773" y="791"/>
                  </a:cubicBezTo>
                  <a:cubicBezTo>
                    <a:pt x="1781" y="788"/>
                    <a:pt x="1787" y="786"/>
                    <a:pt x="1794" y="785"/>
                  </a:cubicBezTo>
                  <a:cubicBezTo>
                    <a:pt x="1801" y="784"/>
                    <a:pt x="1808" y="789"/>
                    <a:pt x="1816" y="785"/>
                  </a:cubicBezTo>
                  <a:cubicBezTo>
                    <a:pt x="1824" y="781"/>
                    <a:pt x="1829" y="792"/>
                    <a:pt x="1841" y="762"/>
                  </a:cubicBezTo>
                  <a:cubicBezTo>
                    <a:pt x="1853" y="732"/>
                    <a:pt x="1875" y="646"/>
                    <a:pt x="1890" y="603"/>
                  </a:cubicBezTo>
                  <a:cubicBezTo>
                    <a:pt x="1905" y="560"/>
                    <a:pt x="1924" y="532"/>
                    <a:pt x="1932" y="504"/>
                  </a:cubicBezTo>
                  <a:cubicBezTo>
                    <a:pt x="1940" y="476"/>
                    <a:pt x="1938" y="461"/>
                    <a:pt x="1941" y="433"/>
                  </a:cubicBezTo>
                  <a:cubicBezTo>
                    <a:pt x="1944" y="405"/>
                    <a:pt x="1934" y="370"/>
                    <a:pt x="1950" y="334"/>
                  </a:cubicBezTo>
                  <a:cubicBezTo>
                    <a:pt x="1966" y="298"/>
                    <a:pt x="2015" y="247"/>
                    <a:pt x="2034" y="217"/>
                  </a:cubicBezTo>
                  <a:cubicBezTo>
                    <a:pt x="2053" y="187"/>
                    <a:pt x="2054" y="177"/>
                    <a:pt x="2064" y="156"/>
                  </a:cubicBezTo>
                  <a:cubicBezTo>
                    <a:pt x="2074" y="135"/>
                    <a:pt x="2085" y="119"/>
                    <a:pt x="2093" y="93"/>
                  </a:cubicBezTo>
                  <a:cubicBezTo>
                    <a:pt x="2101" y="67"/>
                    <a:pt x="2107" y="19"/>
                    <a:pt x="2111"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34" name="Freeform 1355"/>
            <p:cNvSpPr>
              <a:spLocks/>
            </p:cNvSpPr>
            <p:nvPr/>
          </p:nvSpPr>
          <p:spPr bwMode="auto">
            <a:xfrm>
              <a:off x="4462463" y="4878466"/>
              <a:ext cx="101600" cy="65088"/>
            </a:xfrm>
            <a:custGeom>
              <a:avLst/>
              <a:gdLst>
                <a:gd name="T0" fmla="*/ 2147483647 w 138"/>
                <a:gd name="T1" fmla="*/ 2147483647 h 87"/>
                <a:gd name="T2" fmla="*/ 2147483647 w 138"/>
                <a:gd name="T3" fmla="*/ 2147483647 h 87"/>
                <a:gd name="T4" fmla="*/ 2147483647 w 138"/>
                <a:gd name="T5" fmla="*/ 2147483647 h 87"/>
                <a:gd name="T6" fmla="*/ 0 w 138"/>
                <a:gd name="T7" fmla="*/ 2147483647 h 87"/>
                <a:gd name="T8" fmla="*/ 2147483647 w 138"/>
                <a:gd name="T9" fmla="*/ 2147483647 h 87"/>
                <a:gd name="T10" fmla="*/ 2147483647 w 138"/>
                <a:gd name="T11" fmla="*/ 2147483647 h 87"/>
                <a:gd name="T12" fmla="*/ 2147483647 w 138"/>
                <a:gd name="T13" fmla="*/ 2147483647 h 87"/>
                <a:gd name="T14" fmla="*/ 2147483647 w 138"/>
                <a:gd name="T15" fmla="*/ 0 h 87"/>
                <a:gd name="T16" fmla="*/ 2147483647 w 138"/>
                <a:gd name="T17" fmla="*/ 2147483647 h 87"/>
                <a:gd name="T18" fmla="*/ 2147483647 w 138"/>
                <a:gd name="T19" fmla="*/ 2147483647 h 87"/>
                <a:gd name="T20" fmla="*/ 2147483647 w 138"/>
                <a:gd name="T21" fmla="*/ 2147483647 h 87"/>
                <a:gd name="T22" fmla="*/ 2147483647 w 138"/>
                <a:gd name="T23" fmla="*/ 2147483647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87"/>
                <a:gd name="T38" fmla="*/ 138 w 138"/>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87">
                  <a:moveTo>
                    <a:pt x="105" y="78"/>
                  </a:moveTo>
                  <a:lnTo>
                    <a:pt x="81" y="87"/>
                  </a:lnTo>
                  <a:lnTo>
                    <a:pt x="60" y="63"/>
                  </a:lnTo>
                  <a:lnTo>
                    <a:pt x="0" y="80"/>
                  </a:lnTo>
                  <a:lnTo>
                    <a:pt x="12" y="44"/>
                  </a:lnTo>
                  <a:lnTo>
                    <a:pt x="30" y="36"/>
                  </a:lnTo>
                  <a:lnTo>
                    <a:pt x="60" y="15"/>
                  </a:lnTo>
                  <a:lnTo>
                    <a:pt x="107" y="0"/>
                  </a:lnTo>
                  <a:lnTo>
                    <a:pt x="138" y="18"/>
                  </a:lnTo>
                  <a:lnTo>
                    <a:pt x="110" y="53"/>
                  </a:lnTo>
                  <a:lnTo>
                    <a:pt x="93" y="48"/>
                  </a:lnTo>
                  <a:lnTo>
                    <a:pt x="105" y="7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35" name="Freeform 1356"/>
            <p:cNvSpPr>
              <a:spLocks/>
            </p:cNvSpPr>
            <p:nvPr/>
          </p:nvSpPr>
          <p:spPr bwMode="auto">
            <a:xfrm>
              <a:off x="3873500" y="5159453"/>
              <a:ext cx="77788" cy="125413"/>
            </a:xfrm>
            <a:custGeom>
              <a:avLst/>
              <a:gdLst>
                <a:gd name="T0" fmla="*/ 2147483647 w 105"/>
                <a:gd name="T1" fmla="*/ 2147483647 h 165"/>
                <a:gd name="T2" fmla="*/ 2147483647 w 105"/>
                <a:gd name="T3" fmla="*/ 2147483647 h 165"/>
                <a:gd name="T4" fmla="*/ 2147483647 w 105"/>
                <a:gd name="T5" fmla="*/ 2147483647 h 165"/>
                <a:gd name="T6" fmla="*/ 2147483647 w 105"/>
                <a:gd name="T7" fmla="*/ 0 h 165"/>
                <a:gd name="T8" fmla="*/ 0 w 105"/>
                <a:gd name="T9" fmla="*/ 2147483647 h 165"/>
                <a:gd name="T10" fmla="*/ 2147483647 w 105"/>
                <a:gd name="T11" fmla="*/ 2147483647 h 165"/>
                <a:gd name="T12" fmla="*/ 2147483647 w 105"/>
                <a:gd name="T13" fmla="*/ 2147483647 h 165"/>
                <a:gd name="T14" fmla="*/ 2147483647 w 105"/>
                <a:gd name="T15" fmla="*/ 2147483647 h 165"/>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165"/>
                <a:gd name="T26" fmla="*/ 105 w 105"/>
                <a:gd name="T27" fmla="*/ 165 h 1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165">
                  <a:moveTo>
                    <a:pt x="46" y="165"/>
                  </a:moveTo>
                  <a:lnTo>
                    <a:pt x="105" y="159"/>
                  </a:lnTo>
                  <a:lnTo>
                    <a:pt x="63" y="94"/>
                  </a:lnTo>
                  <a:lnTo>
                    <a:pt x="37" y="0"/>
                  </a:lnTo>
                  <a:lnTo>
                    <a:pt x="0" y="42"/>
                  </a:lnTo>
                  <a:lnTo>
                    <a:pt x="10" y="106"/>
                  </a:lnTo>
                  <a:lnTo>
                    <a:pt x="34" y="121"/>
                  </a:lnTo>
                  <a:lnTo>
                    <a:pt x="46" y="16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36" name="Freeform 1357"/>
            <p:cNvSpPr>
              <a:spLocks/>
            </p:cNvSpPr>
            <p:nvPr/>
          </p:nvSpPr>
          <p:spPr bwMode="auto">
            <a:xfrm>
              <a:off x="2419350" y="4681616"/>
              <a:ext cx="166688" cy="131763"/>
            </a:xfrm>
            <a:custGeom>
              <a:avLst/>
              <a:gdLst>
                <a:gd name="T0" fmla="*/ 2147483647 w 224"/>
                <a:gd name="T1" fmla="*/ 2147483647 h 174"/>
                <a:gd name="T2" fmla="*/ 0 w 224"/>
                <a:gd name="T3" fmla="*/ 2147483647 h 174"/>
                <a:gd name="T4" fmla="*/ 2147483647 w 224"/>
                <a:gd name="T5" fmla="*/ 2147483647 h 174"/>
                <a:gd name="T6" fmla="*/ 2147483647 w 224"/>
                <a:gd name="T7" fmla="*/ 2147483647 h 174"/>
                <a:gd name="T8" fmla="*/ 2147483647 w 224"/>
                <a:gd name="T9" fmla="*/ 0 h 174"/>
                <a:gd name="T10" fmla="*/ 2147483647 w 224"/>
                <a:gd name="T11" fmla="*/ 2147483647 h 174"/>
                <a:gd name="T12" fmla="*/ 2147483647 w 224"/>
                <a:gd name="T13" fmla="*/ 2147483647 h 174"/>
                <a:gd name="T14" fmla="*/ 2147483647 w 224"/>
                <a:gd name="T15" fmla="*/ 2147483647 h 174"/>
                <a:gd name="T16" fmla="*/ 2147483647 w 224"/>
                <a:gd name="T17" fmla="*/ 2147483647 h 1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4"/>
                <a:gd name="T28" fmla="*/ 0 h 174"/>
                <a:gd name="T29" fmla="*/ 224 w 224"/>
                <a:gd name="T30" fmla="*/ 174 h 1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4" h="174">
                  <a:moveTo>
                    <a:pt x="60" y="174"/>
                  </a:moveTo>
                  <a:lnTo>
                    <a:pt x="0" y="133"/>
                  </a:lnTo>
                  <a:lnTo>
                    <a:pt x="32" y="72"/>
                  </a:lnTo>
                  <a:lnTo>
                    <a:pt x="41" y="37"/>
                  </a:lnTo>
                  <a:lnTo>
                    <a:pt x="95" y="0"/>
                  </a:lnTo>
                  <a:lnTo>
                    <a:pt x="224" y="141"/>
                  </a:lnTo>
                  <a:lnTo>
                    <a:pt x="186" y="160"/>
                  </a:lnTo>
                  <a:lnTo>
                    <a:pt x="110" y="123"/>
                  </a:lnTo>
                  <a:lnTo>
                    <a:pt x="60" y="174"/>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237" name="Text Box 1358"/>
            <p:cNvSpPr txBox="1">
              <a:spLocks noChangeArrowheads="1"/>
            </p:cNvSpPr>
            <p:nvPr/>
          </p:nvSpPr>
          <p:spPr bwMode="auto">
            <a:xfrm>
              <a:off x="1879600" y="4010103"/>
              <a:ext cx="1968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Jülich</a:t>
              </a:r>
            </a:p>
          </p:txBody>
        </p:sp>
        <p:sp>
          <p:nvSpPr>
            <p:cNvPr id="238" name="Freeform 1359"/>
            <p:cNvSpPr>
              <a:spLocks/>
            </p:cNvSpPr>
            <p:nvPr/>
          </p:nvSpPr>
          <p:spPr bwMode="auto">
            <a:xfrm>
              <a:off x="2819444" y="3856116"/>
              <a:ext cx="1188994" cy="976313"/>
            </a:xfrm>
            <a:custGeom>
              <a:avLst/>
              <a:gdLst>
                <a:gd name="T0" fmla="*/ 2147483647 w 10013"/>
                <a:gd name="T1" fmla="*/ 2147483647 h 10000"/>
                <a:gd name="T2" fmla="*/ 2147483647 w 10013"/>
                <a:gd name="T3" fmla="*/ 2147483647 h 10000"/>
                <a:gd name="T4" fmla="*/ 2147483647 w 10013"/>
                <a:gd name="T5" fmla="*/ 2147483647 h 10000"/>
                <a:gd name="T6" fmla="*/ 2147483647 w 10013"/>
                <a:gd name="T7" fmla="*/ 2147483647 h 10000"/>
                <a:gd name="T8" fmla="*/ 2147483647 w 10013"/>
                <a:gd name="T9" fmla="*/ 2147483647 h 10000"/>
                <a:gd name="T10" fmla="*/ 2147483647 w 10013"/>
                <a:gd name="T11" fmla="*/ 2147483647 h 10000"/>
                <a:gd name="T12" fmla="*/ 2147483647 w 10013"/>
                <a:gd name="T13" fmla="*/ 2147483647 h 10000"/>
                <a:gd name="T14" fmla="*/ 2147483647 w 10013"/>
                <a:gd name="T15" fmla="*/ 2147483647 h 10000"/>
                <a:gd name="T16" fmla="*/ 2147483647 w 10013"/>
                <a:gd name="T17" fmla="*/ 2147483647 h 10000"/>
                <a:gd name="T18" fmla="*/ 2147483647 w 10013"/>
                <a:gd name="T19" fmla="*/ 2147483647 h 10000"/>
                <a:gd name="T20" fmla="*/ 2147483647 w 10013"/>
                <a:gd name="T21" fmla="*/ 2147483647 h 10000"/>
                <a:gd name="T22" fmla="*/ 2147483647 w 10013"/>
                <a:gd name="T23" fmla="*/ 2147483647 h 10000"/>
                <a:gd name="T24" fmla="*/ 2147483647 w 10013"/>
                <a:gd name="T25" fmla="*/ 2147483647 h 10000"/>
                <a:gd name="T26" fmla="*/ 2147483647 w 10013"/>
                <a:gd name="T27" fmla="*/ 2147483647 h 10000"/>
                <a:gd name="T28" fmla="*/ 2147483647 w 10013"/>
                <a:gd name="T29" fmla="*/ 2147483647 h 10000"/>
                <a:gd name="T30" fmla="*/ 2147483647 w 10013"/>
                <a:gd name="T31" fmla="*/ 2147483647 h 10000"/>
                <a:gd name="T32" fmla="*/ 2147483647 w 10013"/>
                <a:gd name="T33" fmla="*/ 2147483647 h 10000"/>
                <a:gd name="T34" fmla="*/ 2147483647 w 10013"/>
                <a:gd name="T35" fmla="*/ 2147483647 h 10000"/>
                <a:gd name="T36" fmla="*/ 2147483647 w 10013"/>
                <a:gd name="T37" fmla="*/ 2147483647 h 10000"/>
                <a:gd name="T38" fmla="*/ 2147483647 w 10013"/>
                <a:gd name="T39" fmla="*/ 2147483647 h 10000"/>
                <a:gd name="T40" fmla="*/ 2147483647 w 10013"/>
                <a:gd name="T41" fmla="*/ 2147483647 h 10000"/>
                <a:gd name="T42" fmla="*/ 2147483647 w 10013"/>
                <a:gd name="T43" fmla="*/ 2147483647 h 10000"/>
                <a:gd name="T44" fmla="*/ 2147483647 w 10013"/>
                <a:gd name="T45" fmla="*/ 0 h 10000"/>
                <a:gd name="T46" fmla="*/ 2147483647 w 10013"/>
                <a:gd name="T47" fmla="*/ 2147483647 h 10000"/>
                <a:gd name="T48" fmla="*/ 2147483647 w 10013"/>
                <a:gd name="T49" fmla="*/ 2147483647 h 10000"/>
                <a:gd name="T50" fmla="*/ 2147483647 w 10013"/>
                <a:gd name="T51" fmla="*/ 2147483647 h 10000"/>
                <a:gd name="T52" fmla="*/ 2147483647 w 10013"/>
                <a:gd name="T53" fmla="*/ 2147483647 h 10000"/>
                <a:gd name="T54" fmla="*/ 2147483647 w 10013"/>
                <a:gd name="T55" fmla="*/ 2147483647 h 10000"/>
                <a:gd name="T56" fmla="*/ 2147483647 w 10013"/>
                <a:gd name="T57" fmla="*/ 2147483647 h 10000"/>
                <a:gd name="T58" fmla="*/ 2147483647 w 10013"/>
                <a:gd name="T59" fmla="*/ 2147483647 h 10000"/>
                <a:gd name="T60" fmla="*/ 0 w 10013"/>
                <a:gd name="T61" fmla="*/ 2147483647 h 10000"/>
                <a:gd name="T62" fmla="*/ 2147483647 w 10013"/>
                <a:gd name="T63" fmla="*/ 2147483647 h 100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013" h="10000">
                  <a:moveTo>
                    <a:pt x="13" y="3285"/>
                  </a:moveTo>
                  <a:lnTo>
                    <a:pt x="534" y="4634"/>
                  </a:lnTo>
                  <a:cubicBezTo>
                    <a:pt x="668" y="5214"/>
                    <a:pt x="801" y="5794"/>
                    <a:pt x="935" y="6374"/>
                  </a:cubicBezTo>
                  <a:lnTo>
                    <a:pt x="2232" y="7691"/>
                  </a:lnTo>
                  <a:lnTo>
                    <a:pt x="2379" y="8553"/>
                  </a:lnTo>
                  <a:lnTo>
                    <a:pt x="3850" y="10000"/>
                  </a:lnTo>
                  <a:lnTo>
                    <a:pt x="4238" y="9919"/>
                  </a:lnTo>
                  <a:cubicBezTo>
                    <a:pt x="4233" y="9843"/>
                    <a:pt x="4229" y="9767"/>
                    <a:pt x="4224" y="9691"/>
                  </a:cubicBezTo>
                  <a:lnTo>
                    <a:pt x="3195" y="8585"/>
                  </a:lnTo>
                  <a:lnTo>
                    <a:pt x="2874" y="8081"/>
                  </a:lnTo>
                  <a:lnTo>
                    <a:pt x="3115" y="7837"/>
                  </a:lnTo>
                  <a:lnTo>
                    <a:pt x="3957" y="7528"/>
                  </a:lnTo>
                  <a:lnTo>
                    <a:pt x="4639" y="8325"/>
                  </a:lnTo>
                  <a:lnTo>
                    <a:pt x="7500" y="5959"/>
                  </a:lnTo>
                  <a:lnTo>
                    <a:pt x="7339" y="5642"/>
                  </a:lnTo>
                  <a:lnTo>
                    <a:pt x="10013" y="3285"/>
                  </a:lnTo>
                  <a:lnTo>
                    <a:pt x="7446" y="1496"/>
                  </a:lnTo>
                  <a:lnTo>
                    <a:pt x="6804" y="943"/>
                  </a:lnTo>
                  <a:cubicBezTo>
                    <a:pt x="6644" y="797"/>
                    <a:pt x="6550" y="699"/>
                    <a:pt x="6443" y="618"/>
                  </a:cubicBezTo>
                  <a:lnTo>
                    <a:pt x="6149" y="423"/>
                  </a:lnTo>
                  <a:lnTo>
                    <a:pt x="5882" y="260"/>
                  </a:lnTo>
                  <a:cubicBezTo>
                    <a:pt x="5748" y="195"/>
                    <a:pt x="5494" y="114"/>
                    <a:pt x="5307" y="81"/>
                  </a:cubicBezTo>
                  <a:cubicBezTo>
                    <a:pt x="5133" y="33"/>
                    <a:pt x="4986" y="0"/>
                    <a:pt x="4799" y="0"/>
                  </a:cubicBezTo>
                  <a:lnTo>
                    <a:pt x="4197" y="33"/>
                  </a:lnTo>
                  <a:cubicBezTo>
                    <a:pt x="3984" y="49"/>
                    <a:pt x="3683" y="23"/>
                    <a:pt x="3476" y="65"/>
                  </a:cubicBezTo>
                  <a:cubicBezTo>
                    <a:pt x="3269" y="107"/>
                    <a:pt x="3128" y="236"/>
                    <a:pt x="2954" y="285"/>
                  </a:cubicBezTo>
                  <a:cubicBezTo>
                    <a:pt x="2780" y="334"/>
                    <a:pt x="2628" y="217"/>
                    <a:pt x="2446" y="325"/>
                  </a:cubicBezTo>
                  <a:cubicBezTo>
                    <a:pt x="2265" y="433"/>
                    <a:pt x="2139" y="840"/>
                    <a:pt x="1865" y="935"/>
                  </a:cubicBezTo>
                  <a:lnTo>
                    <a:pt x="802" y="894"/>
                  </a:lnTo>
                  <a:cubicBezTo>
                    <a:pt x="742" y="1292"/>
                    <a:pt x="681" y="1691"/>
                    <a:pt x="621" y="2089"/>
                  </a:cubicBezTo>
                  <a:lnTo>
                    <a:pt x="0" y="2381"/>
                  </a:lnTo>
                  <a:cubicBezTo>
                    <a:pt x="4" y="2682"/>
                    <a:pt x="9" y="2984"/>
                    <a:pt x="13" y="3285"/>
                  </a:cubicBezTo>
                  <a:close/>
                </a:path>
              </a:pathLst>
            </a:custGeom>
            <a:solidFill>
              <a:srgbClr val="663300"/>
            </a:solidFill>
            <a:ln w="9525" cap="flat" cmpd="sng">
              <a:solidFill>
                <a:srgbClr val="663300"/>
              </a:solidFill>
              <a:prstDash val="solid"/>
              <a:round/>
              <a:headEnd type="none" w="med" len="med"/>
              <a:tailEnd type="none" w="med" len="med"/>
            </a:ln>
          </p:spPr>
          <p:txBody>
            <a:bodyPr wrap="none" lIns="0" tIns="0" rIns="0" bIns="0">
              <a:spAutoFit/>
            </a:bodyPr>
            <a:lstStyle/>
            <a:p>
              <a:endParaRPr lang="de-DE"/>
            </a:p>
          </p:txBody>
        </p:sp>
        <p:sp>
          <p:nvSpPr>
            <p:cNvPr id="239" name="Freeform 1360"/>
            <p:cNvSpPr>
              <a:spLocks/>
            </p:cNvSpPr>
            <p:nvPr/>
          </p:nvSpPr>
          <p:spPr bwMode="auto">
            <a:xfrm>
              <a:off x="2476500" y="3657678"/>
              <a:ext cx="1747838" cy="1438275"/>
            </a:xfrm>
            <a:custGeom>
              <a:avLst/>
              <a:gdLst>
                <a:gd name="T0" fmla="*/ 2147483647 w 2356"/>
                <a:gd name="T1" fmla="*/ 2147483647 h 1900"/>
                <a:gd name="T2" fmla="*/ 2147483647 w 2356"/>
                <a:gd name="T3" fmla="*/ 2147483647 h 1900"/>
                <a:gd name="T4" fmla="*/ 2147483647 w 2356"/>
                <a:gd name="T5" fmla="*/ 2147483647 h 1900"/>
                <a:gd name="T6" fmla="*/ 2147483647 w 2356"/>
                <a:gd name="T7" fmla="*/ 2147483647 h 1900"/>
                <a:gd name="T8" fmla="*/ 2147483647 w 2356"/>
                <a:gd name="T9" fmla="*/ 2147483647 h 1900"/>
                <a:gd name="T10" fmla="*/ 2147483647 w 2356"/>
                <a:gd name="T11" fmla="*/ 2147483647 h 1900"/>
                <a:gd name="T12" fmla="*/ 2147483647 w 2356"/>
                <a:gd name="T13" fmla="*/ 2147483647 h 1900"/>
                <a:gd name="T14" fmla="*/ 2147483647 w 2356"/>
                <a:gd name="T15" fmla="*/ 2147483647 h 1900"/>
                <a:gd name="T16" fmla="*/ 2147483647 w 2356"/>
                <a:gd name="T17" fmla="*/ 2147483647 h 1900"/>
                <a:gd name="T18" fmla="*/ 2147483647 w 2356"/>
                <a:gd name="T19" fmla="*/ 2147483647 h 1900"/>
                <a:gd name="T20" fmla="*/ 2147483647 w 2356"/>
                <a:gd name="T21" fmla="*/ 2147483647 h 1900"/>
                <a:gd name="T22" fmla="*/ 2147483647 w 2356"/>
                <a:gd name="T23" fmla="*/ 2147483647 h 1900"/>
                <a:gd name="T24" fmla="*/ 2147483647 w 2356"/>
                <a:gd name="T25" fmla="*/ 2147483647 h 1900"/>
                <a:gd name="T26" fmla="*/ 2147483647 w 2356"/>
                <a:gd name="T27" fmla="*/ 2147483647 h 1900"/>
                <a:gd name="T28" fmla="*/ 2147483647 w 2356"/>
                <a:gd name="T29" fmla="*/ 2147483647 h 1900"/>
                <a:gd name="T30" fmla="*/ 2147483647 w 2356"/>
                <a:gd name="T31" fmla="*/ 2147483647 h 1900"/>
                <a:gd name="T32" fmla="*/ 2147483647 w 2356"/>
                <a:gd name="T33" fmla="*/ 2147483647 h 1900"/>
                <a:gd name="T34" fmla="*/ 2147483647 w 2356"/>
                <a:gd name="T35" fmla="*/ 2147483647 h 1900"/>
                <a:gd name="T36" fmla="*/ 2147483647 w 2356"/>
                <a:gd name="T37" fmla="*/ 2147483647 h 1900"/>
                <a:gd name="T38" fmla="*/ 2147483647 w 2356"/>
                <a:gd name="T39" fmla="*/ 2147483647 h 1900"/>
                <a:gd name="T40" fmla="*/ 2147483647 w 2356"/>
                <a:gd name="T41" fmla="*/ 2147483647 h 1900"/>
                <a:gd name="T42" fmla="*/ 2147483647 w 2356"/>
                <a:gd name="T43" fmla="*/ 2147483647 h 1900"/>
                <a:gd name="T44" fmla="*/ 2147483647 w 2356"/>
                <a:gd name="T45" fmla="*/ 2147483647 h 1900"/>
                <a:gd name="T46" fmla="*/ 2147483647 w 2356"/>
                <a:gd name="T47" fmla="*/ 2147483647 h 1900"/>
                <a:gd name="T48" fmla="*/ 2147483647 w 2356"/>
                <a:gd name="T49" fmla="*/ 2147483647 h 1900"/>
                <a:gd name="T50" fmla="*/ 2147483647 w 2356"/>
                <a:gd name="T51" fmla="*/ 2147483647 h 1900"/>
                <a:gd name="T52" fmla="*/ 2147483647 w 2356"/>
                <a:gd name="T53" fmla="*/ 2147483647 h 1900"/>
                <a:gd name="T54" fmla="*/ 2147483647 w 2356"/>
                <a:gd name="T55" fmla="*/ 2147483647 h 1900"/>
                <a:gd name="T56" fmla="*/ 2147483647 w 2356"/>
                <a:gd name="T57" fmla="*/ 2147483647 h 1900"/>
                <a:gd name="T58" fmla="*/ 2147483647 w 2356"/>
                <a:gd name="T59" fmla="*/ 2147483647 h 1900"/>
                <a:gd name="T60" fmla="*/ 2147483647 w 2356"/>
                <a:gd name="T61" fmla="*/ 2147483647 h 1900"/>
                <a:gd name="T62" fmla="*/ 2147483647 w 2356"/>
                <a:gd name="T63" fmla="*/ 2147483647 h 1900"/>
                <a:gd name="T64" fmla="*/ 2147483647 w 2356"/>
                <a:gd name="T65" fmla="*/ 2147483647 h 1900"/>
                <a:gd name="T66" fmla="*/ 2147483647 w 2356"/>
                <a:gd name="T67" fmla="*/ 2147483647 h 1900"/>
                <a:gd name="T68" fmla="*/ 2147483647 w 2356"/>
                <a:gd name="T69" fmla="*/ 2147483647 h 1900"/>
                <a:gd name="T70" fmla="*/ 2147483647 w 2356"/>
                <a:gd name="T71" fmla="*/ 2147483647 h 1900"/>
                <a:gd name="T72" fmla="*/ 2147483647 w 2356"/>
                <a:gd name="T73" fmla="*/ 2147483647 h 1900"/>
                <a:gd name="T74" fmla="*/ 2147483647 w 2356"/>
                <a:gd name="T75" fmla="*/ 2147483647 h 1900"/>
                <a:gd name="T76" fmla="*/ 2147483647 w 2356"/>
                <a:gd name="T77" fmla="*/ 2147483647 h 1900"/>
                <a:gd name="T78" fmla="*/ 2147483647 w 2356"/>
                <a:gd name="T79" fmla="*/ 2147483647 h 1900"/>
                <a:gd name="T80" fmla="*/ 2147483647 w 2356"/>
                <a:gd name="T81" fmla="*/ 2147483647 h 1900"/>
                <a:gd name="T82" fmla="*/ 2147483647 w 2356"/>
                <a:gd name="T83" fmla="*/ 2147483647 h 1900"/>
                <a:gd name="T84" fmla="*/ 2147483647 w 2356"/>
                <a:gd name="T85" fmla="*/ 2147483647 h 1900"/>
                <a:gd name="T86" fmla="*/ 2147483647 w 2356"/>
                <a:gd name="T87" fmla="*/ 2147483647 h 1900"/>
                <a:gd name="T88" fmla="*/ 2147483647 w 2356"/>
                <a:gd name="T89" fmla="*/ 2147483647 h 1900"/>
                <a:gd name="T90" fmla="*/ 2147483647 w 2356"/>
                <a:gd name="T91" fmla="*/ 2147483647 h 1900"/>
                <a:gd name="T92" fmla="*/ 2147483647 w 2356"/>
                <a:gd name="T93" fmla="*/ 2147483647 h 1900"/>
                <a:gd name="T94" fmla="*/ 2147483647 w 2356"/>
                <a:gd name="T95" fmla="*/ 2147483647 h 1900"/>
                <a:gd name="T96" fmla="*/ 2147483647 w 2356"/>
                <a:gd name="T97" fmla="*/ 2147483647 h 1900"/>
                <a:gd name="T98" fmla="*/ 2147483647 w 2356"/>
                <a:gd name="T99" fmla="*/ 2147483647 h 1900"/>
                <a:gd name="T100" fmla="*/ 2147483647 w 2356"/>
                <a:gd name="T101" fmla="*/ 2147483647 h 1900"/>
                <a:gd name="T102" fmla="*/ 2147483647 w 2356"/>
                <a:gd name="T103" fmla="*/ 2147483647 h 1900"/>
                <a:gd name="T104" fmla="*/ 2147483647 w 2356"/>
                <a:gd name="T105" fmla="*/ 2147483647 h 1900"/>
                <a:gd name="T106" fmla="*/ 2147483647 w 2356"/>
                <a:gd name="T107" fmla="*/ 2147483647 h 1900"/>
                <a:gd name="T108" fmla="*/ 2147483647 w 2356"/>
                <a:gd name="T109" fmla="*/ 2147483647 h 1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6"/>
                <a:gd name="T166" fmla="*/ 0 h 1900"/>
                <a:gd name="T167" fmla="*/ 2356 w 2356"/>
                <a:gd name="T168" fmla="*/ 1900 h 1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6" h="1900">
                  <a:moveTo>
                    <a:pt x="1465" y="1816"/>
                  </a:moveTo>
                  <a:lnTo>
                    <a:pt x="1861" y="1586"/>
                  </a:lnTo>
                  <a:lnTo>
                    <a:pt x="2269" y="1318"/>
                  </a:lnTo>
                  <a:cubicBezTo>
                    <a:pt x="2349" y="1248"/>
                    <a:pt x="2328" y="1215"/>
                    <a:pt x="2342" y="1167"/>
                  </a:cubicBezTo>
                  <a:cubicBezTo>
                    <a:pt x="2356" y="1119"/>
                    <a:pt x="2352" y="1064"/>
                    <a:pt x="2352" y="1027"/>
                  </a:cubicBezTo>
                  <a:cubicBezTo>
                    <a:pt x="2352" y="990"/>
                    <a:pt x="2349" y="972"/>
                    <a:pt x="2342" y="947"/>
                  </a:cubicBezTo>
                  <a:cubicBezTo>
                    <a:pt x="2335" y="922"/>
                    <a:pt x="2330" y="903"/>
                    <a:pt x="2312" y="877"/>
                  </a:cubicBezTo>
                  <a:cubicBezTo>
                    <a:pt x="2294" y="851"/>
                    <a:pt x="2264" y="815"/>
                    <a:pt x="2234" y="789"/>
                  </a:cubicBezTo>
                  <a:cubicBezTo>
                    <a:pt x="2204" y="763"/>
                    <a:pt x="2181" y="750"/>
                    <a:pt x="2131" y="722"/>
                  </a:cubicBezTo>
                  <a:cubicBezTo>
                    <a:pt x="2081" y="694"/>
                    <a:pt x="1979" y="644"/>
                    <a:pt x="1931" y="619"/>
                  </a:cubicBezTo>
                  <a:cubicBezTo>
                    <a:pt x="1883" y="594"/>
                    <a:pt x="1896" y="608"/>
                    <a:pt x="1841" y="574"/>
                  </a:cubicBezTo>
                  <a:cubicBezTo>
                    <a:pt x="1786" y="540"/>
                    <a:pt x="1650" y="449"/>
                    <a:pt x="1598" y="414"/>
                  </a:cubicBezTo>
                  <a:cubicBezTo>
                    <a:pt x="1546" y="379"/>
                    <a:pt x="1551" y="379"/>
                    <a:pt x="1528" y="364"/>
                  </a:cubicBezTo>
                  <a:cubicBezTo>
                    <a:pt x="1505" y="349"/>
                    <a:pt x="1485" y="334"/>
                    <a:pt x="1458" y="321"/>
                  </a:cubicBezTo>
                  <a:cubicBezTo>
                    <a:pt x="1431" y="308"/>
                    <a:pt x="1398" y="292"/>
                    <a:pt x="1365" y="283"/>
                  </a:cubicBezTo>
                  <a:cubicBezTo>
                    <a:pt x="1332" y="274"/>
                    <a:pt x="1291" y="269"/>
                    <a:pt x="1260" y="266"/>
                  </a:cubicBezTo>
                  <a:cubicBezTo>
                    <a:pt x="1229" y="263"/>
                    <a:pt x="1222" y="263"/>
                    <a:pt x="1177" y="263"/>
                  </a:cubicBezTo>
                  <a:cubicBezTo>
                    <a:pt x="1132" y="263"/>
                    <a:pt x="1047" y="266"/>
                    <a:pt x="992" y="268"/>
                  </a:cubicBezTo>
                  <a:cubicBezTo>
                    <a:pt x="937" y="270"/>
                    <a:pt x="883" y="274"/>
                    <a:pt x="844" y="273"/>
                  </a:cubicBezTo>
                  <a:cubicBezTo>
                    <a:pt x="805" y="272"/>
                    <a:pt x="775" y="268"/>
                    <a:pt x="756" y="263"/>
                  </a:cubicBezTo>
                  <a:cubicBezTo>
                    <a:pt x="737" y="258"/>
                    <a:pt x="740" y="250"/>
                    <a:pt x="729" y="243"/>
                  </a:cubicBezTo>
                  <a:cubicBezTo>
                    <a:pt x="718" y="236"/>
                    <a:pt x="703" y="230"/>
                    <a:pt x="691" y="221"/>
                  </a:cubicBezTo>
                  <a:cubicBezTo>
                    <a:pt x="679" y="212"/>
                    <a:pt x="666" y="201"/>
                    <a:pt x="659" y="191"/>
                  </a:cubicBezTo>
                  <a:cubicBezTo>
                    <a:pt x="652" y="181"/>
                    <a:pt x="655" y="177"/>
                    <a:pt x="651" y="163"/>
                  </a:cubicBezTo>
                  <a:cubicBezTo>
                    <a:pt x="647" y="149"/>
                    <a:pt x="642" y="124"/>
                    <a:pt x="636" y="108"/>
                  </a:cubicBezTo>
                  <a:cubicBezTo>
                    <a:pt x="630" y="92"/>
                    <a:pt x="623" y="80"/>
                    <a:pt x="616" y="68"/>
                  </a:cubicBezTo>
                  <a:cubicBezTo>
                    <a:pt x="609" y="56"/>
                    <a:pt x="603" y="48"/>
                    <a:pt x="591" y="38"/>
                  </a:cubicBezTo>
                  <a:cubicBezTo>
                    <a:pt x="579" y="28"/>
                    <a:pt x="571" y="10"/>
                    <a:pt x="546" y="5"/>
                  </a:cubicBezTo>
                  <a:cubicBezTo>
                    <a:pt x="521" y="0"/>
                    <a:pt x="474" y="7"/>
                    <a:pt x="443" y="10"/>
                  </a:cubicBezTo>
                  <a:cubicBezTo>
                    <a:pt x="412" y="13"/>
                    <a:pt x="389" y="19"/>
                    <a:pt x="358" y="25"/>
                  </a:cubicBezTo>
                  <a:cubicBezTo>
                    <a:pt x="327" y="31"/>
                    <a:pt x="286" y="40"/>
                    <a:pt x="256" y="48"/>
                  </a:cubicBezTo>
                  <a:cubicBezTo>
                    <a:pt x="226" y="56"/>
                    <a:pt x="204" y="63"/>
                    <a:pt x="178" y="73"/>
                  </a:cubicBezTo>
                  <a:cubicBezTo>
                    <a:pt x="152" y="83"/>
                    <a:pt x="122" y="91"/>
                    <a:pt x="100" y="106"/>
                  </a:cubicBezTo>
                  <a:cubicBezTo>
                    <a:pt x="78" y="121"/>
                    <a:pt x="61" y="142"/>
                    <a:pt x="48" y="163"/>
                  </a:cubicBezTo>
                  <a:cubicBezTo>
                    <a:pt x="35" y="184"/>
                    <a:pt x="27" y="210"/>
                    <a:pt x="20" y="233"/>
                  </a:cubicBezTo>
                  <a:cubicBezTo>
                    <a:pt x="13" y="256"/>
                    <a:pt x="6" y="275"/>
                    <a:pt x="3" y="301"/>
                  </a:cubicBezTo>
                  <a:cubicBezTo>
                    <a:pt x="0" y="327"/>
                    <a:pt x="2" y="369"/>
                    <a:pt x="3" y="391"/>
                  </a:cubicBezTo>
                  <a:cubicBezTo>
                    <a:pt x="4" y="413"/>
                    <a:pt x="4" y="420"/>
                    <a:pt x="8" y="434"/>
                  </a:cubicBezTo>
                  <a:cubicBezTo>
                    <a:pt x="12" y="448"/>
                    <a:pt x="15" y="458"/>
                    <a:pt x="28" y="476"/>
                  </a:cubicBezTo>
                  <a:cubicBezTo>
                    <a:pt x="41" y="494"/>
                    <a:pt x="68" y="524"/>
                    <a:pt x="85" y="539"/>
                  </a:cubicBezTo>
                  <a:cubicBezTo>
                    <a:pt x="102" y="554"/>
                    <a:pt x="117" y="556"/>
                    <a:pt x="128" y="569"/>
                  </a:cubicBezTo>
                  <a:cubicBezTo>
                    <a:pt x="139" y="582"/>
                    <a:pt x="142" y="597"/>
                    <a:pt x="153" y="614"/>
                  </a:cubicBezTo>
                  <a:cubicBezTo>
                    <a:pt x="164" y="631"/>
                    <a:pt x="177" y="651"/>
                    <a:pt x="195" y="669"/>
                  </a:cubicBezTo>
                  <a:cubicBezTo>
                    <a:pt x="213" y="687"/>
                    <a:pt x="233" y="699"/>
                    <a:pt x="261" y="724"/>
                  </a:cubicBezTo>
                  <a:cubicBezTo>
                    <a:pt x="289" y="749"/>
                    <a:pt x="305" y="763"/>
                    <a:pt x="363" y="822"/>
                  </a:cubicBezTo>
                  <a:cubicBezTo>
                    <a:pt x="421" y="881"/>
                    <a:pt x="558" y="1024"/>
                    <a:pt x="606" y="1080"/>
                  </a:cubicBezTo>
                  <a:lnTo>
                    <a:pt x="649" y="1157"/>
                  </a:lnTo>
                  <a:cubicBezTo>
                    <a:pt x="666" y="1182"/>
                    <a:pt x="684" y="1198"/>
                    <a:pt x="709" y="1233"/>
                  </a:cubicBezTo>
                  <a:cubicBezTo>
                    <a:pt x="734" y="1268"/>
                    <a:pt x="747" y="1287"/>
                    <a:pt x="801" y="1365"/>
                  </a:cubicBezTo>
                  <a:cubicBezTo>
                    <a:pt x="855" y="1443"/>
                    <a:pt x="987" y="1638"/>
                    <a:pt x="1032" y="1703"/>
                  </a:cubicBezTo>
                  <a:cubicBezTo>
                    <a:pt x="1077" y="1768"/>
                    <a:pt x="1061" y="1738"/>
                    <a:pt x="1072" y="1753"/>
                  </a:cubicBezTo>
                  <a:cubicBezTo>
                    <a:pt x="1083" y="1768"/>
                    <a:pt x="1087" y="1780"/>
                    <a:pt x="1099" y="1796"/>
                  </a:cubicBezTo>
                  <a:cubicBezTo>
                    <a:pt x="1111" y="1812"/>
                    <a:pt x="1115" y="1835"/>
                    <a:pt x="1145" y="1851"/>
                  </a:cubicBezTo>
                  <a:cubicBezTo>
                    <a:pt x="1175" y="1867"/>
                    <a:pt x="1229" y="1900"/>
                    <a:pt x="1282" y="1894"/>
                  </a:cubicBezTo>
                  <a:cubicBezTo>
                    <a:pt x="1335" y="1888"/>
                    <a:pt x="1427" y="1832"/>
                    <a:pt x="1465" y="1816"/>
                  </a:cubicBezTo>
                  <a:close/>
                </a:path>
              </a:pathLst>
            </a:custGeom>
            <a:noFill/>
            <a:ln w="9525" cap="flat"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40" name="Freeform 1361"/>
            <p:cNvSpPr>
              <a:spLocks/>
            </p:cNvSpPr>
            <p:nvPr/>
          </p:nvSpPr>
          <p:spPr bwMode="auto">
            <a:xfrm>
              <a:off x="1679575" y="3933903"/>
              <a:ext cx="5765800" cy="1403350"/>
            </a:xfrm>
            <a:custGeom>
              <a:avLst/>
              <a:gdLst>
                <a:gd name="T0" fmla="*/ 0 w 3632"/>
                <a:gd name="T1" fmla="*/ 2147483647 h 884"/>
                <a:gd name="T2" fmla="*/ 2147483647 w 3632"/>
                <a:gd name="T3" fmla="*/ 2147483647 h 884"/>
                <a:gd name="T4" fmla="*/ 2147483647 w 3632"/>
                <a:gd name="T5" fmla="*/ 2147483647 h 884"/>
                <a:gd name="T6" fmla="*/ 2147483647 w 3632"/>
                <a:gd name="T7" fmla="*/ 2147483647 h 884"/>
                <a:gd name="T8" fmla="*/ 2147483647 w 3632"/>
                <a:gd name="T9" fmla="*/ 2147483647 h 884"/>
                <a:gd name="T10" fmla="*/ 2147483647 w 3632"/>
                <a:gd name="T11" fmla="*/ 2147483647 h 884"/>
                <a:gd name="T12" fmla="*/ 2147483647 w 3632"/>
                <a:gd name="T13" fmla="*/ 2147483647 h 884"/>
                <a:gd name="T14" fmla="*/ 2147483647 w 3632"/>
                <a:gd name="T15" fmla="*/ 2147483647 h 884"/>
                <a:gd name="T16" fmla="*/ 2147483647 w 3632"/>
                <a:gd name="T17" fmla="*/ 2147483647 h 884"/>
                <a:gd name="T18" fmla="*/ 2147483647 w 3632"/>
                <a:gd name="T19" fmla="*/ 2147483647 h 884"/>
                <a:gd name="T20" fmla="*/ 2147483647 w 3632"/>
                <a:gd name="T21" fmla="*/ 2147483647 h 884"/>
                <a:gd name="T22" fmla="*/ 2147483647 w 3632"/>
                <a:gd name="T23" fmla="*/ 2147483647 h 884"/>
                <a:gd name="T24" fmla="*/ 2147483647 w 3632"/>
                <a:gd name="T25" fmla="*/ 2147483647 h 884"/>
                <a:gd name="T26" fmla="*/ 2147483647 w 3632"/>
                <a:gd name="T27" fmla="*/ 2147483647 h 884"/>
                <a:gd name="T28" fmla="*/ 2147483647 w 3632"/>
                <a:gd name="T29" fmla="*/ 2147483647 h 884"/>
                <a:gd name="T30" fmla="*/ 2147483647 w 3632"/>
                <a:gd name="T31" fmla="*/ 2147483647 h 884"/>
                <a:gd name="T32" fmla="*/ 2147483647 w 3632"/>
                <a:gd name="T33" fmla="*/ 2147483647 h 884"/>
                <a:gd name="T34" fmla="*/ 2147483647 w 3632"/>
                <a:gd name="T35" fmla="*/ 2147483647 h 884"/>
                <a:gd name="T36" fmla="*/ 2147483647 w 3632"/>
                <a:gd name="T37" fmla="*/ 2147483647 h 884"/>
                <a:gd name="T38" fmla="*/ 2147483647 w 3632"/>
                <a:gd name="T39" fmla="*/ 2147483647 h 884"/>
                <a:gd name="T40" fmla="*/ 2147483647 w 3632"/>
                <a:gd name="T41" fmla="*/ 2147483647 h 884"/>
                <a:gd name="T42" fmla="*/ 2147483647 w 3632"/>
                <a:gd name="T43" fmla="*/ 2147483647 h 884"/>
                <a:gd name="T44" fmla="*/ 2147483647 w 3632"/>
                <a:gd name="T45" fmla="*/ 2147483647 h 884"/>
                <a:gd name="T46" fmla="*/ 2147483647 w 3632"/>
                <a:gd name="T47" fmla="*/ 2147483647 h 884"/>
                <a:gd name="T48" fmla="*/ 2147483647 w 3632"/>
                <a:gd name="T49" fmla="*/ 2147483647 h 884"/>
                <a:gd name="T50" fmla="*/ 2147483647 w 3632"/>
                <a:gd name="T51" fmla="*/ 2147483647 h 884"/>
                <a:gd name="T52" fmla="*/ 2147483647 w 3632"/>
                <a:gd name="T53" fmla="*/ 2147483647 h 884"/>
                <a:gd name="T54" fmla="*/ 2147483647 w 3632"/>
                <a:gd name="T55" fmla="*/ 2147483647 h 884"/>
                <a:gd name="T56" fmla="*/ 2147483647 w 3632"/>
                <a:gd name="T57" fmla="*/ 2147483647 h 884"/>
                <a:gd name="T58" fmla="*/ 2147483647 w 3632"/>
                <a:gd name="T59" fmla="*/ 2147483647 h 884"/>
                <a:gd name="T60" fmla="*/ 2147483647 w 3632"/>
                <a:gd name="T61" fmla="*/ 2147483647 h 884"/>
                <a:gd name="T62" fmla="*/ 2147483647 w 3632"/>
                <a:gd name="T63" fmla="*/ 2147483647 h 884"/>
                <a:gd name="T64" fmla="*/ 2147483647 w 3632"/>
                <a:gd name="T65" fmla="*/ 2147483647 h 884"/>
                <a:gd name="T66" fmla="*/ 2147483647 w 3632"/>
                <a:gd name="T67" fmla="*/ 2147483647 h 884"/>
                <a:gd name="T68" fmla="*/ 2147483647 w 3632"/>
                <a:gd name="T69" fmla="*/ 2147483647 h 884"/>
                <a:gd name="T70" fmla="*/ 2147483647 w 3632"/>
                <a:gd name="T71" fmla="*/ 2147483647 h 884"/>
                <a:gd name="T72" fmla="*/ 2147483647 w 3632"/>
                <a:gd name="T73" fmla="*/ 2147483647 h 884"/>
                <a:gd name="T74" fmla="*/ 2147483647 w 3632"/>
                <a:gd name="T75" fmla="*/ 2147483647 h 884"/>
                <a:gd name="T76" fmla="*/ 2147483647 w 3632"/>
                <a:gd name="T77" fmla="*/ 2147483647 h 884"/>
                <a:gd name="T78" fmla="*/ 2147483647 w 3632"/>
                <a:gd name="T79" fmla="*/ 2147483647 h 884"/>
                <a:gd name="T80" fmla="*/ 2147483647 w 3632"/>
                <a:gd name="T81" fmla="*/ 2147483647 h 884"/>
                <a:gd name="T82" fmla="*/ 2147483647 w 3632"/>
                <a:gd name="T83" fmla="*/ 2147483647 h 884"/>
                <a:gd name="T84" fmla="*/ 2147483647 w 3632"/>
                <a:gd name="T85" fmla="*/ 2147483647 h 8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32"/>
                <a:gd name="T130" fmla="*/ 0 h 884"/>
                <a:gd name="T131" fmla="*/ 3632 w 3632"/>
                <a:gd name="T132" fmla="*/ 884 h 8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32" h="884">
                  <a:moveTo>
                    <a:pt x="0" y="883"/>
                  </a:moveTo>
                  <a:cubicBezTo>
                    <a:pt x="12" y="883"/>
                    <a:pt x="52" y="884"/>
                    <a:pt x="76" y="882"/>
                  </a:cubicBezTo>
                  <a:cubicBezTo>
                    <a:pt x="100" y="880"/>
                    <a:pt x="120" y="875"/>
                    <a:pt x="147" y="872"/>
                  </a:cubicBezTo>
                  <a:cubicBezTo>
                    <a:pt x="173" y="868"/>
                    <a:pt x="202" y="863"/>
                    <a:pt x="237" y="862"/>
                  </a:cubicBezTo>
                  <a:cubicBezTo>
                    <a:pt x="272" y="861"/>
                    <a:pt x="322" y="864"/>
                    <a:pt x="355" y="864"/>
                  </a:cubicBezTo>
                  <a:cubicBezTo>
                    <a:pt x="388" y="864"/>
                    <a:pt x="412" y="863"/>
                    <a:pt x="432" y="863"/>
                  </a:cubicBezTo>
                  <a:cubicBezTo>
                    <a:pt x="452" y="863"/>
                    <a:pt x="460" y="863"/>
                    <a:pt x="477" y="862"/>
                  </a:cubicBezTo>
                  <a:cubicBezTo>
                    <a:pt x="494" y="861"/>
                    <a:pt x="516" y="858"/>
                    <a:pt x="535" y="855"/>
                  </a:cubicBezTo>
                  <a:cubicBezTo>
                    <a:pt x="554" y="852"/>
                    <a:pt x="568" y="848"/>
                    <a:pt x="589" y="844"/>
                  </a:cubicBezTo>
                  <a:cubicBezTo>
                    <a:pt x="610" y="840"/>
                    <a:pt x="642" y="837"/>
                    <a:pt x="663" y="832"/>
                  </a:cubicBezTo>
                  <a:cubicBezTo>
                    <a:pt x="684" y="827"/>
                    <a:pt x="697" y="821"/>
                    <a:pt x="715" y="814"/>
                  </a:cubicBezTo>
                  <a:cubicBezTo>
                    <a:pt x="733" y="807"/>
                    <a:pt x="753" y="801"/>
                    <a:pt x="773" y="792"/>
                  </a:cubicBezTo>
                  <a:cubicBezTo>
                    <a:pt x="793" y="783"/>
                    <a:pt x="812" y="771"/>
                    <a:pt x="837" y="759"/>
                  </a:cubicBezTo>
                  <a:cubicBezTo>
                    <a:pt x="862" y="746"/>
                    <a:pt x="903" y="731"/>
                    <a:pt x="924" y="718"/>
                  </a:cubicBezTo>
                  <a:cubicBezTo>
                    <a:pt x="945" y="705"/>
                    <a:pt x="950" y="695"/>
                    <a:pt x="963" y="682"/>
                  </a:cubicBezTo>
                  <a:cubicBezTo>
                    <a:pt x="976" y="669"/>
                    <a:pt x="991" y="655"/>
                    <a:pt x="1003" y="639"/>
                  </a:cubicBezTo>
                  <a:cubicBezTo>
                    <a:pt x="1015" y="623"/>
                    <a:pt x="1028" y="601"/>
                    <a:pt x="1038" y="585"/>
                  </a:cubicBezTo>
                  <a:cubicBezTo>
                    <a:pt x="1048" y="569"/>
                    <a:pt x="1051" y="552"/>
                    <a:pt x="1062" y="540"/>
                  </a:cubicBezTo>
                  <a:cubicBezTo>
                    <a:pt x="1073" y="527"/>
                    <a:pt x="1080" y="523"/>
                    <a:pt x="1102" y="510"/>
                  </a:cubicBezTo>
                  <a:cubicBezTo>
                    <a:pt x="1124" y="496"/>
                    <a:pt x="1170" y="470"/>
                    <a:pt x="1193" y="458"/>
                  </a:cubicBezTo>
                  <a:cubicBezTo>
                    <a:pt x="1216" y="446"/>
                    <a:pt x="1215" y="448"/>
                    <a:pt x="1239" y="438"/>
                  </a:cubicBezTo>
                  <a:cubicBezTo>
                    <a:pt x="1263" y="427"/>
                    <a:pt x="1312" y="407"/>
                    <a:pt x="1339" y="396"/>
                  </a:cubicBezTo>
                  <a:cubicBezTo>
                    <a:pt x="1367" y="386"/>
                    <a:pt x="1379" y="379"/>
                    <a:pt x="1404" y="371"/>
                  </a:cubicBezTo>
                  <a:cubicBezTo>
                    <a:pt x="1429" y="362"/>
                    <a:pt x="1457" y="354"/>
                    <a:pt x="1490" y="345"/>
                  </a:cubicBezTo>
                  <a:cubicBezTo>
                    <a:pt x="1523" y="337"/>
                    <a:pt x="1571" y="327"/>
                    <a:pt x="1602" y="323"/>
                  </a:cubicBezTo>
                  <a:cubicBezTo>
                    <a:pt x="1634" y="318"/>
                    <a:pt x="1655" y="316"/>
                    <a:pt x="1680" y="316"/>
                  </a:cubicBezTo>
                  <a:cubicBezTo>
                    <a:pt x="1706" y="317"/>
                    <a:pt x="1733" y="322"/>
                    <a:pt x="1757" y="327"/>
                  </a:cubicBezTo>
                  <a:cubicBezTo>
                    <a:pt x="1781" y="332"/>
                    <a:pt x="1804" y="339"/>
                    <a:pt x="1827" y="345"/>
                  </a:cubicBezTo>
                  <a:cubicBezTo>
                    <a:pt x="1850" y="351"/>
                    <a:pt x="1876" y="357"/>
                    <a:pt x="1895" y="360"/>
                  </a:cubicBezTo>
                  <a:cubicBezTo>
                    <a:pt x="1915" y="363"/>
                    <a:pt x="1929" y="365"/>
                    <a:pt x="1946" y="364"/>
                  </a:cubicBezTo>
                  <a:cubicBezTo>
                    <a:pt x="1962" y="362"/>
                    <a:pt x="1980" y="355"/>
                    <a:pt x="1995" y="347"/>
                  </a:cubicBezTo>
                  <a:cubicBezTo>
                    <a:pt x="2010" y="339"/>
                    <a:pt x="2021" y="328"/>
                    <a:pt x="2035" y="317"/>
                  </a:cubicBezTo>
                  <a:cubicBezTo>
                    <a:pt x="2049" y="306"/>
                    <a:pt x="2051" y="296"/>
                    <a:pt x="2078" y="281"/>
                  </a:cubicBezTo>
                  <a:cubicBezTo>
                    <a:pt x="2105" y="266"/>
                    <a:pt x="2165" y="245"/>
                    <a:pt x="2196" y="225"/>
                  </a:cubicBezTo>
                  <a:cubicBezTo>
                    <a:pt x="2227" y="205"/>
                    <a:pt x="2242" y="182"/>
                    <a:pt x="2262" y="161"/>
                  </a:cubicBezTo>
                  <a:cubicBezTo>
                    <a:pt x="2282" y="140"/>
                    <a:pt x="2286" y="119"/>
                    <a:pt x="2314" y="96"/>
                  </a:cubicBezTo>
                  <a:cubicBezTo>
                    <a:pt x="2342" y="73"/>
                    <a:pt x="2349" y="34"/>
                    <a:pt x="2428" y="22"/>
                  </a:cubicBezTo>
                  <a:cubicBezTo>
                    <a:pt x="2507" y="10"/>
                    <a:pt x="2682" y="0"/>
                    <a:pt x="2788" y="25"/>
                  </a:cubicBezTo>
                  <a:cubicBezTo>
                    <a:pt x="2894" y="50"/>
                    <a:pt x="2976" y="120"/>
                    <a:pt x="3063" y="175"/>
                  </a:cubicBezTo>
                  <a:cubicBezTo>
                    <a:pt x="3150" y="230"/>
                    <a:pt x="3244" y="319"/>
                    <a:pt x="3307" y="357"/>
                  </a:cubicBezTo>
                  <a:cubicBezTo>
                    <a:pt x="3370" y="395"/>
                    <a:pt x="3403" y="400"/>
                    <a:pt x="3442" y="405"/>
                  </a:cubicBezTo>
                  <a:cubicBezTo>
                    <a:pt x="3481" y="410"/>
                    <a:pt x="3509" y="402"/>
                    <a:pt x="3541" y="387"/>
                  </a:cubicBezTo>
                  <a:cubicBezTo>
                    <a:pt x="3573" y="372"/>
                    <a:pt x="3613" y="329"/>
                    <a:pt x="3632" y="313"/>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241" name="Text Box 1362"/>
            <p:cNvSpPr txBox="1">
              <a:spLocks noChangeArrowheads="1"/>
            </p:cNvSpPr>
            <p:nvPr/>
          </p:nvSpPr>
          <p:spPr bwMode="auto">
            <a:xfrm>
              <a:off x="2819400" y="5153103"/>
              <a:ext cx="165100"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4 </a:t>
              </a:r>
            </a:p>
          </p:txBody>
        </p:sp>
        <p:sp>
          <p:nvSpPr>
            <p:cNvPr id="242" name="Freeform 1364"/>
            <p:cNvSpPr>
              <a:spLocks/>
            </p:cNvSpPr>
            <p:nvPr/>
          </p:nvSpPr>
          <p:spPr bwMode="auto">
            <a:xfrm rot="-2890898">
              <a:off x="2933700" y="448159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43" name="Freeform 1365"/>
            <p:cNvSpPr>
              <a:spLocks/>
            </p:cNvSpPr>
            <p:nvPr/>
          </p:nvSpPr>
          <p:spPr bwMode="auto">
            <a:xfrm rot="-2890898">
              <a:off x="2944813" y="450064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44" name="Freeform 1366"/>
            <p:cNvSpPr>
              <a:spLocks/>
            </p:cNvSpPr>
            <p:nvPr/>
          </p:nvSpPr>
          <p:spPr bwMode="auto">
            <a:xfrm rot="-3092900">
              <a:off x="2957513" y="452127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45" name="Freeform 1367"/>
            <p:cNvSpPr>
              <a:spLocks/>
            </p:cNvSpPr>
            <p:nvPr/>
          </p:nvSpPr>
          <p:spPr bwMode="auto">
            <a:xfrm rot="-3294873">
              <a:off x="2971800" y="454032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46" name="Freeform 1368"/>
            <p:cNvSpPr>
              <a:spLocks/>
            </p:cNvSpPr>
            <p:nvPr/>
          </p:nvSpPr>
          <p:spPr bwMode="auto">
            <a:xfrm rot="-3294873">
              <a:off x="2986088" y="4557791"/>
              <a:ext cx="28575"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47" name="Freeform 1369"/>
            <p:cNvSpPr>
              <a:spLocks/>
            </p:cNvSpPr>
            <p:nvPr/>
          </p:nvSpPr>
          <p:spPr bwMode="auto">
            <a:xfrm rot="-3294873">
              <a:off x="3000375" y="457842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48" name="Freeform 1370"/>
            <p:cNvSpPr>
              <a:spLocks/>
            </p:cNvSpPr>
            <p:nvPr/>
          </p:nvSpPr>
          <p:spPr bwMode="auto">
            <a:xfrm rot="-3294873">
              <a:off x="3014663" y="4600653"/>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49" name="Freeform 1371"/>
            <p:cNvSpPr>
              <a:spLocks/>
            </p:cNvSpPr>
            <p:nvPr/>
          </p:nvSpPr>
          <p:spPr bwMode="auto">
            <a:xfrm rot="-3294873">
              <a:off x="3028950" y="462287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0" name="Freeform 1372"/>
            <p:cNvSpPr>
              <a:spLocks/>
            </p:cNvSpPr>
            <p:nvPr/>
          </p:nvSpPr>
          <p:spPr bwMode="auto">
            <a:xfrm rot="-3294873">
              <a:off x="3041650" y="464351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1" name="Freeform 1373"/>
            <p:cNvSpPr>
              <a:spLocks/>
            </p:cNvSpPr>
            <p:nvPr/>
          </p:nvSpPr>
          <p:spPr bwMode="auto">
            <a:xfrm rot="-3294873">
              <a:off x="3060700" y="466574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2" name="Freeform 1374"/>
            <p:cNvSpPr>
              <a:spLocks/>
            </p:cNvSpPr>
            <p:nvPr/>
          </p:nvSpPr>
          <p:spPr bwMode="auto">
            <a:xfrm rot="-3294873">
              <a:off x="3076575" y="4689553"/>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3" name="Freeform 1375"/>
            <p:cNvSpPr>
              <a:spLocks/>
            </p:cNvSpPr>
            <p:nvPr/>
          </p:nvSpPr>
          <p:spPr bwMode="auto">
            <a:xfrm rot="-3294873">
              <a:off x="3090863" y="4711778"/>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4" name="Freeform 1376"/>
            <p:cNvSpPr>
              <a:spLocks/>
            </p:cNvSpPr>
            <p:nvPr/>
          </p:nvSpPr>
          <p:spPr bwMode="auto">
            <a:xfrm rot="-3294873">
              <a:off x="3106738" y="4737178"/>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5" name="Freeform 1377"/>
            <p:cNvSpPr>
              <a:spLocks/>
            </p:cNvSpPr>
            <p:nvPr/>
          </p:nvSpPr>
          <p:spPr bwMode="auto">
            <a:xfrm rot="-3294873">
              <a:off x="3124200" y="476257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6" name="Freeform 1378"/>
            <p:cNvSpPr>
              <a:spLocks/>
            </p:cNvSpPr>
            <p:nvPr/>
          </p:nvSpPr>
          <p:spPr bwMode="auto">
            <a:xfrm rot="-3294873">
              <a:off x="3140075" y="478797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7" name="Freeform 1379"/>
            <p:cNvSpPr>
              <a:spLocks/>
            </p:cNvSpPr>
            <p:nvPr/>
          </p:nvSpPr>
          <p:spPr bwMode="auto">
            <a:xfrm rot="-3294873">
              <a:off x="3155950" y="4811791"/>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8" name="Freeform 1380"/>
            <p:cNvSpPr>
              <a:spLocks/>
            </p:cNvSpPr>
            <p:nvPr/>
          </p:nvSpPr>
          <p:spPr bwMode="auto">
            <a:xfrm rot="-3294873">
              <a:off x="3173413" y="483719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59" name="Freeform 1381"/>
            <p:cNvSpPr>
              <a:spLocks/>
            </p:cNvSpPr>
            <p:nvPr/>
          </p:nvSpPr>
          <p:spPr bwMode="auto">
            <a:xfrm rot="-3294873">
              <a:off x="3189288" y="486259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0" name="Freeform 1382"/>
            <p:cNvSpPr>
              <a:spLocks/>
            </p:cNvSpPr>
            <p:nvPr/>
          </p:nvSpPr>
          <p:spPr bwMode="auto">
            <a:xfrm rot="-3294873">
              <a:off x="3205163" y="488799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1" name="Freeform 1383"/>
            <p:cNvSpPr>
              <a:spLocks/>
            </p:cNvSpPr>
            <p:nvPr/>
          </p:nvSpPr>
          <p:spPr bwMode="auto">
            <a:xfrm rot="-3294873">
              <a:off x="3221038" y="491180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2" name="Freeform 1384"/>
            <p:cNvSpPr>
              <a:spLocks/>
            </p:cNvSpPr>
            <p:nvPr/>
          </p:nvSpPr>
          <p:spPr bwMode="auto">
            <a:xfrm rot="-3294873">
              <a:off x="3238500" y="4937203"/>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3" name="Freeform 1385"/>
            <p:cNvSpPr>
              <a:spLocks/>
            </p:cNvSpPr>
            <p:nvPr/>
          </p:nvSpPr>
          <p:spPr bwMode="auto">
            <a:xfrm rot="-3294873">
              <a:off x="3252788" y="4957841"/>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4" name="Freeform 1386"/>
            <p:cNvSpPr>
              <a:spLocks/>
            </p:cNvSpPr>
            <p:nvPr/>
          </p:nvSpPr>
          <p:spPr bwMode="auto">
            <a:xfrm rot="-3294873">
              <a:off x="3265488" y="4975303"/>
              <a:ext cx="28575"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5" name="Freeform 1387"/>
            <p:cNvSpPr>
              <a:spLocks/>
            </p:cNvSpPr>
            <p:nvPr/>
          </p:nvSpPr>
          <p:spPr bwMode="auto">
            <a:xfrm rot="-3294873">
              <a:off x="3297238" y="5018166"/>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6" name="Freeform 1388"/>
            <p:cNvSpPr>
              <a:spLocks/>
            </p:cNvSpPr>
            <p:nvPr/>
          </p:nvSpPr>
          <p:spPr bwMode="auto">
            <a:xfrm rot="-4712637">
              <a:off x="3313113" y="503721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7" name="Freeform 1389"/>
            <p:cNvSpPr>
              <a:spLocks/>
            </p:cNvSpPr>
            <p:nvPr/>
          </p:nvSpPr>
          <p:spPr bwMode="auto">
            <a:xfrm rot="-4712637">
              <a:off x="3335338" y="5048328"/>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8" name="Freeform 1390"/>
            <p:cNvSpPr>
              <a:spLocks/>
            </p:cNvSpPr>
            <p:nvPr/>
          </p:nvSpPr>
          <p:spPr bwMode="auto">
            <a:xfrm rot="-5400000">
              <a:off x="3359150" y="5057853"/>
              <a:ext cx="28575"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69" name="Freeform 1391"/>
            <p:cNvSpPr>
              <a:spLocks/>
            </p:cNvSpPr>
            <p:nvPr/>
          </p:nvSpPr>
          <p:spPr bwMode="auto">
            <a:xfrm rot="-5802590">
              <a:off x="3381375" y="5067378"/>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0" name="Freeform 1392"/>
            <p:cNvSpPr>
              <a:spLocks/>
            </p:cNvSpPr>
            <p:nvPr/>
          </p:nvSpPr>
          <p:spPr bwMode="auto">
            <a:xfrm rot="-7035953">
              <a:off x="3406775" y="5070553"/>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1" name="Freeform 1393"/>
            <p:cNvSpPr>
              <a:spLocks/>
            </p:cNvSpPr>
            <p:nvPr/>
          </p:nvSpPr>
          <p:spPr bwMode="auto">
            <a:xfrm rot="-7830385">
              <a:off x="3433763" y="506579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2" name="Freeform 1394"/>
            <p:cNvSpPr>
              <a:spLocks/>
            </p:cNvSpPr>
            <p:nvPr/>
          </p:nvSpPr>
          <p:spPr bwMode="auto">
            <a:xfrm rot="-7830385">
              <a:off x="3459163" y="505467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3" name="Freeform 1395"/>
            <p:cNvSpPr>
              <a:spLocks/>
            </p:cNvSpPr>
            <p:nvPr/>
          </p:nvSpPr>
          <p:spPr bwMode="auto">
            <a:xfrm rot="-7830385">
              <a:off x="3481388" y="5043566"/>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4" name="Freeform 1396"/>
            <p:cNvSpPr>
              <a:spLocks/>
            </p:cNvSpPr>
            <p:nvPr/>
          </p:nvSpPr>
          <p:spPr bwMode="auto">
            <a:xfrm rot="-8032372">
              <a:off x="3503613" y="5034041"/>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5" name="Freeform 1397"/>
            <p:cNvSpPr>
              <a:spLocks/>
            </p:cNvSpPr>
            <p:nvPr/>
          </p:nvSpPr>
          <p:spPr bwMode="auto">
            <a:xfrm rot="-8032372">
              <a:off x="3529013" y="502134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6" name="Freeform 1398"/>
            <p:cNvSpPr>
              <a:spLocks/>
            </p:cNvSpPr>
            <p:nvPr/>
          </p:nvSpPr>
          <p:spPr bwMode="auto">
            <a:xfrm rot="-8032372">
              <a:off x="3549650" y="500864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7" name="Freeform 1399"/>
            <p:cNvSpPr>
              <a:spLocks/>
            </p:cNvSpPr>
            <p:nvPr/>
          </p:nvSpPr>
          <p:spPr bwMode="auto">
            <a:xfrm rot="-8234359">
              <a:off x="3571875" y="499435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8" name="Freeform 1400"/>
            <p:cNvSpPr>
              <a:spLocks/>
            </p:cNvSpPr>
            <p:nvPr/>
          </p:nvSpPr>
          <p:spPr bwMode="auto">
            <a:xfrm rot="-8234359">
              <a:off x="3594100" y="4981653"/>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79" name="Freeform 1401"/>
            <p:cNvSpPr>
              <a:spLocks/>
            </p:cNvSpPr>
            <p:nvPr/>
          </p:nvSpPr>
          <p:spPr bwMode="auto">
            <a:xfrm rot="-8234359">
              <a:off x="3619500" y="4968953"/>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0" name="Freeform 1402"/>
            <p:cNvSpPr>
              <a:spLocks/>
            </p:cNvSpPr>
            <p:nvPr/>
          </p:nvSpPr>
          <p:spPr bwMode="auto">
            <a:xfrm rot="-8234359">
              <a:off x="3643313" y="495466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1" name="Freeform 1403"/>
            <p:cNvSpPr>
              <a:spLocks/>
            </p:cNvSpPr>
            <p:nvPr/>
          </p:nvSpPr>
          <p:spPr bwMode="auto">
            <a:xfrm rot="-8234359">
              <a:off x="3667125" y="4940378"/>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2" name="Freeform 1404"/>
            <p:cNvSpPr>
              <a:spLocks/>
            </p:cNvSpPr>
            <p:nvPr/>
          </p:nvSpPr>
          <p:spPr bwMode="auto">
            <a:xfrm rot="-8234359">
              <a:off x="3686175" y="4927678"/>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3" name="Freeform 1405"/>
            <p:cNvSpPr>
              <a:spLocks/>
            </p:cNvSpPr>
            <p:nvPr/>
          </p:nvSpPr>
          <p:spPr bwMode="auto">
            <a:xfrm rot="-8234359">
              <a:off x="3705225" y="491656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4" name="Freeform 1406"/>
            <p:cNvSpPr>
              <a:spLocks/>
            </p:cNvSpPr>
            <p:nvPr/>
          </p:nvSpPr>
          <p:spPr bwMode="auto">
            <a:xfrm rot="-8234359">
              <a:off x="3724275" y="490545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5" name="Freeform 1407"/>
            <p:cNvSpPr>
              <a:spLocks/>
            </p:cNvSpPr>
            <p:nvPr/>
          </p:nvSpPr>
          <p:spPr bwMode="auto">
            <a:xfrm rot="-8234359">
              <a:off x="3743325" y="489275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6" name="Freeform 1408"/>
            <p:cNvSpPr>
              <a:spLocks/>
            </p:cNvSpPr>
            <p:nvPr/>
          </p:nvSpPr>
          <p:spPr bwMode="auto">
            <a:xfrm rot="-8234359">
              <a:off x="3763963" y="488164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7" name="Freeform 1409"/>
            <p:cNvSpPr>
              <a:spLocks/>
            </p:cNvSpPr>
            <p:nvPr/>
          </p:nvSpPr>
          <p:spPr bwMode="auto">
            <a:xfrm rot="-8463203">
              <a:off x="3784600" y="4870528"/>
              <a:ext cx="25400"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8" name="Freeform 1410"/>
            <p:cNvSpPr>
              <a:spLocks/>
            </p:cNvSpPr>
            <p:nvPr/>
          </p:nvSpPr>
          <p:spPr bwMode="auto">
            <a:xfrm rot="-8209512">
              <a:off x="3806825" y="4856241"/>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89" name="Freeform 1411"/>
            <p:cNvSpPr>
              <a:spLocks/>
            </p:cNvSpPr>
            <p:nvPr/>
          </p:nvSpPr>
          <p:spPr bwMode="auto">
            <a:xfrm rot="-8209512">
              <a:off x="3829050" y="4841953"/>
              <a:ext cx="25400"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0" name="Freeform 1412"/>
            <p:cNvSpPr>
              <a:spLocks/>
            </p:cNvSpPr>
            <p:nvPr/>
          </p:nvSpPr>
          <p:spPr bwMode="auto">
            <a:xfrm rot="-8436346">
              <a:off x="3849688" y="4830841"/>
              <a:ext cx="25400"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1" name="Freeform 1413"/>
            <p:cNvSpPr>
              <a:spLocks/>
            </p:cNvSpPr>
            <p:nvPr/>
          </p:nvSpPr>
          <p:spPr bwMode="auto">
            <a:xfrm rot="-8436346">
              <a:off x="3868738" y="481655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2" name="Freeform 1414"/>
            <p:cNvSpPr>
              <a:spLocks/>
            </p:cNvSpPr>
            <p:nvPr/>
          </p:nvSpPr>
          <p:spPr bwMode="auto">
            <a:xfrm rot="-8436346">
              <a:off x="3889375" y="4803853"/>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3" name="Freeform 1415"/>
            <p:cNvSpPr>
              <a:spLocks/>
            </p:cNvSpPr>
            <p:nvPr/>
          </p:nvSpPr>
          <p:spPr bwMode="auto">
            <a:xfrm rot="-8436346">
              <a:off x="3908425" y="478956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4" name="Freeform 1416"/>
            <p:cNvSpPr>
              <a:spLocks/>
            </p:cNvSpPr>
            <p:nvPr/>
          </p:nvSpPr>
          <p:spPr bwMode="auto">
            <a:xfrm rot="-8436346">
              <a:off x="3927475" y="477686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5" name="Freeform 1417"/>
            <p:cNvSpPr>
              <a:spLocks/>
            </p:cNvSpPr>
            <p:nvPr/>
          </p:nvSpPr>
          <p:spPr bwMode="auto">
            <a:xfrm rot="-8436346">
              <a:off x="3946525" y="4764166"/>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6" name="Freeform 1418"/>
            <p:cNvSpPr>
              <a:spLocks/>
            </p:cNvSpPr>
            <p:nvPr/>
          </p:nvSpPr>
          <p:spPr bwMode="auto">
            <a:xfrm rot="-8436346">
              <a:off x="3968750" y="4749878"/>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7" name="Freeform 1419"/>
            <p:cNvSpPr>
              <a:spLocks/>
            </p:cNvSpPr>
            <p:nvPr/>
          </p:nvSpPr>
          <p:spPr bwMode="auto">
            <a:xfrm rot="-8436346">
              <a:off x="3989388" y="473717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8" name="Freeform 1420"/>
            <p:cNvSpPr>
              <a:spLocks/>
            </p:cNvSpPr>
            <p:nvPr/>
          </p:nvSpPr>
          <p:spPr bwMode="auto">
            <a:xfrm rot="-8436346">
              <a:off x="4010025" y="472130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299" name="Freeform 1421"/>
            <p:cNvSpPr>
              <a:spLocks/>
            </p:cNvSpPr>
            <p:nvPr/>
          </p:nvSpPr>
          <p:spPr bwMode="auto">
            <a:xfrm rot="-8436346">
              <a:off x="4030663" y="4708603"/>
              <a:ext cx="25400"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0" name="Freeform 1422"/>
            <p:cNvSpPr>
              <a:spLocks/>
            </p:cNvSpPr>
            <p:nvPr/>
          </p:nvSpPr>
          <p:spPr bwMode="auto">
            <a:xfrm rot="-8436346">
              <a:off x="4049713" y="469431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1" name="Freeform 1423"/>
            <p:cNvSpPr>
              <a:spLocks/>
            </p:cNvSpPr>
            <p:nvPr/>
          </p:nvSpPr>
          <p:spPr bwMode="auto">
            <a:xfrm rot="-8436346">
              <a:off x="4070350" y="468161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2" name="Freeform 1424"/>
            <p:cNvSpPr>
              <a:spLocks/>
            </p:cNvSpPr>
            <p:nvPr/>
          </p:nvSpPr>
          <p:spPr bwMode="auto">
            <a:xfrm rot="-8436346">
              <a:off x="4090988" y="466732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3" name="Freeform 1425"/>
            <p:cNvSpPr>
              <a:spLocks/>
            </p:cNvSpPr>
            <p:nvPr/>
          </p:nvSpPr>
          <p:spPr bwMode="auto">
            <a:xfrm rot="-8436346">
              <a:off x="4113213" y="465304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4" name="Freeform 1426"/>
            <p:cNvSpPr>
              <a:spLocks/>
            </p:cNvSpPr>
            <p:nvPr/>
          </p:nvSpPr>
          <p:spPr bwMode="auto">
            <a:xfrm rot="-8436346">
              <a:off x="4137025" y="463716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5" name="Freeform 1427"/>
            <p:cNvSpPr>
              <a:spLocks/>
            </p:cNvSpPr>
            <p:nvPr/>
          </p:nvSpPr>
          <p:spPr bwMode="auto">
            <a:xfrm rot="-9332231">
              <a:off x="4157663" y="4621291"/>
              <a:ext cx="25400"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6" name="Freeform 1428"/>
            <p:cNvSpPr>
              <a:spLocks/>
            </p:cNvSpPr>
            <p:nvPr/>
          </p:nvSpPr>
          <p:spPr bwMode="auto">
            <a:xfrm rot="-9787910">
              <a:off x="4170363" y="460065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7" name="Freeform 1429"/>
            <p:cNvSpPr>
              <a:spLocks/>
            </p:cNvSpPr>
            <p:nvPr/>
          </p:nvSpPr>
          <p:spPr bwMode="auto">
            <a:xfrm rot="10800000">
              <a:off x="4181475" y="4578428"/>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8" name="Freeform 1430"/>
            <p:cNvSpPr>
              <a:spLocks/>
            </p:cNvSpPr>
            <p:nvPr/>
          </p:nvSpPr>
          <p:spPr bwMode="auto">
            <a:xfrm rot="10121404">
              <a:off x="4187825" y="4553028"/>
              <a:ext cx="25400"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09" name="Freeform 1431"/>
            <p:cNvSpPr>
              <a:spLocks/>
            </p:cNvSpPr>
            <p:nvPr/>
          </p:nvSpPr>
          <p:spPr bwMode="auto">
            <a:xfrm rot="10577083">
              <a:off x="4191000" y="4526041"/>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0" name="Freeform 1432"/>
            <p:cNvSpPr>
              <a:spLocks/>
            </p:cNvSpPr>
            <p:nvPr/>
          </p:nvSpPr>
          <p:spPr bwMode="auto">
            <a:xfrm rot="10121404">
              <a:off x="4195763" y="450064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1" name="Freeform 1433"/>
            <p:cNvSpPr>
              <a:spLocks/>
            </p:cNvSpPr>
            <p:nvPr/>
          </p:nvSpPr>
          <p:spPr bwMode="auto">
            <a:xfrm rot="9892560">
              <a:off x="4197350" y="447206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2" name="Freeform 1434"/>
            <p:cNvSpPr>
              <a:spLocks/>
            </p:cNvSpPr>
            <p:nvPr/>
          </p:nvSpPr>
          <p:spPr bwMode="auto">
            <a:xfrm rot="9892560">
              <a:off x="4200525" y="4446666"/>
              <a:ext cx="25400"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3" name="Freeform 1435"/>
            <p:cNvSpPr>
              <a:spLocks/>
            </p:cNvSpPr>
            <p:nvPr/>
          </p:nvSpPr>
          <p:spPr bwMode="auto">
            <a:xfrm rot="9436880">
              <a:off x="4200525" y="442285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4" name="Freeform 1436"/>
            <p:cNvSpPr>
              <a:spLocks/>
            </p:cNvSpPr>
            <p:nvPr/>
          </p:nvSpPr>
          <p:spPr bwMode="auto">
            <a:xfrm rot="9436880">
              <a:off x="4198938" y="4399041"/>
              <a:ext cx="25400"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5" name="Freeform 1437"/>
            <p:cNvSpPr>
              <a:spLocks/>
            </p:cNvSpPr>
            <p:nvPr/>
          </p:nvSpPr>
          <p:spPr bwMode="auto">
            <a:xfrm rot="9208036">
              <a:off x="4192588" y="4373641"/>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6" name="Freeform 1438"/>
            <p:cNvSpPr>
              <a:spLocks/>
            </p:cNvSpPr>
            <p:nvPr/>
          </p:nvSpPr>
          <p:spPr bwMode="auto">
            <a:xfrm rot="9208036">
              <a:off x="4187825" y="4349828"/>
              <a:ext cx="25400"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7" name="Freeform 1439"/>
            <p:cNvSpPr>
              <a:spLocks/>
            </p:cNvSpPr>
            <p:nvPr/>
          </p:nvSpPr>
          <p:spPr bwMode="auto">
            <a:xfrm rot="8101939">
              <a:off x="4179888" y="4330778"/>
              <a:ext cx="25400"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8" name="Freeform 1440"/>
            <p:cNvSpPr>
              <a:spLocks/>
            </p:cNvSpPr>
            <p:nvPr/>
          </p:nvSpPr>
          <p:spPr bwMode="auto">
            <a:xfrm rot="6967664">
              <a:off x="4167188" y="4310141"/>
              <a:ext cx="28575"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19" name="Freeform 1441"/>
            <p:cNvSpPr>
              <a:spLocks/>
            </p:cNvSpPr>
            <p:nvPr/>
          </p:nvSpPr>
          <p:spPr bwMode="auto">
            <a:xfrm rot="6967664">
              <a:off x="4149725" y="428950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20" name="Freeform 1442"/>
            <p:cNvSpPr>
              <a:spLocks/>
            </p:cNvSpPr>
            <p:nvPr/>
          </p:nvSpPr>
          <p:spPr bwMode="auto">
            <a:xfrm rot="6967664">
              <a:off x="4133850" y="4268866"/>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21" name="Freeform 1443"/>
            <p:cNvSpPr>
              <a:spLocks/>
            </p:cNvSpPr>
            <p:nvPr/>
          </p:nvSpPr>
          <p:spPr bwMode="auto">
            <a:xfrm rot="6289068">
              <a:off x="4111625" y="4249816"/>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22" name="Freeform 1444"/>
            <p:cNvSpPr>
              <a:spLocks/>
            </p:cNvSpPr>
            <p:nvPr/>
          </p:nvSpPr>
          <p:spPr bwMode="auto">
            <a:xfrm rot="6289068">
              <a:off x="4094163" y="4235528"/>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23" name="Freeform 1445"/>
            <p:cNvSpPr>
              <a:spLocks/>
            </p:cNvSpPr>
            <p:nvPr/>
          </p:nvSpPr>
          <p:spPr bwMode="auto">
            <a:xfrm rot="6060223">
              <a:off x="4071938" y="422124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24" name="Freeform 1446"/>
            <p:cNvSpPr>
              <a:spLocks/>
            </p:cNvSpPr>
            <p:nvPr/>
          </p:nvSpPr>
          <p:spPr bwMode="auto">
            <a:xfrm rot="6060223">
              <a:off x="4051300" y="420695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25" name="Freeform 1447"/>
            <p:cNvSpPr>
              <a:spLocks/>
            </p:cNvSpPr>
            <p:nvPr/>
          </p:nvSpPr>
          <p:spPr bwMode="auto">
            <a:xfrm rot="6060223">
              <a:off x="4032250" y="4195841"/>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26" name="Freeform 1448"/>
            <p:cNvSpPr>
              <a:spLocks/>
            </p:cNvSpPr>
            <p:nvPr/>
          </p:nvSpPr>
          <p:spPr bwMode="auto">
            <a:xfrm rot="6060223">
              <a:off x="4008438" y="4183141"/>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27" name="Text Box 1457"/>
            <p:cNvSpPr txBox="1">
              <a:spLocks noChangeArrowheads="1"/>
            </p:cNvSpPr>
            <p:nvPr/>
          </p:nvSpPr>
          <p:spPr bwMode="auto">
            <a:xfrm>
              <a:off x="2289175" y="4367291"/>
              <a:ext cx="32861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Hambach</a:t>
              </a:r>
            </a:p>
          </p:txBody>
        </p:sp>
        <p:sp>
          <p:nvSpPr>
            <p:cNvPr id="328" name="Text Box 1458"/>
            <p:cNvSpPr txBox="1">
              <a:spLocks noChangeArrowheads="1"/>
            </p:cNvSpPr>
            <p:nvPr/>
          </p:nvSpPr>
          <p:spPr bwMode="auto">
            <a:xfrm>
              <a:off x="2414588" y="4519691"/>
              <a:ext cx="35083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Niederzier</a:t>
              </a:r>
            </a:p>
          </p:txBody>
        </p:sp>
        <p:sp>
          <p:nvSpPr>
            <p:cNvPr id="329" name="Text Box 1459"/>
            <p:cNvSpPr txBox="1">
              <a:spLocks noChangeArrowheads="1"/>
            </p:cNvSpPr>
            <p:nvPr/>
          </p:nvSpPr>
          <p:spPr bwMode="auto">
            <a:xfrm>
              <a:off x="3889375" y="5051503"/>
              <a:ext cx="1365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Buir</a:t>
              </a:r>
            </a:p>
          </p:txBody>
        </p:sp>
        <p:sp>
          <p:nvSpPr>
            <p:cNvPr id="330" name="Text Box 1460"/>
            <p:cNvSpPr txBox="1">
              <a:spLocks noChangeArrowheads="1"/>
            </p:cNvSpPr>
            <p:nvPr/>
          </p:nvSpPr>
          <p:spPr bwMode="auto">
            <a:xfrm>
              <a:off x="3822700" y="3873578"/>
              <a:ext cx="2381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Elsdorf</a:t>
              </a:r>
            </a:p>
          </p:txBody>
        </p:sp>
        <p:sp>
          <p:nvSpPr>
            <p:cNvPr id="331" name="Text Box 1461"/>
            <p:cNvSpPr txBox="1">
              <a:spLocks noChangeArrowheads="1"/>
            </p:cNvSpPr>
            <p:nvPr/>
          </p:nvSpPr>
          <p:spPr bwMode="auto">
            <a:xfrm>
              <a:off x="4421188" y="5011816"/>
              <a:ext cx="3365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Blatzheim</a:t>
              </a:r>
            </a:p>
          </p:txBody>
        </p:sp>
        <p:sp>
          <p:nvSpPr>
            <p:cNvPr id="332" name="Text Box 1462"/>
            <p:cNvSpPr txBox="1">
              <a:spLocks noChangeArrowheads="1"/>
            </p:cNvSpPr>
            <p:nvPr/>
          </p:nvSpPr>
          <p:spPr bwMode="auto">
            <a:xfrm>
              <a:off x="4325938" y="3640216"/>
              <a:ext cx="269875"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500">
                  <a:solidFill>
                    <a:srgbClr val="000000"/>
                  </a:solidFill>
                </a:rPr>
                <a:t>Bergheim</a:t>
              </a:r>
            </a:p>
          </p:txBody>
        </p:sp>
        <p:sp>
          <p:nvSpPr>
            <p:cNvPr id="333" name="Freeform 1463"/>
            <p:cNvSpPr>
              <a:spLocks/>
            </p:cNvSpPr>
            <p:nvPr/>
          </p:nvSpPr>
          <p:spPr bwMode="auto">
            <a:xfrm>
              <a:off x="4608513" y="4121228"/>
              <a:ext cx="220663" cy="338138"/>
            </a:xfrm>
            <a:custGeom>
              <a:avLst/>
              <a:gdLst>
                <a:gd name="T0" fmla="*/ 2147483647 w 298"/>
                <a:gd name="T1" fmla="*/ 2147483647 h 447"/>
                <a:gd name="T2" fmla="*/ 2147483647 w 298"/>
                <a:gd name="T3" fmla="*/ 2147483647 h 447"/>
                <a:gd name="T4" fmla="*/ 2147483647 w 298"/>
                <a:gd name="T5" fmla="*/ 2147483647 h 447"/>
                <a:gd name="T6" fmla="*/ 2147483647 w 298"/>
                <a:gd name="T7" fmla="*/ 2147483647 h 447"/>
                <a:gd name="T8" fmla="*/ 2147483647 w 298"/>
                <a:gd name="T9" fmla="*/ 2147483647 h 447"/>
                <a:gd name="T10" fmla="*/ 2147483647 w 298"/>
                <a:gd name="T11" fmla="*/ 2147483647 h 447"/>
                <a:gd name="T12" fmla="*/ 2147483647 w 298"/>
                <a:gd name="T13" fmla="*/ 2147483647 h 447"/>
                <a:gd name="T14" fmla="*/ 2147483647 w 298"/>
                <a:gd name="T15" fmla="*/ 2147483647 h 447"/>
                <a:gd name="T16" fmla="*/ 2147483647 w 298"/>
                <a:gd name="T17" fmla="*/ 2147483647 h 447"/>
                <a:gd name="T18" fmla="*/ 2147483647 w 298"/>
                <a:gd name="T19" fmla="*/ 2147483647 h 447"/>
                <a:gd name="T20" fmla="*/ 2147483647 w 298"/>
                <a:gd name="T21" fmla="*/ 2147483647 h 447"/>
                <a:gd name="T22" fmla="*/ 2147483647 w 298"/>
                <a:gd name="T23" fmla="*/ 2147483647 h 447"/>
                <a:gd name="T24" fmla="*/ 2147483647 w 298"/>
                <a:gd name="T25" fmla="*/ 2147483647 h 447"/>
                <a:gd name="T26" fmla="*/ 2147483647 w 298"/>
                <a:gd name="T27" fmla="*/ 2147483647 h 447"/>
                <a:gd name="T28" fmla="*/ 2147483647 w 298"/>
                <a:gd name="T29" fmla="*/ 2147483647 h 447"/>
                <a:gd name="T30" fmla="*/ 2147483647 w 298"/>
                <a:gd name="T31" fmla="*/ 2147483647 h 447"/>
                <a:gd name="T32" fmla="*/ 2147483647 w 298"/>
                <a:gd name="T33" fmla="*/ 2147483647 h 447"/>
                <a:gd name="T34" fmla="*/ 2147483647 w 298"/>
                <a:gd name="T35" fmla="*/ 2147483647 h 447"/>
                <a:gd name="T36" fmla="*/ 2147483647 w 298"/>
                <a:gd name="T37" fmla="*/ 2147483647 h 447"/>
                <a:gd name="T38" fmla="*/ 0 w 298"/>
                <a:gd name="T39" fmla="*/ 2147483647 h 447"/>
                <a:gd name="T40" fmla="*/ 2147483647 w 298"/>
                <a:gd name="T41" fmla="*/ 2147483647 h 447"/>
                <a:gd name="T42" fmla="*/ 2147483647 w 298"/>
                <a:gd name="T43" fmla="*/ 2147483647 h 447"/>
                <a:gd name="T44" fmla="*/ 2147483647 w 298"/>
                <a:gd name="T45" fmla="*/ 2147483647 h 447"/>
                <a:gd name="T46" fmla="*/ 2147483647 w 298"/>
                <a:gd name="T47" fmla="*/ 2147483647 h 447"/>
                <a:gd name="T48" fmla="*/ 2147483647 w 298"/>
                <a:gd name="T49" fmla="*/ 0 h 447"/>
                <a:gd name="T50" fmla="*/ 2147483647 w 298"/>
                <a:gd name="T51" fmla="*/ 2147483647 h 447"/>
                <a:gd name="T52" fmla="*/ 2147483647 w 298"/>
                <a:gd name="T53" fmla="*/ 2147483647 h 447"/>
                <a:gd name="T54" fmla="*/ 2147483647 w 298"/>
                <a:gd name="T55" fmla="*/ 2147483647 h 447"/>
                <a:gd name="T56" fmla="*/ 2147483647 w 298"/>
                <a:gd name="T57" fmla="*/ 2147483647 h 447"/>
                <a:gd name="T58" fmla="*/ 2147483647 w 298"/>
                <a:gd name="T59" fmla="*/ 2147483647 h 447"/>
                <a:gd name="T60" fmla="*/ 2147483647 w 298"/>
                <a:gd name="T61" fmla="*/ 2147483647 h 447"/>
                <a:gd name="T62" fmla="*/ 2147483647 w 298"/>
                <a:gd name="T63" fmla="*/ 2147483647 h 4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8"/>
                <a:gd name="T97" fmla="*/ 0 h 447"/>
                <a:gd name="T98" fmla="*/ 298 w 298"/>
                <a:gd name="T99" fmla="*/ 447 h 4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8" h="447">
                  <a:moveTo>
                    <a:pt x="276" y="129"/>
                  </a:moveTo>
                  <a:lnTo>
                    <a:pt x="279" y="210"/>
                  </a:lnTo>
                  <a:lnTo>
                    <a:pt x="265" y="233"/>
                  </a:lnTo>
                  <a:lnTo>
                    <a:pt x="258" y="344"/>
                  </a:lnTo>
                  <a:lnTo>
                    <a:pt x="298" y="377"/>
                  </a:lnTo>
                  <a:lnTo>
                    <a:pt x="274" y="395"/>
                  </a:lnTo>
                  <a:lnTo>
                    <a:pt x="243" y="365"/>
                  </a:lnTo>
                  <a:lnTo>
                    <a:pt x="234" y="369"/>
                  </a:lnTo>
                  <a:lnTo>
                    <a:pt x="258" y="434"/>
                  </a:lnTo>
                  <a:lnTo>
                    <a:pt x="243" y="447"/>
                  </a:lnTo>
                  <a:lnTo>
                    <a:pt x="225" y="423"/>
                  </a:lnTo>
                  <a:lnTo>
                    <a:pt x="157" y="413"/>
                  </a:lnTo>
                  <a:lnTo>
                    <a:pt x="139" y="389"/>
                  </a:lnTo>
                  <a:lnTo>
                    <a:pt x="94" y="357"/>
                  </a:lnTo>
                  <a:lnTo>
                    <a:pt x="60" y="377"/>
                  </a:lnTo>
                  <a:lnTo>
                    <a:pt x="37" y="353"/>
                  </a:lnTo>
                  <a:lnTo>
                    <a:pt x="85" y="303"/>
                  </a:lnTo>
                  <a:lnTo>
                    <a:pt x="63" y="303"/>
                  </a:lnTo>
                  <a:lnTo>
                    <a:pt x="51" y="269"/>
                  </a:lnTo>
                  <a:lnTo>
                    <a:pt x="0" y="243"/>
                  </a:lnTo>
                  <a:lnTo>
                    <a:pt x="64" y="230"/>
                  </a:lnTo>
                  <a:lnTo>
                    <a:pt x="27" y="135"/>
                  </a:lnTo>
                  <a:lnTo>
                    <a:pt x="84" y="110"/>
                  </a:lnTo>
                  <a:lnTo>
                    <a:pt x="88" y="72"/>
                  </a:lnTo>
                  <a:lnTo>
                    <a:pt x="178" y="0"/>
                  </a:lnTo>
                  <a:lnTo>
                    <a:pt x="198" y="21"/>
                  </a:lnTo>
                  <a:lnTo>
                    <a:pt x="157" y="59"/>
                  </a:lnTo>
                  <a:lnTo>
                    <a:pt x="166" y="81"/>
                  </a:lnTo>
                  <a:lnTo>
                    <a:pt x="201" y="59"/>
                  </a:lnTo>
                  <a:cubicBezTo>
                    <a:pt x="207" y="59"/>
                    <a:pt x="207" y="70"/>
                    <a:pt x="205" y="81"/>
                  </a:cubicBezTo>
                  <a:cubicBezTo>
                    <a:pt x="203" y="92"/>
                    <a:pt x="177" y="118"/>
                    <a:pt x="189" y="126"/>
                  </a:cubicBezTo>
                  <a:lnTo>
                    <a:pt x="276" y="129"/>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334" name="Text Box 1464"/>
            <p:cNvSpPr txBox="1">
              <a:spLocks noChangeArrowheads="1"/>
            </p:cNvSpPr>
            <p:nvPr/>
          </p:nvSpPr>
          <p:spPr bwMode="auto">
            <a:xfrm rot="1023428">
              <a:off x="2151063" y="5732541"/>
              <a:ext cx="704850"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700">
                  <a:solidFill>
                    <a:srgbClr val="000000"/>
                  </a:solidFill>
                </a:rPr>
                <a:t>DB Köln - Aachen</a:t>
              </a:r>
            </a:p>
          </p:txBody>
        </p:sp>
        <p:sp>
          <p:nvSpPr>
            <p:cNvPr id="335" name="Freeform 1469"/>
            <p:cNvSpPr>
              <a:spLocks/>
            </p:cNvSpPr>
            <p:nvPr/>
          </p:nvSpPr>
          <p:spPr bwMode="auto">
            <a:xfrm rot="7973819">
              <a:off x="4710113" y="3670378"/>
              <a:ext cx="26988" cy="2381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36" name="Text Box 1470"/>
            <p:cNvSpPr txBox="1">
              <a:spLocks noChangeArrowheads="1"/>
            </p:cNvSpPr>
            <p:nvPr/>
          </p:nvSpPr>
          <p:spPr bwMode="auto">
            <a:xfrm>
              <a:off x="3028981" y="4097598"/>
              <a:ext cx="6032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buClr>
                  <a:schemeClr val="accent1"/>
                </a:buClr>
                <a:buSzPct val="105000"/>
                <a:buFont typeface="Wingdings" pitchFamily="2" charset="2"/>
                <a:buNone/>
              </a:pPr>
              <a:r>
                <a:rPr lang="de-DE" altLang="de-DE" sz="700" b="1">
                  <a:solidFill>
                    <a:srgbClr val="FFFFFF"/>
                  </a:solidFill>
                </a:rPr>
                <a:t>Tagebau</a:t>
              </a:r>
            </a:p>
            <a:p>
              <a:pPr algn="ctr">
                <a:buClr>
                  <a:schemeClr val="accent1"/>
                </a:buClr>
                <a:buSzPct val="105000"/>
                <a:buFont typeface="Wingdings" pitchFamily="2" charset="2"/>
                <a:buNone/>
              </a:pPr>
              <a:r>
                <a:rPr lang="de-DE" altLang="de-DE" sz="700" b="1">
                  <a:solidFill>
                    <a:srgbClr val="FFFFFF"/>
                  </a:solidFill>
                </a:rPr>
                <a:t>Hambach</a:t>
              </a:r>
            </a:p>
          </p:txBody>
        </p:sp>
        <p:sp>
          <p:nvSpPr>
            <p:cNvPr id="337" name="Text Box 1471"/>
            <p:cNvSpPr txBox="1">
              <a:spLocks noChangeArrowheads="1"/>
            </p:cNvSpPr>
            <p:nvPr/>
          </p:nvSpPr>
          <p:spPr bwMode="auto">
            <a:xfrm>
              <a:off x="2513086" y="3824439"/>
              <a:ext cx="4794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buClr>
                  <a:schemeClr val="accent1"/>
                </a:buClr>
                <a:buSzPct val="105000"/>
                <a:buFont typeface="Wingdings" pitchFamily="2" charset="2"/>
                <a:buNone/>
              </a:pPr>
              <a:r>
                <a:rPr lang="de-DE" altLang="de-DE" sz="600" b="1">
                  <a:solidFill>
                    <a:srgbClr val="FFFFFF"/>
                  </a:solidFill>
                </a:rPr>
                <a:t>Sophienhöhe</a:t>
              </a:r>
            </a:p>
          </p:txBody>
        </p:sp>
        <p:sp>
          <p:nvSpPr>
            <p:cNvPr id="338" name="Text Box 1472"/>
            <p:cNvSpPr txBox="1">
              <a:spLocks noChangeArrowheads="1"/>
            </p:cNvSpPr>
            <p:nvPr/>
          </p:nvSpPr>
          <p:spPr bwMode="auto">
            <a:xfrm>
              <a:off x="4349750" y="4254578"/>
              <a:ext cx="2428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Sindorf</a:t>
              </a:r>
            </a:p>
          </p:txBody>
        </p:sp>
        <p:sp>
          <p:nvSpPr>
            <p:cNvPr id="339" name="Freeform 1474"/>
            <p:cNvSpPr>
              <a:spLocks/>
            </p:cNvSpPr>
            <p:nvPr/>
          </p:nvSpPr>
          <p:spPr bwMode="auto">
            <a:xfrm>
              <a:off x="2514600" y="1792366"/>
              <a:ext cx="153988" cy="95250"/>
            </a:xfrm>
            <a:custGeom>
              <a:avLst/>
              <a:gdLst>
                <a:gd name="T0" fmla="*/ 2147483647 w 289"/>
                <a:gd name="T1" fmla="*/ 2147483647 h 181"/>
                <a:gd name="T2" fmla="*/ 2147483647 w 289"/>
                <a:gd name="T3" fmla="*/ 2147483647 h 181"/>
                <a:gd name="T4" fmla="*/ 2147483647 w 289"/>
                <a:gd name="T5" fmla="*/ 2147483647 h 181"/>
                <a:gd name="T6" fmla="*/ 2147483647 w 289"/>
                <a:gd name="T7" fmla="*/ 2147483647 h 181"/>
                <a:gd name="T8" fmla="*/ 2147483647 w 289"/>
                <a:gd name="T9" fmla="*/ 2147483647 h 181"/>
                <a:gd name="T10" fmla="*/ 2147483647 w 289"/>
                <a:gd name="T11" fmla="*/ 2147483647 h 181"/>
                <a:gd name="T12" fmla="*/ 2147483647 w 289"/>
                <a:gd name="T13" fmla="*/ 2147483647 h 181"/>
                <a:gd name="T14" fmla="*/ 2147483647 w 289"/>
                <a:gd name="T15" fmla="*/ 2147483647 h 181"/>
                <a:gd name="T16" fmla="*/ 2147483647 w 289"/>
                <a:gd name="T17" fmla="*/ 2147483647 h 181"/>
                <a:gd name="T18" fmla="*/ 2147483647 w 289"/>
                <a:gd name="T19" fmla="*/ 2147483647 h 181"/>
                <a:gd name="T20" fmla="*/ 2147483647 w 289"/>
                <a:gd name="T21" fmla="*/ 2147483647 h 181"/>
                <a:gd name="T22" fmla="*/ 2147483647 w 289"/>
                <a:gd name="T23" fmla="*/ 2147483647 h 181"/>
                <a:gd name="T24" fmla="*/ 2147483647 w 289"/>
                <a:gd name="T25" fmla="*/ 2147483647 h 181"/>
                <a:gd name="T26" fmla="*/ 2147483647 w 289"/>
                <a:gd name="T27" fmla="*/ 2147483647 h 181"/>
                <a:gd name="T28" fmla="*/ 2147483647 w 289"/>
                <a:gd name="T29" fmla="*/ 2147483647 h 181"/>
                <a:gd name="T30" fmla="*/ 2147483647 w 289"/>
                <a:gd name="T31" fmla="*/ 2147483647 h 181"/>
                <a:gd name="T32" fmla="*/ 2147483647 w 289"/>
                <a:gd name="T33" fmla="*/ 2147483647 h 181"/>
                <a:gd name="T34" fmla="*/ 2147483647 w 289"/>
                <a:gd name="T35" fmla="*/ 2147483647 h 181"/>
                <a:gd name="T36" fmla="*/ 2147483647 w 289"/>
                <a:gd name="T37" fmla="*/ 2147483647 h 181"/>
                <a:gd name="T38" fmla="*/ 0 w 289"/>
                <a:gd name="T39" fmla="*/ 2147483647 h 181"/>
                <a:gd name="T40" fmla="*/ 2147483647 w 289"/>
                <a:gd name="T41" fmla="*/ 2147483647 h 181"/>
                <a:gd name="T42" fmla="*/ 2147483647 w 289"/>
                <a:gd name="T43" fmla="*/ 2147483647 h 181"/>
                <a:gd name="T44" fmla="*/ 2147483647 w 289"/>
                <a:gd name="T45" fmla="*/ 2147483647 h 181"/>
                <a:gd name="T46" fmla="*/ 2147483647 w 289"/>
                <a:gd name="T47" fmla="*/ 2147483647 h 181"/>
                <a:gd name="T48" fmla="*/ 2147483647 w 289"/>
                <a:gd name="T49" fmla="*/ 0 h 181"/>
                <a:gd name="T50" fmla="*/ 2147483647 w 289"/>
                <a:gd name="T51" fmla="*/ 2147483647 h 181"/>
                <a:gd name="T52" fmla="*/ 2147483647 w 289"/>
                <a:gd name="T53" fmla="*/ 2147483647 h 181"/>
                <a:gd name="T54" fmla="*/ 2147483647 w 289"/>
                <a:gd name="T55" fmla="*/ 2147483647 h 181"/>
                <a:gd name="T56" fmla="*/ 2147483647 w 289"/>
                <a:gd name="T57" fmla="*/ 2147483647 h 181"/>
                <a:gd name="T58" fmla="*/ 2147483647 w 289"/>
                <a:gd name="T59" fmla="*/ 2147483647 h 181"/>
                <a:gd name="T60" fmla="*/ 2147483647 w 289"/>
                <a:gd name="T61" fmla="*/ 2147483647 h 181"/>
                <a:gd name="T62" fmla="*/ 2147483647 w 289"/>
                <a:gd name="T63" fmla="*/ 2147483647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89"/>
                <a:gd name="T97" fmla="*/ 0 h 181"/>
                <a:gd name="T98" fmla="*/ 289 w 289"/>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89" h="181">
                  <a:moveTo>
                    <a:pt x="289" y="78"/>
                  </a:moveTo>
                  <a:lnTo>
                    <a:pt x="287" y="141"/>
                  </a:lnTo>
                  <a:lnTo>
                    <a:pt x="271" y="139"/>
                  </a:lnTo>
                  <a:lnTo>
                    <a:pt x="272" y="165"/>
                  </a:lnTo>
                  <a:lnTo>
                    <a:pt x="244" y="166"/>
                  </a:lnTo>
                  <a:lnTo>
                    <a:pt x="248" y="142"/>
                  </a:lnTo>
                  <a:lnTo>
                    <a:pt x="217" y="160"/>
                  </a:lnTo>
                  <a:lnTo>
                    <a:pt x="164" y="148"/>
                  </a:lnTo>
                  <a:lnTo>
                    <a:pt x="166" y="115"/>
                  </a:lnTo>
                  <a:lnTo>
                    <a:pt x="127" y="111"/>
                  </a:lnTo>
                  <a:lnTo>
                    <a:pt x="106" y="181"/>
                  </a:lnTo>
                  <a:lnTo>
                    <a:pt x="38" y="181"/>
                  </a:lnTo>
                  <a:lnTo>
                    <a:pt x="56" y="141"/>
                  </a:lnTo>
                  <a:lnTo>
                    <a:pt x="38" y="105"/>
                  </a:lnTo>
                  <a:lnTo>
                    <a:pt x="7" y="96"/>
                  </a:lnTo>
                  <a:lnTo>
                    <a:pt x="8" y="81"/>
                  </a:lnTo>
                  <a:lnTo>
                    <a:pt x="16" y="57"/>
                  </a:lnTo>
                  <a:lnTo>
                    <a:pt x="28" y="57"/>
                  </a:lnTo>
                  <a:lnTo>
                    <a:pt x="28" y="46"/>
                  </a:lnTo>
                  <a:lnTo>
                    <a:pt x="0" y="37"/>
                  </a:lnTo>
                  <a:lnTo>
                    <a:pt x="52" y="37"/>
                  </a:lnTo>
                  <a:lnTo>
                    <a:pt x="74" y="37"/>
                  </a:lnTo>
                  <a:lnTo>
                    <a:pt x="94" y="10"/>
                  </a:lnTo>
                  <a:lnTo>
                    <a:pt x="145" y="21"/>
                  </a:lnTo>
                  <a:lnTo>
                    <a:pt x="155" y="0"/>
                  </a:lnTo>
                  <a:lnTo>
                    <a:pt x="173" y="6"/>
                  </a:lnTo>
                  <a:lnTo>
                    <a:pt x="155" y="48"/>
                  </a:lnTo>
                  <a:lnTo>
                    <a:pt x="197" y="67"/>
                  </a:lnTo>
                  <a:lnTo>
                    <a:pt x="214" y="34"/>
                  </a:lnTo>
                  <a:lnTo>
                    <a:pt x="232" y="43"/>
                  </a:lnTo>
                  <a:lnTo>
                    <a:pt x="217" y="78"/>
                  </a:lnTo>
                  <a:lnTo>
                    <a:pt x="289" y="78"/>
                  </a:lnTo>
                  <a:close/>
                </a:path>
              </a:pathLst>
            </a:custGeom>
            <a:solidFill>
              <a:srgbClr val="FF8000"/>
            </a:solidFill>
            <a:ln w="6350" cap="flat" cmpd="sng">
              <a:solidFill>
                <a:srgbClr val="000000"/>
              </a:solidFill>
              <a:prstDash val="solid"/>
              <a:round/>
              <a:headEnd type="none" w="med" len="med"/>
              <a:tailEnd type="none" w="med" len="med"/>
            </a:ln>
          </p:spPr>
          <p:txBody>
            <a:bodyPr lIns="0" tIns="0" rIns="0" bIns="0">
              <a:spAutoFit/>
            </a:bodyPr>
            <a:lstStyle/>
            <a:p>
              <a:endParaRPr lang="de-DE"/>
            </a:p>
          </p:txBody>
        </p:sp>
        <p:sp>
          <p:nvSpPr>
            <p:cNvPr id="340" name="Freeform 1475"/>
            <p:cNvSpPr>
              <a:spLocks/>
            </p:cNvSpPr>
            <p:nvPr/>
          </p:nvSpPr>
          <p:spPr bwMode="auto">
            <a:xfrm>
              <a:off x="2733675" y="1465341"/>
              <a:ext cx="179388" cy="165100"/>
            </a:xfrm>
            <a:custGeom>
              <a:avLst/>
              <a:gdLst>
                <a:gd name="T0" fmla="*/ 2147483647 w 340"/>
                <a:gd name="T1" fmla="*/ 2147483647 h 316"/>
                <a:gd name="T2" fmla="*/ 2147483647 w 340"/>
                <a:gd name="T3" fmla="*/ 2147483647 h 316"/>
                <a:gd name="T4" fmla="*/ 2147483647 w 340"/>
                <a:gd name="T5" fmla="*/ 2147483647 h 316"/>
                <a:gd name="T6" fmla="*/ 2147483647 w 340"/>
                <a:gd name="T7" fmla="*/ 2147483647 h 316"/>
                <a:gd name="T8" fmla="*/ 2147483647 w 340"/>
                <a:gd name="T9" fmla="*/ 2147483647 h 316"/>
                <a:gd name="T10" fmla="*/ 2147483647 w 340"/>
                <a:gd name="T11" fmla="*/ 2147483647 h 316"/>
                <a:gd name="T12" fmla="*/ 2147483647 w 340"/>
                <a:gd name="T13" fmla="*/ 2147483647 h 316"/>
                <a:gd name="T14" fmla="*/ 2147483647 w 340"/>
                <a:gd name="T15" fmla="*/ 2147483647 h 316"/>
                <a:gd name="T16" fmla="*/ 2147483647 w 340"/>
                <a:gd name="T17" fmla="*/ 2147483647 h 316"/>
                <a:gd name="T18" fmla="*/ 2147483647 w 340"/>
                <a:gd name="T19" fmla="*/ 2147483647 h 316"/>
                <a:gd name="T20" fmla="*/ 2147483647 w 340"/>
                <a:gd name="T21" fmla="*/ 2147483647 h 316"/>
                <a:gd name="T22" fmla="*/ 2147483647 w 340"/>
                <a:gd name="T23" fmla="*/ 2147483647 h 316"/>
                <a:gd name="T24" fmla="*/ 2147483647 w 340"/>
                <a:gd name="T25" fmla="*/ 2147483647 h 316"/>
                <a:gd name="T26" fmla="*/ 2147483647 w 340"/>
                <a:gd name="T27" fmla="*/ 2147483647 h 316"/>
                <a:gd name="T28" fmla="*/ 0 w 340"/>
                <a:gd name="T29" fmla="*/ 2147483647 h 316"/>
                <a:gd name="T30" fmla="*/ 2147483647 w 340"/>
                <a:gd name="T31" fmla="*/ 2147483647 h 316"/>
                <a:gd name="T32" fmla="*/ 2147483647 w 340"/>
                <a:gd name="T33" fmla="*/ 2147483647 h 316"/>
                <a:gd name="T34" fmla="*/ 2147483647 w 340"/>
                <a:gd name="T35" fmla="*/ 2147483647 h 316"/>
                <a:gd name="T36" fmla="*/ 2147483647 w 340"/>
                <a:gd name="T37" fmla="*/ 2147483647 h 316"/>
                <a:gd name="T38" fmla="*/ 2147483647 w 340"/>
                <a:gd name="T39" fmla="*/ 2147483647 h 316"/>
                <a:gd name="T40" fmla="*/ 2147483647 w 340"/>
                <a:gd name="T41" fmla="*/ 0 h 316"/>
                <a:gd name="T42" fmla="*/ 2147483647 w 340"/>
                <a:gd name="T43" fmla="*/ 0 h 316"/>
                <a:gd name="T44" fmla="*/ 2147483647 w 340"/>
                <a:gd name="T45" fmla="*/ 2147483647 h 3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0"/>
                <a:gd name="T70" fmla="*/ 0 h 316"/>
                <a:gd name="T71" fmla="*/ 340 w 340"/>
                <a:gd name="T72" fmla="*/ 316 h 31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0" h="316">
                  <a:moveTo>
                    <a:pt x="318" y="110"/>
                  </a:moveTo>
                  <a:lnTo>
                    <a:pt x="340" y="240"/>
                  </a:lnTo>
                  <a:lnTo>
                    <a:pt x="228" y="252"/>
                  </a:lnTo>
                  <a:lnTo>
                    <a:pt x="192" y="266"/>
                  </a:lnTo>
                  <a:lnTo>
                    <a:pt x="200" y="286"/>
                  </a:lnTo>
                  <a:lnTo>
                    <a:pt x="178" y="294"/>
                  </a:lnTo>
                  <a:lnTo>
                    <a:pt x="174" y="316"/>
                  </a:lnTo>
                  <a:lnTo>
                    <a:pt x="158" y="316"/>
                  </a:lnTo>
                  <a:lnTo>
                    <a:pt x="142" y="290"/>
                  </a:lnTo>
                  <a:lnTo>
                    <a:pt x="126" y="292"/>
                  </a:lnTo>
                  <a:lnTo>
                    <a:pt x="110" y="266"/>
                  </a:lnTo>
                  <a:lnTo>
                    <a:pt x="96" y="268"/>
                  </a:lnTo>
                  <a:lnTo>
                    <a:pt x="74" y="220"/>
                  </a:lnTo>
                  <a:lnTo>
                    <a:pt x="46" y="224"/>
                  </a:lnTo>
                  <a:lnTo>
                    <a:pt x="0" y="178"/>
                  </a:lnTo>
                  <a:lnTo>
                    <a:pt x="26" y="140"/>
                  </a:lnTo>
                  <a:lnTo>
                    <a:pt x="6" y="94"/>
                  </a:lnTo>
                  <a:lnTo>
                    <a:pt x="46" y="68"/>
                  </a:lnTo>
                  <a:lnTo>
                    <a:pt x="164" y="24"/>
                  </a:lnTo>
                  <a:lnTo>
                    <a:pt x="192" y="26"/>
                  </a:lnTo>
                  <a:lnTo>
                    <a:pt x="196" y="0"/>
                  </a:lnTo>
                  <a:lnTo>
                    <a:pt x="254" y="0"/>
                  </a:lnTo>
                  <a:lnTo>
                    <a:pt x="318" y="11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341" name="Freeform 1476"/>
            <p:cNvSpPr>
              <a:spLocks/>
            </p:cNvSpPr>
            <p:nvPr/>
          </p:nvSpPr>
          <p:spPr bwMode="auto">
            <a:xfrm>
              <a:off x="2360613" y="1539953"/>
              <a:ext cx="103188" cy="133350"/>
            </a:xfrm>
            <a:custGeom>
              <a:avLst/>
              <a:gdLst>
                <a:gd name="T0" fmla="*/ 2147483647 w 195"/>
                <a:gd name="T1" fmla="*/ 2147483647 h 255"/>
                <a:gd name="T2" fmla="*/ 2147483647 w 195"/>
                <a:gd name="T3" fmla="*/ 0 h 255"/>
                <a:gd name="T4" fmla="*/ 2147483647 w 195"/>
                <a:gd name="T5" fmla="*/ 2147483647 h 255"/>
                <a:gd name="T6" fmla="*/ 2147483647 w 195"/>
                <a:gd name="T7" fmla="*/ 2147483647 h 255"/>
                <a:gd name="T8" fmla="*/ 2147483647 w 195"/>
                <a:gd name="T9" fmla="*/ 2147483647 h 255"/>
                <a:gd name="T10" fmla="*/ 2147483647 w 195"/>
                <a:gd name="T11" fmla="*/ 2147483647 h 255"/>
                <a:gd name="T12" fmla="*/ 2147483647 w 195"/>
                <a:gd name="T13" fmla="*/ 2147483647 h 255"/>
                <a:gd name="T14" fmla="*/ 2147483647 w 195"/>
                <a:gd name="T15" fmla="*/ 2147483647 h 255"/>
                <a:gd name="T16" fmla="*/ 2147483647 w 195"/>
                <a:gd name="T17" fmla="*/ 2147483647 h 255"/>
                <a:gd name="T18" fmla="*/ 2147483647 w 195"/>
                <a:gd name="T19" fmla="*/ 2147483647 h 255"/>
                <a:gd name="T20" fmla="*/ 2147483647 w 195"/>
                <a:gd name="T21" fmla="*/ 2147483647 h 255"/>
                <a:gd name="T22" fmla="*/ 0 w 195"/>
                <a:gd name="T23" fmla="*/ 2147483647 h 255"/>
                <a:gd name="T24" fmla="*/ 2147483647 w 195"/>
                <a:gd name="T25" fmla="*/ 2147483647 h 255"/>
                <a:gd name="T26" fmla="*/ 2147483647 w 195"/>
                <a:gd name="T27" fmla="*/ 2147483647 h 255"/>
                <a:gd name="T28" fmla="*/ 2147483647 w 195"/>
                <a:gd name="T29" fmla="*/ 2147483647 h 2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5"/>
                <a:gd name="T46" fmla="*/ 0 h 255"/>
                <a:gd name="T47" fmla="*/ 195 w 195"/>
                <a:gd name="T48" fmla="*/ 255 h 2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5" h="255">
                  <a:moveTo>
                    <a:pt x="57" y="99"/>
                  </a:moveTo>
                  <a:lnTo>
                    <a:pt x="158" y="0"/>
                  </a:lnTo>
                  <a:lnTo>
                    <a:pt x="188" y="39"/>
                  </a:lnTo>
                  <a:lnTo>
                    <a:pt x="144" y="93"/>
                  </a:lnTo>
                  <a:lnTo>
                    <a:pt x="141" y="147"/>
                  </a:lnTo>
                  <a:lnTo>
                    <a:pt x="195" y="168"/>
                  </a:lnTo>
                  <a:lnTo>
                    <a:pt x="195" y="214"/>
                  </a:lnTo>
                  <a:lnTo>
                    <a:pt x="159" y="207"/>
                  </a:lnTo>
                  <a:lnTo>
                    <a:pt x="146" y="252"/>
                  </a:lnTo>
                  <a:lnTo>
                    <a:pt x="119" y="255"/>
                  </a:lnTo>
                  <a:lnTo>
                    <a:pt x="99" y="214"/>
                  </a:lnTo>
                  <a:lnTo>
                    <a:pt x="0" y="214"/>
                  </a:lnTo>
                  <a:lnTo>
                    <a:pt x="8" y="163"/>
                  </a:lnTo>
                  <a:lnTo>
                    <a:pt x="59" y="144"/>
                  </a:lnTo>
                  <a:lnTo>
                    <a:pt x="57" y="99"/>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342" name="Freeform 1478"/>
            <p:cNvSpPr>
              <a:spLocks/>
            </p:cNvSpPr>
            <p:nvPr/>
          </p:nvSpPr>
          <p:spPr bwMode="auto">
            <a:xfrm>
              <a:off x="2508250" y="2103516"/>
              <a:ext cx="47625" cy="50800"/>
            </a:xfrm>
            <a:custGeom>
              <a:avLst/>
              <a:gdLst>
                <a:gd name="T0" fmla="*/ 2147483647 w 90"/>
                <a:gd name="T1" fmla="*/ 2147483647 h 98"/>
                <a:gd name="T2" fmla="*/ 2147483647 w 90"/>
                <a:gd name="T3" fmla="*/ 2147483647 h 98"/>
                <a:gd name="T4" fmla="*/ 2147483647 w 90"/>
                <a:gd name="T5" fmla="*/ 2147483647 h 98"/>
                <a:gd name="T6" fmla="*/ 2147483647 w 90"/>
                <a:gd name="T7" fmla="*/ 2147483647 h 98"/>
                <a:gd name="T8" fmla="*/ 2147483647 w 90"/>
                <a:gd name="T9" fmla="*/ 2147483647 h 98"/>
                <a:gd name="T10" fmla="*/ 2147483647 w 90"/>
                <a:gd name="T11" fmla="*/ 2147483647 h 98"/>
                <a:gd name="T12" fmla="*/ 2147483647 w 90"/>
                <a:gd name="T13" fmla="*/ 0 h 98"/>
                <a:gd name="T14" fmla="*/ 2147483647 w 90"/>
                <a:gd name="T15" fmla="*/ 2147483647 h 98"/>
                <a:gd name="T16" fmla="*/ 0 w 90"/>
                <a:gd name="T17" fmla="*/ 2147483647 h 98"/>
                <a:gd name="T18" fmla="*/ 2147483647 w 90"/>
                <a:gd name="T19" fmla="*/ 2147483647 h 98"/>
                <a:gd name="T20" fmla="*/ 2147483647 w 90"/>
                <a:gd name="T21" fmla="*/ 2147483647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0"/>
                <a:gd name="T34" fmla="*/ 0 h 98"/>
                <a:gd name="T35" fmla="*/ 90 w 90"/>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0" h="98">
                  <a:moveTo>
                    <a:pt x="38" y="98"/>
                  </a:moveTo>
                  <a:lnTo>
                    <a:pt x="90" y="74"/>
                  </a:lnTo>
                  <a:lnTo>
                    <a:pt x="90" y="59"/>
                  </a:lnTo>
                  <a:lnTo>
                    <a:pt x="75" y="48"/>
                  </a:lnTo>
                  <a:lnTo>
                    <a:pt x="74" y="3"/>
                  </a:lnTo>
                  <a:lnTo>
                    <a:pt x="57" y="12"/>
                  </a:lnTo>
                  <a:lnTo>
                    <a:pt x="51" y="0"/>
                  </a:lnTo>
                  <a:lnTo>
                    <a:pt x="14" y="2"/>
                  </a:lnTo>
                  <a:lnTo>
                    <a:pt x="0" y="63"/>
                  </a:lnTo>
                  <a:lnTo>
                    <a:pt x="32" y="77"/>
                  </a:lnTo>
                  <a:lnTo>
                    <a:pt x="38" y="9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343" name="Freeform 1479"/>
            <p:cNvSpPr>
              <a:spLocks/>
            </p:cNvSpPr>
            <p:nvPr/>
          </p:nvSpPr>
          <p:spPr bwMode="auto">
            <a:xfrm>
              <a:off x="2455863" y="2805191"/>
              <a:ext cx="152400" cy="161925"/>
            </a:xfrm>
            <a:custGeom>
              <a:avLst/>
              <a:gdLst>
                <a:gd name="T0" fmla="*/ 2147483647 w 96"/>
                <a:gd name="T1" fmla="*/ 2147483647 h 102"/>
                <a:gd name="T2" fmla="*/ 2147483647 w 96"/>
                <a:gd name="T3" fmla="*/ 2147483647 h 102"/>
                <a:gd name="T4" fmla="*/ 2147483647 w 96"/>
                <a:gd name="T5" fmla="*/ 2147483647 h 102"/>
                <a:gd name="T6" fmla="*/ 2147483647 w 96"/>
                <a:gd name="T7" fmla="*/ 2147483647 h 102"/>
                <a:gd name="T8" fmla="*/ 2147483647 w 96"/>
                <a:gd name="T9" fmla="*/ 2147483647 h 102"/>
                <a:gd name="T10" fmla="*/ 2147483647 w 96"/>
                <a:gd name="T11" fmla="*/ 0 h 102"/>
                <a:gd name="T12" fmla="*/ 2147483647 w 96"/>
                <a:gd name="T13" fmla="*/ 2147483647 h 102"/>
                <a:gd name="T14" fmla="*/ 2147483647 w 96"/>
                <a:gd name="T15" fmla="*/ 2147483647 h 102"/>
                <a:gd name="T16" fmla="*/ 2147483647 w 96"/>
                <a:gd name="T17" fmla="*/ 2147483647 h 102"/>
                <a:gd name="T18" fmla="*/ 2147483647 w 96"/>
                <a:gd name="T19" fmla="*/ 2147483647 h 102"/>
                <a:gd name="T20" fmla="*/ 0 w 96"/>
                <a:gd name="T21" fmla="*/ 2147483647 h 102"/>
                <a:gd name="T22" fmla="*/ 2147483647 w 96"/>
                <a:gd name="T23" fmla="*/ 2147483647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6"/>
                <a:gd name="T37" fmla="*/ 0 h 102"/>
                <a:gd name="T38" fmla="*/ 96 w 96"/>
                <a:gd name="T39" fmla="*/ 102 h 10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6" h="102">
                  <a:moveTo>
                    <a:pt x="33" y="102"/>
                  </a:moveTo>
                  <a:lnTo>
                    <a:pt x="63" y="79"/>
                  </a:lnTo>
                  <a:lnTo>
                    <a:pt x="58" y="66"/>
                  </a:lnTo>
                  <a:lnTo>
                    <a:pt x="82" y="37"/>
                  </a:lnTo>
                  <a:lnTo>
                    <a:pt x="96" y="3"/>
                  </a:lnTo>
                  <a:lnTo>
                    <a:pt x="67" y="0"/>
                  </a:lnTo>
                  <a:lnTo>
                    <a:pt x="66" y="18"/>
                  </a:lnTo>
                  <a:lnTo>
                    <a:pt x="39" y="30"/>
                  </a:lnTo>
                  <a:lnTo>
                    <a:pt x="33" y="13"/>
                  </a:lnTo>
                  <a:lnTo>
                    <a:pt x="15" y="24"/>
                  </a:lnTo>
                  <a:lnTo>
                    <a:pt x="0" y="54"/>
                  </a:lnTo>
                  <a:lnTo>
                    <a:pt x="33" y="10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344" name="Freeform 1480"/>
            <p:cNvSpPr>
              <a:spLocks/>
            </p:cNvSpPr>
            <p:nvPr/>
          </p:nvSpPr>
          <p:spPr bwMode="auto">
            <a:xfrm>
              <a:off x="1966913" y="1779666"/>
              <a:ext cx="71438" cy="41275"/>
            </a:xfrm>
            <a:custGeom>
              <a:avLst/>
              <a:gdLst>
                <a:gd name="T0" fmla="*/ 2147483647 w 133"/>
                <a:gd name="T1" fmla="*/ 2147483647 h 77"/>
                <a:gd name="T2" fmla="*/ 2147483647 w 133"/>
                <a:gd name="T3" fmla="*/ 2147483647 h 77"/>
                <a:gd name="T4" fmla="*/ 0 w 133"/>
                <a:gd name="T5" fmla="*/ 2147483647 h 77"/>
                <a:gd name="T6" fmla="*/ 2147483647 w 133"/>
                <a:gd name="T7" fmla="*/ 0 h 77"/>
                <a:gd name="T8" fmla="*/ 2147483647 w 133"/>
                <a:gd name="T9" fmla="*/ 2147483647 h 77"/>
                <a:gd name="T10" fmla="*/ 0 60000 65536"/>
                <a:gd name="T11" fmla="*/ 0 60000 65536"/>
                <a:gd name="T12" fmla="*/ 0 60000 65536"/>
                <a:gd name="T13" fmla="*/ 0 60000 65536"/>
                <a:gd name="T14" fmla="*/ 0 60000 65536"/>
                <a:gd name="T15" fmla="*/ 0 w 133"/>
                <a:gd name="T16" fmla="*/ 0 h 77"/>
                <a:gd name="T17" fmla="*/ 133 w 133"/>
                <a:gd name="T18" fmla="*/ 77 h 77"/>
              </a:gdLst>
              <a:ahLst/>
              <a:cxnLst>
                <a:cxn ang="T10">
                  <a:pos x="T0" y="T1"/>
                </a:cxn>
                <a:cxn ang="T11">
                  <a:pos x="T2" y="T3"/>
                </a:cxn>
                <a:cxn ang="T12">
                  <a:pos x="T4" y="T5"/>
                </a:cxn>
                <a:cxn ang="T13">
                  <a:pos x="T6" y="T7"/>
                </a:cxn>
                <a:cxn ang="T14">
                  <a:pos x="T8" y="T9"/>
                </a:cxn>
              </a:cxnLst>
              <a:rect l="T15" t="T16" r="T17" b="T18"/>
              <a:pathLst>
                <a:path w="133" h="77">
                  <a:moveTo>
                    <a:pt x="133" y="14"/>
                  </a:moveTo>
                  <a:lnTo>
                    <a:pt x="103" y="77"/>
                  </a:lnTo>
                  <a:lnTo>
                    <a:pt x="0" y="62"/>
                  </a:lnTo>
                  <a:lnTo>
                    <a:pt x="60" y="0"/>
                  </a:lnTo>
                  <a:lnTo>
                    <a:pt x="133" y="14"/>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345" name="Freeform 1481"/>
            <p:cNvSpPr>
              <a:spLocks/>
            </p:cNvSpPr>
            <p:nvPr/>
          </p:nvSpPr>
          <p:spPr bwMode="auto">
            <a:xfrm>
              <a:off x="2003425" y="1659016"/>
              <a:ext cx="120650" cy="88900"/>
            </a:xfrm>
            <a:custGeom>
              <a:avLst/>
              <a:gdLst>
                <a:gd name="T0" fmla="*/ 2147483647 w 228"/>
                <a:gd name="T1" fmla="*/ 0 h 168"/>
                <a:gd name="T2" fmla="*/ 2147483647 w 228"/>
                <a:gd name="T3" fmla="*/ 2147483647 h 168"/>
                <a:gd name="T4" fmla="*/ 2147483647 w 228"/>
                <a:gd name="T5" fmla="*/ 2147483647 h 168"/>
                <a:gd name="T6" fmla="*/ 2147483647 w 228"/>
                <a:gd name="T7" fmla="*/ 2147483647 h 168"/>
                <a:gd name="T8" fmla="*/ 2147483647 w 228"/>
                <a:gd name="T9" fmla="*/ 2147483647 h 168"/>
                <a:gd name="T10" fmla="*/ 2147483647 w 228"/>
                <a:gd name="T11" fmla="*/ 2147483647 h 168"/>
                <a:gd name="T12" fmla="*/ 0 w 228"/>
                <a:gd name="T13" fmla="*/ 2147483647 h 168"/>
                <a:gd name="T14" fmla="*/ 2147483647 w 228"/>
                <a:gd name="T15" fmla="*/ 2147483647 h 168"/>
                <a:gd name="T16" fmla="*/ 2147483647 w 228"/>
                <a:gd name="T17" fmla="*/ 0 h 1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8"/>
                <a:gd name="T28" fmla="*/ 0 h 168"/>
                <a:gd name="T29" fmla="*/ 228 w 228"/>
                <a:gd name="T30" fmla="*/ 168 h 1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8" h="168">
                  <a:moveTo>
                    <a:pt x="114" y="0"/>
                  </a:moveTo>
                  <a:lnTo>
                    <a:pt x="196" y="54"/>
                  </a:lnTo>
                  <a:lnTo>
                    <a:pt x="228" y="96"/>
                  </a:lnTo>
                  <a:lnTo>
                    <a:pt x="156" y="168"/>
                  </a:lnTo>
                  <a:lnTo>
                    <a:pt x="85" y="85"/>
                  </a:lnTo>
                  <a:lnTo>
                    <a:pt x="7" y="114"/>
                  </a:lnTo>
                  <a:lnTo>
                    <a:pt x="0" y="31"/>
                  </a:lnTo>
                  <a:lnTo>
                    <a:pt x="88" y="27"/>
                  </a:lnTo>
                  <a:lnTo>
                    <a:pt x="114" y="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346" name="Freeform 1482"/>
            <p:cNvSpPr>
              <a:spLocks/>
            </p:cNvSpPr>
            <p:nvPr/>
          </p:nvSpPr>
          <p:spPr bwMode="auto">
            <a:xfrm rot="-4331541">
              <a:off x="3263900" y="26543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47" name="Freeform 1483"/>
            <p:cNvSpPr>
              <a:spLocks/>
            </p:cNvSpPr>
            <p:nvPr/>
          </p:nvSpPr>
          <p:spPr bwMode="auto">
            <a:xfrm>
              <a:off x="2304697" y="701814"/>
              <a:ext cx="925866" cy="2122427"/>
            </a:xfrm>
            <a:custGeom>
              <a:avLst/>
              <a:gdLst>
                <a:gd name="T0" fmla="*/ 2147483647 w 12409"/>
                <a:gd name="T1" fmla="*/ 2147483647 h 12930"/>
                <a:gd name="T2" fmla="*/ 2147483647 w 12409"/>
                <a:gd name="T3" fmla="*/ 2147483647 h 12930"/>
                <a:gd name="T4" fmla="*/ 2147483647 w 12409"/>
                <a:gd name="T5" fmla="*/ 2147483647 h 12930"/>
                <a:gd name="T6" fmla="*/ 2147483647 w 12409"/>
                <a:gd name="T7" fmla="*/ 2147483647 h 12930"/>
                <a:gd name="T8" fmla="*/ 2147483647 w 12409"/>
                <a:gd name="T9" fmla="*/ 2147483647 h 12930"/>
                <a:gd name="T10" fmla="*/ 2147483647 w 12409"/>
                <a:gd name="T11" fmla="*/ 2147483647 h 12930"/>
                <a:gd name="T12" fmla="*/ 2147483647 w 12409"/>
                <a:gd name="T13" fmla="*/ 2147483647 h 12930"/>
                <a:gd name="T14" fmla="*/ 2147483647 w 12409"/>
                <a:gd name="T15" fmla="*/ 2147483647 h 12930"/>
                <a:gd name="T16" fmla="*/ 2147483647 w 12409"/>
                <a:gd name="T17" fmla="*/ 2147483647 h 12930"/>
                <a:gd name="T18" fmla="*/ 2147483647 w 12409"/>
                <a:gd name="T19" fmla="*/ 2147483647 h 12930"/>
                <a:gd name="T20" fmla="*/ 2147483647 w 12409"/>
                <a:gd name="T21" fmla="*/ 2147483647 h 12930"/>
                <a:gd name="T22" fmla="*/ 2147483647 w 12409"/>
                <a:gd name="T23" fmla="*/ 2147483647 h 12930"/>
                <a:gd name="T24" fmla="*/ 2147483647 w 12409"/>
                <a:gd name="T25" fmla="*/ 2147483647 h 12930"/>
                <a:gd name="T26" fmla="*/ 2147483647 w 12409"/>
                <a:gd name="T27" fmla="*/ 2147483647 h 12930"/>
                <a:gd name="T28" fmla="*/ 2147483647 w 12409"/>
                <a:gd name="T29" fmla="*/ 2147483647 h 12930"/>
                <a:gd name="T30" fmla="*/ 2147483647 w 12409"/>
                <a:gd name="T31" fmla="*/ 2147483647 h 12930"/>
                <a:gd name="T32" fmla="*/ 2147483647 w 12409"/>
                <a:gd name="T33" fmla="*/ 2147483647 h 12930"/>
                <a:gd name="T34" fmla="*/ 2147483647 w 12409"/>
                <a:gd name="T35" fmla="*/ 2147483647 h 12930"/>
                <a:gd name="T36" fmla="*/ 2147483647 w 12409"/>
                <a:gd name="T37" fmla="*/ 2147483647 h 12930"/>
                <a:gd name="T38" fmla="*/ 2147483647 w 12409"/>
                <a:gd name="T39" fmla="*/ 2147483647 h 12930"/>
                <a:gd name="T40" fmla="*/ 2147483647 w 12409"/>
                <a:gd name="T41" fmla="*/ 2147483647 h 12930"/>
                <a:gd name="T42" fmla="*/ 2147483647 w 12409"/>
                <a:gd name="T43" fmla="*/ 2147483647 h 12930"/>
                <a:gd name="T44" fmla="*/ 2147483647 w 12409"/>
                <a:gd name="T45" fmla="*/ 2147483647 h 12930"/>
                <a:gd name="T46" fmla="*/ 2147483647 w 12409"/>
                <a:gd name="T47" fmla="*/ 2147483647 h 12930"/>
                <a:gd name="T48" fmla="*/ 2147483647 w 12409"/>
                <a:gd name="T49" fmla="*/ 2147483647 h 12930"/>
                <a:gd name="T50" fmla="*/ 2147483647 w 12409"/>
                <a:gd name="T51" fmla="*/ 2147483647 h 12930"/>
                <a:gd name="T52" fmla="*/ 2147483647 w 12409"/>
                <a:gd name="T53" fmla="*/ 2147483647 h 12930"/>
                <a:gd name="T54" fmla="*/ 2147483647 w 12409"/>
                <a:gd name="T55" fmla="*/ 2147483647 h 12930"/>
                <a:gd name="T56" fmla="*/ 2147483647 w 12409"/>
                <a:gd name="T57" fmla="*/ 2147483647 h 12930"/>
                <a:gd name="T58" fmla="*/ 2147483647 w 12409"/>
                <a:gd name="T59" fmla="*/ 2147483647 h 12930"/>
                <a:gd name="T60" fmla="*/ 2147483647 w 12409"/>
                <a:gd name="T61" fmla="*/ 2147483647 h 12930"/>
                <a:gd name="T62" fmla="*/ 0 w 12409"/>
                <a:gd name="T63" fmla="*/ 0 h 129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409" h="12930">
                  <a:moveTo>
                    <a:pt x="12409" y="12930"/>
                  </a:moveTo>
                  <a:cubicBezTo>
                    <a:pt x="12324" y="12911"/>
                    <a:pt x="12175" y="12872"/>
                    <a:pt x="11920" y="12785"/>
                  </a:cubicBezTo>
                  <a:cubicBezTo>
                    <a:pt x="11664" y="12698"/>
                    <a:pt x="11196" y="12524"/>
                    <a:pt x="10941" y="12408"/>
                  </a:cubicBezTo>
                  <a:cubicBezTo>
                    <a:pt x="10686" y="12292"/>
                    <a:pt x="10558" y="12234"/>
                    <a:pt x="10366" y="12098"/>
                  </a:cubicBezTo>
                  <a:cubicBezTo>
                    <a:pt x="10175" y="11963"/>
                    <a:pt x="9920" y="11721"/>
                    <a:pt x="9771" y="11586"/>
                  </a:cubicBezTo>
                  <a:cubicBezTo>
                    <a:pt x="9622" y="11450"/>
                    <a:pt x="9600" y="11392"/>
                    <a:pt x="9452" y="11296"/>
                  </a:cubicBezTo>
                  <a:cubicBezTo>
                    <a:pt x="9281" y="11189"/>
                    <a:pt x="8962" y="11044"/>
                    <a:pt x="8771" y="10976"/>
                  </a:cubicBezTo>
                  <a:cubicBezTo>
                    <a:pt x="8579" y="10899"/>
                    <a:pt x="8452" y="10880"/>
                    <a:pt x="8239" y="10841"/>
                  </a:cubicBezTo>
                  <a:cubicBezTo>
                    <a:pt x="8047" y="10802"/>
                    <a:pt x="7792" y="10773"/>
                    <a:pt x="7600" y="10725"/>
                  </a:cubicBezTo>
                  <a:cubicBezTo>
                    <a:pt x="7409" y="10686"/>
                    <a:pt x="7281" y="10648"/>
                    <a:pt x="7090" y="10580"/>
                  </a:cubicBezTo>
                  <a:cubicBezTo>
                    <a:pt x="6920" y="10503"/>
                    <a:pt x="6643" y="10406"/>
                    <a:pt x="6494" y="10299"/>
                  </a:cubicBezTo>
                  <a:cubicBezTo>
                    <a:pt x="6345" y="10193"/>
                    <a:pt x="6260" y="10067"/>
                    <a:pt x="6175" y="9942"/>
                  </a:cubicBezTo>
                  <a:cubicBezTo>
                    <a:pt x="6090" y="9816"/>
                    <a:pt x="5983" y="9661"/>
                    <a:pt x="5920" y="9545"/>
                  </a:cubicBezTo>
                  <a:cubicBezTo>
                    <a:pt x="5856" y="9439"/>
                    <a:pt x="5856" y="9361"/>
                    <a:pt x="5792" y="9284"/>
                  </a:cubicBezTo>
                  <a:cubicBezTo>
                    <a:pt x="5728" y="9207"/>
                    <a:pt x="5643" y="9158"/>
                    <a:pt x="5537" y="9081"/>
                  </a:cubicBezTo>
                  <a:lnTo>
                    <a:pt x="5196" y="8839"/>
                  </a:lnTo>
                  <a:cubicBezTo>
                    <a:pt x="5047" y="8723"/>
                    <a:pt x="4813" y="8549"/>
                    <a:pt x="4622" y="8414"/>
                  </a:cubicBezTo>
                  <a:cubicBezTo>
                    <a:pt x="4430" y="8288"/>
                    <a:pt x="4239" y="8181"/>
                    <a:pt x="4047" y="8056"/>
                  </a:cubicBezTo>
                  <a:cubicBezTo>
                    <a:pt x="3856" y="7920"/>
                    <a:pt x="3643" y="7775"/>
                    <a:pt x="3473" y="7659"/>
                  </a:cubicBezTo>
                  <a:cubicBezTo>
                    <a:pt x="3324" y="7533"/>
                    <a:pt x="3239" y="7495"/>
                    <a:pt x="3111" y="7340"/>
                  </a:cubicBezTo>
                  <a:cubicBezTo>
                    <a:pt x="2983" y="7195"/>
                    <a:pt x="2835" y="6953"/>
                    <a:pt x="2728" y="6769"/>
                  </a:cubicBezTo>
                  <a:cubicBezTo>
                    <a:pt x="2622" y="6595"/>
                    <a:pt x="2558" y="6421"/>
                    <a:pt x="2494" y="6257"/>
                  </a:cubicBezTo>
                  <a:cubicBezTo>
                    <a:pt x="2452" y="6092"/>
                    <a:pt x="2409" y="5928"/>
                    <a:pt x="2430" y="5783"/>
                  </a:cubicBezTo>
                  <a:cubicBezTo>
                    <a:pt x="2430" y="5648"/>
                    <a:pt x="2515" y="5493"/>
                    <a:pt x="2579" y="5396"/>
                  </a:cubicBezTo>
                  <a:cubicBezTo>
                    <a:pt x="2622" y="5290"/>
                    <a:pt x="2664" y="5251"/>
                    <a:pt x="2749" y="5164"/>
                  </a:cubicBezTo>
                  <a:cubicBezTo>
                    <a:pt x="2835" y="5087"/>
                    <a:pt x="2962" y="4990"/>
                    <a:pt x="3069" y="4884"/>
                  </a:cubicBezTo>
                  <a:cubicBezTo>
                    <a:pt x="3175" y="4777"/>
                    <a:pt x="3367" y="4781"/>
                    <a:pt x="3366" y="4545"/>
                  </a:cubicBezTo>
                  <a:cubicBezTo>
                    <a:pt x="3365" y="4309"/>
                    <a:pt x="3122" y="3874"/>
                    <a:pt x="3064" y="3470"/>
                  </a:cubicBezTo>
                  <a:cubicBezTo>
                    <a:pt x="3006" y="3066"/>
                    <a:pt x="3239" y="2476"/>
                    <a:pt x="3015" y="2123"/>
                  </a:cubicBezTo>
                  <a:cubicBezTo>
                    <a:pt x="2791" y="1770"/>
                    <a:pt x="2013" y="1527"/>
                    <a:pt x="1720" y="1352"/>
                  </a:cubicBezTo>
                  <a:cubicBezTo>
                    <a:pt x="1427" y="1177"/>
                    <a:pt x="1542" y="1300"/>
                    <a:pt x="1255" y="1075"/>
                  </a:cubicBezTo>
                  <a:cubicBezTo>
                    <a:pt x="968" y="850"/>
                    <a:pt x="78" y="38"/>
                    <a:pt x="0"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48" name="Freeform 1485"/>
            <p:cNvSpPr>
              <a:spLocks/>
            </p:cNvSpPr>
            <p:nvPr/>
          </p:nvSpPr>
          <p:spPr bwMode="auto">
            <a:xfrm>
              <a:off x="2517775" y="1524078"/>
              <a:ext cx="50800" cy="15875"/>
            </a:xfrm>
            <a:custGeom>
              <a:avLst/>
              <a:gdLst>
                <a:gd name="T0" fmla="*/ 0 w 96"/>
                <a:gd name="T1" fmla="*/ 2147483647 h 31"/>
                <a:gd name="T2" fmla="*/ 2147483647 w 96"/>
                <a:gd name="T3" fmla="*/ 2147483647 h 31"/>
                <a:gd name="T4" fmla="*/ 2147483647 w 96"/>
                <a:gd name="T5" fmla="*/ 2147483647 h 31"/>
                <a:gd name="T6" fmla="*/ 2147483647 w 96"/>
                <a:gd name="T7" fmla="*/ 0 h 31"/>
                <a:gd name="T8" fmla="*/ 0 60000 65536"/>
                <a:gd name="T9" fmla="*/ 0 60000 65536"/>
                <a:gd name="T10" fmla="*/ 0 60000 65536"/>
                <a:gd name="T11" fmla="*/ 0 60000 65536"/>
                <a:gd name="T12" fmla="*/ 0 w 96"/>
                <a:gd name="T13" fmla="*/ 0 h 31"/>
                <a:gd name="T14" fmla="*/ 96 w 96"/>
                <a:gd name="T15" fmla="*/ 31 h 31"/>
              </a:gdLst>
              <a:ahLst/>
              <a:cxnLst>
                <a:cxn ang="T8">
                  <a:pos x="T0" y="T1"/>
                </a:cxn>
                <a:cxn ang="T9">
                  <a:pos x="T2" y="T3"/>
                </a:cxn>
                <a:cxn ang="T10">
                  <a:pos x="T4" y="T5"/>
                </a:cxn>
                <a:cxn ang="T11">
                  <a:pos x="T6" y="T7"/>
                </a:cxn>
              </a:cxnLst>
              <a:rect l="T12" t="T13" r="T14" b="T15"/>
              <a:pathLst>
                <a:path w="96" h="31">
                  <a:moveTo>
                    <a:pt x="0" y="31"/>
                  </a:moveTo>
                  <a:cubicBezTo>
                    <a:pt x="7" y="25"/>
                    <a:pt x="15" y="20"/>
                    <a:pt x="25" y="16"/>
                  </a:cubicBezTo>
                  <a:cubicBezTo>
                    <a:pt x="35" y="12"/>
                    <a:pt x="46" y="9"/>
                    <a:pt x="58" y="6"/>
                  </a:cubicBezTo>
                  <a:cubicBezTo>
                    <a:pt x="70" y="3"/>
                    <a:pt x="83" y="1"/>
                    <a:pt x="96" y="0"/>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49" name="Freeform 1486"/>
            <p:cNvSpPr>
              <a:spLocks/>
            </p:cNvSpPr>
            <p:nvPr/>
          </p:nvSpPr>
          <p:spPr bwMode="auto">
            <a:xfrm>
              <a:off x="2547938" y="1474866"/>
              <a:ext cx="14288" cy="41275"/>
            </a:xfrm>
            <a:custGeom>
              <a:avLst/>
              <a:gdLst>
                <a:gd name="T0" fmla="*/ 2147483647 w 27"/>
                <a:gd name="T1" fmla="*/ 2147483647 h 77"/>
                <a:gd name="T2" fmla="*/ 2147483647 w 27"/>
                <a:gd name="T3" fmla="*/ 2147483647 h 77"/>
                <a:gd name="T4" fmla="*/ 2147483647 w 27"/>
                <a:gd name="T5" fmla="*/ 2147483647 h 77"/>
                <a:gd name="T6" fmla="*/ 0 w 27"/>
                <a:gd name="T7" fmla="*/ 0 h 77"/>
                <a:gd name="T8" fmla="*/ 0 60000 65536"/>
                <a:gd name="T9" fmla="*/ 0 60000 65536"/>
                <a:gd name="T10" fmla="*/ 0 60000 65536"/>
                <a:gd name="T11" fmla="*/ 0 60000 65536"/>
                <a:gd name="T12" fmla="*/ 0 w 27"/>
                <a:gd name="T13" fmla="*/ 0 h 77"/>
                <a:gd name="T14" fmla="*/ 27 w 27"/>
                <a:gd name="T15" fmla="*/ 77 h 77"/>
              </a:gdLst>
              <a:ahLst/>
              <a:cxnLst>
                <a:cxn ang="T8">
                  <a:pos x="T0" y="T1"/>
                </a:cxn>
                <a:cxn ang="T9">
                  <a:pos x="T2" y="T3"/>
                </a:cxn>
                <a:cxn ang="T10">
                  <a:pos x="T4" y="T5"/>
                </a:cxn>
                <a:cxn ang="T11">
                  <a:pos x="T6" y="T7"/>
                </a:cxn>
              </a:cxnLst>
              <a:rect l="T12" t="T13" r="T14" b="T15"/>
              <a:pathLst>
                <a:path w="27" h="77">
                  <a:moveTo>
                    <a:pt x="27" y="77"/>
                  </a:moveTo>
                  <a:cubicBezTo>
                    <a:pt x="24" y="70"/>
                    <a:pt x="21" y="64"/>
                    <a:pt x="18" y="57"/>
                  </a:cubicBezTo>
                  <a:cubicBezTo>
                    <a:pt x="15" y="50"/>
                    <a:pt x="12" y="42"/>
                    <a:pt x="9" y="33"/>
                  </a:cubicBezTo>
                  <a:cubicBezTo>
                    <a:pt x="6" y="24"/>
                    <a:pt x="3" y="12"/>
                    <a:pt x="0" y="0"/>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0" name="Freeform 1487"/>
            <p:cNvSpPr>
              <a:spLocks/>
            </p:cNvSpPr>
            <p:nvPr/>
          </p:nvSpPr>
          <p:spPr bwMode="auto">
            <a:xfrm>
              <a:off x="2493963" y="1462166"/>
              <a:ext cx="55563" cy="22225"/>
            </a:xfrm>
            <a:custGeom>
              <a:avLst/>
              <a:gdLst>
                <a:gd name="T0" fmla="*/ 2147483647 w 106"/>
                <a:gd name="T1" fmla="*/ 0 h 43"/>
                <a:gd name="T2" fmla="*/ 2147483647 w 106"/>
                <a:gd name="T3" fmla="*/ 2147483647 h 43"/>
                <a:gd name="T4" fmla="*/ 2147483647 w 106"/>
                <a:gd name="T5" fmla="*/ 2147483647 h 43"/>
                <a:gd name="T6" fmla="*/ 2147483647 w 106"/>
                <a:gd name="T7" fmla="*/ 2147483647 h 43"/>
                <a:gd name="T8" fmla="*/ 2147483647 w 106"/>
                <a:gd name="T9" fmla="*/ 2147483647 h 43"/>
                <a:gd name="T10" fmla="*/ 0 w 106"/>
                <a:gd name="T11" fmla="*/ 2147483647 h 43"/>
                <a:gd name="T12" fmla="*/ 0 60000 65536"/>
                <a:gd name="T13" fmla="*/ 0 60000 65536"/>
                <a:gd name="T14" fmla="*/ 0 60000 65536"/>
                <a:gd name="T15" fmla="*/ 0 60000 65536"/>
                <a:gd name="T16" fmla="*/ 0 60000 65536"/>
                <a:gd name="T17" fmla="*/ 0 60000 65536"/>
                <a:gd name="T18" fmla="*/ 0 w 106"/>
                <a:gd name="T19" fmla="*/ 0 h 43"/>
                <a:gd name="T20" fmla="*/ 106 w 106"/>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106" h="43">
                  <a:moveTo>
                    <a:pt x="106" y="0"/>
                  </a:moveTo>
                  <a:cubicBezTo>
                    <a:pt x="99" y="3"/>
                    <a:pt x="92" y="6"/>
                    <a:pt x="85" y="10"/>
                  </a:cubicBezTo>
                  <a:cubicBezTo>
                    <a:pt x="78" y="14"/>
                    <a:pt x="71" y="18"/>
                    <a:pt x="63" y="22"/>
                  </a:cubicBezTo>
                  <a:cubicBezTo>
                    <a:pt x="55" y="26"/>
                    <a:pt x="45" y="31"/>
                    <a:pt x="37" y="34"/>
                  </a:cubicBezTo>
                  <a:cubicBezTo>
                    <a:pt x="29" y="37"/>
                    <a:pt x="22" y="39"/>
                    <a:pt x="16" y="40"/>
                  </a:cubicBezTo>
                  <a:cubicBezTo>
                    <a:pt x="10" y="41"/>
                    <a:pt x="5" y="42"/>
                    <a:pt x="0" y="43"/>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1" name="Freeform 1488"/>
            <p:cNvSpPr>
              <a:spLocks/>
            </p:cNvSpPr>
            <p:nvPr/>
          </p:nvSpPr>
          <p:spPr bwMode="auto">
            <a:xfrm>
              <a:off x="2492375" y="1485978"/>
              <a:ext cx="25400" cy="49213"/>
            </a:xfrm>
            <a:custGeom>
              <a:avLst/>
              <a:gdLst>
                <a:gd name="T0" fmla="*/ 2147483647 w 48"/>
                <a:gd name="T1" fmla="*/ 2147483647 h 93"/>
                <a:gd name="T2" fmla="*/ 2147483647 w 48"/>
                <a:gd name="T3" fmla="*/ 2147483647 h 93"/>
                <a:gd name="T4" fmla="*/ 2147483647 w 48"/>
                <a:gd name="T5" fmla="*/ 2147483647 h 93"/>
                <a:gd name="T6" fmla="*/ 2147483647 w 48"/>
                <a:gd name="T7" fmla="*/ 2147483647 h 93"/>
                <a:gd name="T8" fmla="*/ 0 w 48"/>
                <a:gd name="T9" fmla="*/ 0 h 93"/>
                <a:gd name="T10" fmla="*/ 0 60000 65536"/>
                <a:gd name="T11" fmla="*/ 0 60000 65536"/>
                <a:gd name="T12" fmla="*/ 0 60000 65536"/>
                <a:gd name="T13" fmla="*/ 0 60000 65536"/>
                <a:gd name="T14" fmla="*/ 0 60000 65536"/>
                <a:gd name="T15" fmla="*/ 0 w 48"/>
                <a:gd name="T16" fmla="*/ 0 h 93"/>
                <a:gd name="T17" fmla="*/ 48 w 48"/>
                <a:gd name="T18" fmla="*/ 93 h 93"/>
              </a:gdLst>
              <a:ahLst/>
              <a:cxnLst>
                <a:cxn ang="T10">
                  <a:pos x="T0" y="T1"/>
                </a:cxn>
                <a:cxn ang="T11">
                  <a:pos x="T2" y="T3"/>
                </a:cxn>
                <a:cxn ang="T12">
                  <a:pos x="T4" y="T5"/>
                </a:cxn>
                <a:cxn ang="T13">
                  <a:pos x="T6" y="T7"/>
                </a:cxn>
                <a:cxn ang="T14">
                  <a:pos x="T8" y="T9"/>
                </a:cxn>
              </a:cxnLst>
              <a:rect l="T15" t="T16" r="T17" b="T18"/>
              <a:pathLst>
                <a:path w="48" h="93">
                  <a:moveTo>
                    <a:pt x="48" y="93"/>
                  </a:moveTo>
                  <a:cubicBezTo>
                    <a:pt x="47" y="88"/>
                    <a:pt x="41" y="71"/>
                    <a:pt x="39" y="63"/>
                  </a:cubicBezTo>
                  <a:cubicBezTo>
                    <a:pt x="37" y="55"/>
                    <a:pt x="36" y="50"/>
                    <a:pt x="33" y="44"/>
                  </a:cubicBezTo>
                  <a:cubicBezTo>
                    <a:pt x="30" y="38"/>
                    <a:pt x="23" y="31"/>
                    <a:pt x="18" y="24"/>
                  </a:cubicBezTo>
                  <a:cubicBezTo>
                    <a:pt x="13" y="17"/>
                    <a:pt x="6" y="8"/>
                    <a:pt x="0" y="0"/>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2" name="Freeform 1489"/>
            <p:cNvSpPr>
              <a:spLocks/>
            </p:cNvSpPr>
            <p:nvPr/>
          </p:nvSpPr>
          <p:spPr bwMode="auto">
            <a:xfrm>
              <a:off x="2957513" y="1592341"/>
              <a:ext cx="42863" cy="41275"/>
            </a:xfrm>
            <a:custGeom>
              <a:avLst/>
              <a:gdLst>
                <a:gd name="T0" fmla="*/ 0 w 81"/>
                <a:gd name="T1" fmla="*/ 2147483647 h 80"/>
                <a:gd name="T2" fmla="*/ 2147483647 w 81"/>
                <a:gd name="T3" fmla="*/ 2147483647 h 80"/>
                <a:gd name="T4" fmla="*/ 2147483647 w 81"/>
                <a:gd name="T5" fmla="*/ 2147483647 h 80"/>
                <a:gd name="T6" fmla="*/ 2147483647 w 81"/>
                <a:gd name="T7" fmla="*/ 0 h 80"/>
                <a:gd name="T8" fmla="*/ 0 60000 65536"/>
                <a:gd name="T9" fmla="*/ 0 60000 65536"/>
                <a:gd name="T10" fmla="*/ 0 60000 65536"/>
                <a:gd name="T11" fmla="*/ 0 60000 65536"/>
                <a:gd name="T12" fmla="*/ 0 w 81"/>
                <a:gd name="T13" fmla="*/ 0 h 80"/>
                <a:gd name="T14" fmla="*/ 81 w 81"/>
                <a:gd name="T15" fmla="*/ 80 h 80"/>
              </a:gdLst>
              <a:ahLst/>
              <a:cxnLst>
                <a:cxn ang="T8">
                  <a:pos x="T0" y="T1"/>
                </a:cxn>
                <a:cxn ang="T9">
                  <a:pos x="T2" y="T3"/>
                </a:cxn>
                <a:cxn ang="T10">
                  <a:pos x="T4" y="T5"/>
                </a:cxn>
                <a:cxn ang="T11">
                  <a:pos x="T6" y="T7"/>
                </a:cxn>
              </a:cxnLst>
              <a:rect l="T12" t="T13" r="T14" b="T15"/>
              <a:pathLst>
                <a:path w="81" h="80">
                  <a:moveTo>
                    <a:pt x="0" y="80"/>
                  </a:moveTo>
                  <a:cubicBezTo>
                    <a:pt x="5" y="78"/>
                    <a:pt x="20" y="71"/>
                    <a:pt x="29" y="65"/>
                  </a:cubicBezTo>
                  <a:cubicBezTo>
                    <a:pt x="38" y="59"/>
                    <a:pt x="44" y="55"/>
                    <a:pt x="53" y="44"/>
                  </a:cubicBezTo>
                  <a:cubicBezTo>
                    <a:pt x="62" y="33"/>
                    <a:pt x="75" y="9"/>
                    <a:pt x="81" y="0"/>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3" name="Freeform 1490"/>
            <p:cNvSpPr>
              <a:spLocks/>
            </p:cNvSpPr>
            <p:nvPr/>
          </p:nvSpPr>
          <p:spPr bwMode="auto">
            <a:xfrm>
              <a:off x="2965450" y="1636791"/>
              <a:ext cx="26988" cy="30163"/>
            </a:xfrm>
            <a:custGeom>
              <a:avLst/>
              <a:gdLst>
                <a:gd name="T0" fmla="*/ 2147483647 w 53"/>
                <a:gd name="T1" fmla="*/ 2147483647 h 57"/>
                <a:gd name="T2" fmla="*/ 2147483647 w 53"/>
                <a:gd name="T3" fmla="*/ 2147483647 h 57"/>
                <a:gd name="T4" fmla="*/ 2147483647 w 53"/>
                <a:gd name="T5" fmla="*/ 2147483647 h 57"/>
                <a:gd name="T6" fmla="*/ 0 w 53"/>
                <a:gd name="T7" fmla="*/ 0 h 57"/>
                <a:gd name="T8" fmla="*/ 0 60000 65536"/>
                <a:gd name="T9" fmla="*/ 0 60000 65536"/>
                <a:gd name="T10" fmla="*/ 0 60000 65536"/>
                <a:gd name="T11" fmla="*/ 0 60000 65536"/>
                <a:gd name="T12" fmla="*/ 0 w 53"/>
                <a:gd name="T13" fmla="*/ 0 h 57"/>
                <a:gd name="T14" fmla="*/ 53 w 53"/>
                <a:gd name="T15" fmla="*/ 57 h 57"/>
              </a:gdLst>
              <a:ahLst/>
              <a:cxnLst>
                <a:cxn ang="T8">
                  <a:pos x="T0" y="T1"/>
                </a:cxn>
                <a:cxn ang="T9">
                  <a:pos x="T2" y="T3"/>
                </a:cxn>
                <a:cxn ang="T10">
                  <a:pos x="T4" y="T5"/>
                </a:cxn>
                <a:cxn ang="T11">
                  <a:pos x="T6" y="T7"/>
                </a:cxn>
              </a:cxnLst>
              <a:rect l="T12" t="T13" r="T14" b="T15"/>
              <a:pathLst>
                <a:path w="53" h="57">
                  <a:moveTo>
                    <a:pt x="53" y="57"/>
                  </a:moveTo>
                  <a:cubicBezTo>
                    <a:pt x="50" y="48"/>
                    <a:pt x="48" y="39"/>
                    <a:pt x="44" y="33"/>
                  </a:cubicBezTo>
                  <a:cubicBezTo>
                    <a:pt x="40" y="27"/>
                    <a:pt x="34" y="23"/>
                    <a:pt x="27" y="18"/>
                  </a:cubicBezTo>
                  <a:cubicBezTo>
                    <a:pt x="20" y="13"/>
                    <a:pt x="10" y="6"/>
                    <a:pt x="0" y="0"/>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4" name="Freeform 1491"/>
            <p:cNvSpPr>
              <a:spLocks/>
            </p:cNvSpPr>
            <p:nvPr/>
          </p:nvSpPr>
          <p:spPr bwMode="auto">
            <a:xfrm>
              <a:off x="2994025" y="1625678"/>
              <a:ext cx="41275" cy="34925"/>
            </a:xfrm>
            <a:custGeom>
              <a:avLst/>
              <a:gdLst>
                <a:gd name="T0" fmla="*/ 0 w 80"/>
                <a:gd name="T1" fmla="*/ 2147483647 h 69"/>
                <a:gd name="T2" fmla="*/ 2147483647 w 80"/>
                <a:gd name="T3" fmla="*/ 2147483647 h 69"/>
                <a:gd name="T4" fmla="*/ 2147483647 w 80"/>
                <a:gd name="T5" fmla="*/ 2147483647 h 69"/>
                <a:gd name="T6" fmla="*/ 2147483647 w 80"/>
                <a:gd name="T7" fmla="*/ 0 h 69"/>
                <a:gd name="T8" fmla="*/ 0 60000 65536"/>
                <a:gd name="T9" fmla="*/ 0 60000 65536"/>
                <a:gd name="T10" fmla="*/ 0 60000 65536"/>
                <a:gd name="T11" fmla="*/ 0 60000 65536"/>
                <a:gd name="T12" fmla="*/ 0 w 80"/>
                <a:gd name="T13" fmla="*/ 0 h 69"/>
                <a:gd name="T14" fmla="*/ 80 w 80"/>
                <a:gd name="T15" fmla="*/ 69 h 69"/>
              </a:gdLst>
              <a:ahLst/>
              <a:cxnLst>
                <a:cxn ang="T8">
                  <a:pos x="T0" y="T1"/>
                </a:cxn>
                <a:cxn ang="T9">
                  <a:pos x="T2" y="T3"/>
                </a:cxn>
                <a:cxn ang="T10">
                  <a:pos x="T4" y="T5"/>
                </a:cxn>
                <a:cxn ang="T11">
                  <a:pos x="T6" y="T7"/>
                </a:cxn>
              </a:cxnLst>
              <a:rect l="T12" t="T13" r="T14" b="T15"/>
              <a:pathLst>
                <a:path w="80" h="69">
                  <a:moveTo>
                    <a:pt x="0" y="69"/>
                  </a:moveTo>
                  <a:cubicBezTo>
                    <a:pt x="6" y="61"/>
                    <a:pt x="13" y="53"/>
                    <a:pt x="20" y="46"/>
                  </a:cubicBezTo>
                  <a:cubicBezTo>
                    <a:pt x="27" y="39"/>
                    <a:pt x="29" y="36"/>
                    <a:pt x="39" y="28"/>
                  </a:cubicBezTo>
                  <a:cubicBezTo>
                    <a:pt x="49" y="20"/>
                    <a:pt x="71" y="6"/>
                    <a:pt x="80" y="0"/>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5" name="Freeform 1492"/>
            <p:cNvSpPr>
              <a:spLocks/>
            </p:cNvSpPr>
            <p:nvPr/>
          </p:nvSpPr>
          <p:spPr bwMode="auto">
            <a:xfrm>
              <a:off x="3005138" y="1595516"/>
              <a:ext cx="41275" cy="28575"/>
            </a:xfrm>
            <a:custGeom>
              <a:avLst/>
              <a:gdLst>
                <a:gd name="T0" fmla="*/ 2147483647 w 78"/>
                <a:gd name="T1" fmla="*/ 2147483647 h 53"/>
                <a:gd name="T2" fmla="*/ 2147483647 w 78"/>
                <a:gd name="T3" fmla="*/ 2147483647 h 53"/>
                <a:gd name="T4" fmla="*/ 2147483647 w 78"/>
                <a:gd name="T5" fmla="*/ 2147483647 h 53"/>
                <a:gd name="T6" fmla="*/ 0 w 78"/>
                <a:gd name="T7" fmla="*/ 0 h 53"/>
                <a:gd name="T8" fmla="*/ 0 60000 65536"/>
                <a:gd name="T9" fmla="*/ 0 60000 65536"/>
                <a:gd name="T10" fmla="*/ 0 60000 65536"/>
                <a:gd name="T11" fmla="*/ 0 60000 65536"/>
                <a:gd name="T12" fmla="*/ 0 w 78"/>
                <a:gd name="T13" fmla="*/ 0 h 53"/>
                <a:gd name="T14" fmla="*/ 78 w 78"/>
                <a:gd name="T15" fmla="*/ 53 h 53"/>
              </a:gdLst>
              <a:ahLst/>
              <a:cxnLst>
                <a:cxn ang="T8">
                  <a:pos x="T0" y="T1"/>
                </a:cxn>
                <a:cxn ang="T9">
                  <a:pos x="T2" y="T3"/>
                </a:cxn>
                <a:cxn ang="T10">
                  <a:pos x="T4" y="T5"/>
                </a:cxn>
                <a:cxn ang="T11">
                  <a:pos x="T6" y="T7"/>
                </a:cxn>
              </a:cxnLst>
              <a:rect l="T12" t="T13" r="T14" b="T15"/>
              <a:pathLst>
                <a:path w="78" h="53">
                  <a:moveTo>
                    <a:pt x="78" y="53"/>
                  </a:moveTo>
                  <a:cubicBezTo>
                    <a:pt x="67" y="51"/>
                    <a:pt x="59" y="52"/>
                    <a:pt x="48" y="47"/>
                  </a:cubicBezTo>
                  <a:cubicBezTo>
                    <a:pt x="37" y="42"/>
                    <a:pt x="22" y="29"/>
                    <a:pt x="14" y="21"/>
                  </a:cubicBezTo>
                  <a:cubicBezTo>
                    <a:pt x="6" y="13"/>
                    <a:pt x="4" y="7"/>
                    <a:pt x="0" y="0"/>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6" name="Freeform 1493"/>
            <p:cNvSpPr>
              <a:spLocks/>
            </p:cNvSpPr>
            <p:nvPr/>
          </p:nvSpPr>
          <p:spPr bwMode="auto">
            <a:xfrm>
              <a:off x="2825750" y="2476578"/>
              <a:ext cx="80963" cy="22225"/>
            </a:xfrm>
            <a:custGeom>
              <a:avLst/>
              <a:gdLst>
                <a:gd name="T0" fmla="*/ 0 w 155"/>
                <a:gd name="T1" fmla="*/ 2147483647 h 42"/>
                <a:gd name="T2" fmla="*/ 2147483647 w 155"/>
                <a:gd name="T3" fmla="*/ 2147483647 h 42"/>
                <a:gd name="T4" fmla="*/ 2147483647 w 155"/>
                <a:gd name="T5" fmla="*/ 2147483647 h 42"/>
                <a:gd name="T6" fmla="*/ 2147483647 w 155"/>
                <a:gd name="T7" fmla="*/ 2147483647 h 42"/>
                <a:gd name="T8" fmla="*/ 2147483647 w 155"/>
                <a:gd name="T9" fmla="*/ 0 h 42"/>
                <a:gd name="T10" fmla="*/ 0 60000 65536"/>
                <a:gd name="T11" fmla="*/ 0 60000 65536"/>
                <a:gd name="T12" fmla="*/ 0 60000 65536"/>
                <a:gd name="T13" fmla="*/ 0 60000 65536"/>
                <a:gd name="T14" fmla="*/ 0 60000 65536"/>
                <a:gd name="T15" fmla="*/ 0 w 155"/>
                <a:gd name="T16" fmla="*/ 0 h 42"/>
                <a:gd name="T17" fmla="*/ 155 w 155"/>
                <a:gd name="T18" fmla="*/ 42 h 42"/>
              </a:gdLst>
              <a:ahLst/>
              <a:cxnLst>
                <a:cxn ang="T10">
                  <a:pos x="T0" y="T1"/>
                </a:cxn>
                <a:cxn ang="T11">
                  <a:pos x="T2" y="T3"/>
                </a:cxn>
                <a:cxn ang="T12">
                  <a:pos x="T4" y="T5"/>
                </a:cxn>
                <a:cxn ang="T13">
                  <a:pos x="T6" y="T7"/>
                </a:cxn>
                <a:cxn ang="T14">
                  <a:pos x="T8" y="T9"/>
                </a:cxn>
              </a:cxnLst>
              <a:rect l="T15" t="T16" r="T17" b="T18"/>
              <a:pathLst>
                <a:path w="155" h="42">
                  <a:moveTo>
                    <a:pt x="0" y="42"/>
                  </a:moveTo>
                  <a:lnTo>
                    <a:pt x="24" y="22"/>
                  </a:lnTo>
                  <a:lnTo>
                    <a:pt x="63" y="9"/>
                  </a:lnTo>
                  <a:lnTo>
                    <a:pt x="108" y="4"/>
                  </a:lnTo>
                  <a:lnTo>
                    <a:pt x="155" y="0"/>
                  </a:ln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7" name="Freeform 1494"/>
            <p:cNvSpPr>
              <a:spLocks/>
            </p:cNvSpPr>
            <p:nvPr/>
          </p:nvSpPr>
          <p:spPr bwMode="auto">
            <a:xfrm>
              <a:off x="2860675" y="2416253"/>
              <a:ext cx="39688" cy="55563"/>
            </a:xfrm>
            <a:custGeom>
              <a:avLst/>
              <a:gdLst>
                <a:gd name="T0" fmla="*/ 2147483647 w 75"/>
                <a:gd name="T1" fmla="*/ 2147483647 h 108"/>
                <a:gd name="T2" fmla="*/ 2147483647 w 75"/>
                <a:gd name="T3" fmla="*/ 2147483647 h 108"/>
                <a:gd name="T4" fmla="*/ 2147483647 w 75"/>
                <a:gd name="T5" fmla="*/ 2147483647 h 108"/>
                <a:gd name="T6" fmla="*/ 2147483647 w 75"/>
                <a:gd name="T7" fmla="*/ 2147483647 h 108"/>
                <a:gd name="T8" fmla="*/ 0 w 75"/>
                <a:gd name="T9" fmla="*/ 0 h 108"/>
                <a:gd name="T10" fmla="*/ 0 60000 65536"/>
                <a:gd name="T11" fmla="*/ 0 60000 65536"/>
                <a:gd name="T12" fmla="*/ 0 60000 65536"/>
                <a:gd name="T13" fmla="*/ 0 60000 65536"/>
                <a:gd name="T14" fmla="*/ 0 60000 65536"/>
                <a:gd name="T15" fmla="*/ 0 w 75"/>
                <a:gd name="T16" fmla="*/ 0 h 108"/>
                <a:gd name="T17" fmla="*/ 75 w 75"/>
                <a:gd name="T18" fmla="*/ 108 h 108"/>
              </a:gdLst>
              <a:ahLst/>
              <a:cxnLst>
                <a:cxn ang="T10">
                  <a:pos x="T0" y="T1"/>
                </a:cxn>
                <a:cxn ang="T11">
                  <a:pos x="T2" y="T3"/>
                </a:cxn>
                <a:cxn ang="T12">
                  <a:pos x="T4" y="T5"/>
                </a:cxn>
                <a:cxn ang="T13">
                  <a:pos x="T6" y="T7"/>
                </a:cxn>
                <a:cxn ang="T14">
                  <a:pos x="T8" y="T9"/>
                </a:cxn>
              </a:cxnLst>
              <a:rect l="T15" t="T16" r="T17" b="T18"/>
              <a:pathLst>
                <a:path w="75" h="108">
                  <a:moveTo>
                    <a:pt x="75" y="108"/>
                  </a:moveTo>
                  <a:cubicBezTo>
                    <a:pt x="69" y="103"/>
                    <a:pt x="63" y="99"/>
                    <a:pt x="56" y="93"/>
                  </a:cubicBezTo>
                  <a:cubicBezTo>
                    <a:pt x="49" y="87"/>
                    <a:pt x="41" y="76"/>
                    <a:pt x="35" y="69"/>
                  </a:cubicBezTo>
                  <a:cubicBezTo>
                    <a:pt x="29" y="62"/>
                    <a:pt x="26" y="59"/>
                    <a:pt x="20" y="48"/>
                  </a:cubicBezTo>
                  <a:cubicBezTo>
                    <a:pt x="14" y="37"/>
                    <a:pt x="7" y="18"/>
                    <a:pt x="0" y="0"/>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8" name="Freeform 1495"/>
            <p:cNvSpPr>
              <a:spLocks/>
            </p:cNvSpPr>
            <p:nvPr/>
          </p:nvSpPr>
          <p:spPr bwMode="auto">
            <a:xfrm>
              <a:off x="2808288" y="2408316"/>
              <a:ext cx="50800" cy="9525"/>
            </a:xfrm>
            <a:custGeom>
              <a:avLst/>
              <a:gdLst>
                <a:gd name="T0" fmla="*/ 2147483647 w 94"/>
                <a:gd name="T1" fmla="*/ 0 h 18"/>
                <a:gd name="T2" fmla="*/ 2147483647 w 94"/>
                <a:gd name="T3" fmla="*/ 2147483647 h 18"/>
                <a:gd name="T4" fmla="*/ 2147483647 w 94"/>
                <a:gd name="T5" fmla="*/ 2147483647 h 18"/>
                <a:gd name="T6" fmla="*/ 0 w 94"/>
                <a:gd name="T7" fmla="*/ 2147483647 h 18"/>
                <a:gd name="T8" fmla="*/ 0 60000 65536"/>
                <a:gd name="T9" fmla="*/ 0 60000 65536"/>
                <a:gd name="T10" fmla="*/ 0 60000 65536"/>
                <a:gd name="T11" fmla="*/ 0 60000 65536"/>
                <a:gd name="T12" fmla="*/ 0 w 94"/>
                <a:gd name="T13" fmla="*/ 0 h 18"/>
                <a:gd name="T14" fmla="*/ 94 w 94"/>
                <a:gd name="T15" fmla="*/ 18 h 18"/>
              </a:gdLst>
              <a:ahLst/>
              <a:cxnLst>
                <a:cxn ang="T8">
                  <a:pos x="T0" y="T1"/>
                </a:cxn>
                <a:cxn ang="T9">
                  <a:pos x="T2" y="T3"/>
                </a:cxn>
                <a:cxn ang="T10">
                  <a:pos x="T4" y="T5"/>
                </a:cxn>
                <a:cxn ang="T11">
                  <a:pos x="T6" y="T7"/>
                </a:cxn>
              </a:cxnLst>
              <a:rect l="T12" t="T13" r="T14" b="T15"/>
              <a:pathLst>
                <a:path w="94" h="18">
                  <a:moveTo>
                    <a:pt x="94" y="0"/>
                  </a:moveTo>
                  <a:cubicBezTo>
                    <a:pt x="87" y="6"/>
                    <a:pt x="80" y="12"/>
                    <a:pt x="69" y="15"/>
                  </a:cubicBezTo>
                  <a:cubicBezTo>
                    <a:pt x="58" y="18"/>
                    <a:pt x="36" y="17"/>
                    <a:pt x="25" y="17"/>
                  </a:cubicBezTo>
                  <a:cubicBezTo>
                    <a:pt x="14" y="17"/>
                    <a:pt x="7" y="16"/>
                    <a:pt x="0" y="15"/>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59" name="Freeform 1496"/>
            <p:cNvSpPr>
              <a:spLocks/>
            </p:cNvSpPr>
            <p:nvPr/>
          </p:nvSpPr>
          <p:spPr bwMode="auto">
            <a:xfrm>
              <a:off x="2811463" y="2421016"/>
              <a:ext cx="20638" cy="66675"/>
            </a:xfrm>
            <a:custGeom>
              <a:avLst/>
              <a:gdLst>
                <a:gd name="T0" fmla="*/ 0 w 37"/>
                <a:gd name="T1" fmla="*/ 0 h 128"/>
                <a:gd name="T2" fmla="*/ 2147483647 w 37"/>
                <a:gd name="T3" fmla="*/ 2147483647 h 128"/>
                <a:gd name="T4" fmla="*/ 2147483647 w 37"/>
                <a:gd name="T5" fmla="*/ 2147483647 h 128"/>
                <a:gd name="T6" fmla="*/ 2147483647 w 37"/>
                <a:gd name="T7" fmla="*/ 2147483647 h 128"/>
                <a:gd name="T8" fmla="*/ 2147483647 w 37"/>
                <a:gd name="T9" fmla="*/ 2147483647 h 128"/>
                <a:gd name="T10" fmla="*/ 0 60000 65536"/>
                <a:gd name="T11" fmla="*/ 0 60000 65536"/>
                <a:gd name="T12" fmla="*/ 0 60000 65536"/>
                <a:gd name="T13" fmla="*/ 0 60000 65536"/>
                <a:gd name="T14" fmla="*/ 0 60000 65536"/>
                <a:gd name="T15" fmla="*/ 0 w 37"/>
                <a:gd name="T16" fmla="*/ 0 h 128"/>
                <a:gd name="T17" fmla="*/ 37 w 37"/>
                <a:gd name="T18" fmla="*/ 128 h 128"/>
              </a:gdLst>
              <a:ahLst/>
              <a:cxnLst>
                <a:cxn ang="T10">
                  <a:pos x="T0" y="T1"/>
                </a:cxn>
                <a:cxn ang="T11">
                  <a:pos x="T2" y="T3"/>
                </a:cxn>
                <a:cxn ang="T12">
                  <a:pos x="T4" y="T5"/>
                </a:cxn>
                <a:cxn ang="T13">
                  <a:pos x="T6" y="T7"/>
                </a:cxn>
                <a:cxn ang="T14">
                  <a:pos x="T8" y="T9"/>
                </a:cxn>
              </a:cxnLst>
              <a:rect l="T15" t="T16" r="T17" b="T18"/>
              <a:pathLst>
                <a:path w="37" h="128">
                  <a:moveTo>
                    <a:pt x="0" y="0"/>
                  </a:moveTo>
                  <a:cubicBezTo>
                    <a:pt x="8" y="11"/>
                    <a:pt x="17" y="23"/>
                    <a:pt x="22" y="35"/>
                  </a:cubicBezTo>
                  <a:cubicBezTo>
                    <a:pt x="27" y="47"/>
                    <a:pt x="29" y="58"/>
                    <a:pt x="31" y="71"/>
                  </a:cubicBezTo>
                  <a:cubicBezTo>
                    <a:pt x="33" y="84"/>
                    <a:pt x="35" y="107"/>
                    <a:pt x="36" y="116"/>
                  </a:cubicBezTo>
                  <a:cubicBezTo>
                    <a:pt x="37" y="125"/>
                    <a:pt x="36" y="126"/>
                    <a:pt x="36" y="128"/>
                  </a:cubicBezTo>
                </a:path>
              </a:pathLst>
            </a:custGeom>
            <a:noFill/>
            <a:ln w="9525"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60" name="Freeform 1497"/>
            <p:cNvSpPr>
              <a:spLocks/>
            </p:cNvSpPr>
            <p:nvPr/>
          </p:nvSpPr>
          <p:spPr bwMode="auto">
            <a:xfrm>
              <a:off x="3719513" y="2735341"/>
              <a:ext cx="36513" cy="73025"/>
            </a:xfrm>
            <a:custGeom>
              <a:avLst/>
              <a:gdLst>
                <a:gd name="T0" fmla="*/ 2147483647 w 69"/>
                <a:gd name="T1" fmla="*/ 2147483647 h 140"/>
                <a:gd name="T2" fmla="*/ 0 w 69"/>
                <a:gd name="T3" fmla="*/ 2147483647 h 140"/>
                <a:gd name="T4" fmla="*/ 2147483647 w 69"/>
                <a:gd name="T5" fmla="*/ 2147483647 h 140"/>
                <a:gd name="T6" fmla="*/ 2147483647 w 69"/>
                <a:gd name="T7" fmla="*/ 2147483647 h 140"/>
                <a:gd name="T8" fmla="*/ 2147483647 w 69"/>
                <a:gd name="T9" fmla="*/ 2147483647 h 140"/>
                <a:gd name="T10" fmla="*/ 2147483647 w 69"/>
                <a:gd name="T11" fmla="*/ 2147483647 h 140"/>
                <a:gd name="T12" fmla="*/ 2147483647 w 69"/>
                <a:gd name="T13" fmla="*/ 2147483647 h 140"/>
                <a:gd name="T14" fmla="*/ 2147483647 w 69"/>
                <a:gd name="T15" fmla="*/ 2147483647 h 140"/>
                <a:gd name="T16" fmla="*/ 2147483647 w 69"/>
                <a:gd name="T17" fmla="*/ 2147483647 h 140"/>
                <a:gd name="T18" fmla="*/ 2147483647 w 69"/>
                <a:gd name="T19" fmla="*/ 2147483647 h 140"/>
                <a:gd name="T20" fmla="*/ 2147483647 w 69"/>
                <a:gd name="T21" fmla="*/ 2147483647 h 140"/>
                <a:gd name="T22" fmla="*/ 2147483647 w 69"/>
                <a:gd name="T23" fmla="*/ 2147483647 h 140"/>
                <a:gd name="T24" fmla="*/ 2147483647 w 69"/>
                <a:gd name="T25" fmla="*/ 2147483647 h 140"/>
                <a:gd name="T26" fmla="*/ 2147483647 w 69"/>
                <a:gd name="T27" fmla="*/ 2147483647 h 140"/>
                <a:gd name="T28" fmla="*/ 2147483647 w 69"/>
                <a:gd name="T29" fmla="*/ 2147483647 h 140"/>
                <a:gd name="T30" fmla="*/ 2147483647 w 69"/>
                <a:gd name="T31" fmla="*/ 2147483647 h 140"/>
                <a:gd name="T32" fmla="*/ 2147483647 w 69"/>
                <a:gd name="T33" fmla="*/ 2147483647 h 1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9"/>
                <a:gd name="T52" fmla="*/ 0 h 140"/>
                <a:gd name="T53" fmla="*/ 69 w 69"/>
                <a:gd name="T54" fmla="*/ 140 h 1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9" h="140">
                  <a:moveTo>
                    <a:pt x="12" y="97"/>
                  </a:moveTo>
                  <a:cubicBezTo>
                    <a:pt x="8" y="97"/>
                    <a:pt x="0" y="102"/>
                    <a:pt x="0" y="100"/>
                  </a:cubicBezTo>
                  <a:cubicBezTo>
                    <a:pt x="0" y="98"/>
                    <a:pt x="10" y="89"/>
                    <a:pt x="10" y="83"/>
                  </a:cubicBezTo>
                  <a:cubicBezTo>
                    <a:pt x="10" y="77"/>
                    <a:pt x="2" y="70"/>
                    <a:pt x="1" y="65"/>
                  </a:cubicBezTo>
                  <a:cubicBezTo>
                    <a:pt x="0" y="60"/>
                    <a:pt x="0" y="57"/>
                    <a:pt x="3" y="53"/>
                  </a:cubicBezTo>
                  <a:cubicBezTo>
                    <a:pt x="6" y="49"/>
                    <a:pt x="15" y="43"/>
                    <a:pt x="22" y="38"/>
                  </a:cubicBezTo>
                  <a:cubicBezTo>
                    <a:pt x="29" y="33"/>
                    <a:pt x="41" y="29"/>
                    <a:pt x="48" y="23"/>
                  </a:cubicBezTo>
                  <a:cubicBezTo>
                    <a:pt x="55" y="17"/>
                    <a:pt x="65" y="0"/>
                    <a:pt x="67" y="1"/>
                  </a:cubicBezTo>
                  <a:cubicBezTo>
                    <a:pt x="69" y="2"/>
                    <a:pt x="63" y="24"/>
                    <a:pt x="60" y="32"/>
                  </a:cubicBezTo>
                  <a:cubicBezTo>
                    <a:pt x="57" y="40"/>
                    <a:pt x="51" y="44"/>
                    <a:pt x="46" y="50"/>
                  </a:cubicBezTo>
                  <a:cubicBezTo>
                    <a:pt x="41" y="56"/>
                    <a:pt x="31" y="59"/>
                    <a:pt x="30" y="67"/>
                  </a:cubicBezTo>
                  <a:cubicBezTo>
                    <a:pt x="29" y="75"/>
                    <a:pt x="35" y="88"/>
                    <a:pt x="37" y="97"/>
                  </a:cubicBezTo>
                  <a:cubicBezTo>
                    <a:pt x="39" y="106"/>
                    <a:pt x="42" y="114"/>
                    <a:pt x="43" y="121"/>
                  </a:cubicBezTo>
                  <a:cubicBezTo>
                    <a:pt x="44" y="128"/>
                    <a:pt x="45" y="140"/>
                    <a:pt x="43" y="139"/>
                  </a:cubicBezTo>
                  <a:cubicBezTo>
                    <a:pt x="41" y="138"/>
                    <a:pt x="34" y="122"/>
                    <a:pt x="31" y="116"/>
                  </a:cubicBezTo>
                  <a:cubicBezTo>
                    <a:pt x="28" y="110"/>
                    <a:pt x="29" y="104"/>
                    <a:pt x="25" y="101"/>
                  </a:cubicBezTo>
                  <a:cubicBezTo>
                    <a:pt x="21" y="98"/>
                    <a:pt x="16" y="97"/>
                    <a:pt x="12" y="97"/>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361" name="Freeform 1498"/>
            <p:cNvSpPr>
              <a:spLocks/>
            </p:cNvSpPr>
            <p:nvPr/>
          </p:nvSpPr>
          <p:spPr bwMode="auto">
            <a:xfrm>
              <a:off x="3751263" y="2709941"/>
              <a:ext cx="3175" cy="28575"/>
            </a:xfrm>
            <a:custGeom>
              <a:avLst/>
              <a:gdLst>
                <a:gd name="T0" fmla="*/ 0 w 6"/>
                <a:gd name="T1" fmla="*/ 0 h 55"/>
                <a:gd name="T2" fmla="*/ 2147483647 w 6"/>
                <a:gd name="T3" fmla="*/ 2147483647 h 55"/>
                <a:gd name="T4" fmla="*/ 0 w 6"/>
                <a:gd name="T5" fmla="*/ 2147483647 h 55"/>
                <a:gd name="T6" fmla="*/ 0 60000 65536"/>
                <a:gd name="T7" fmla="*/ 0 60000 65536"/>
                <a:gd name="T8" fmla="*/ 0 60000 65536"/>
                <a:gd name="T9" fmla="*/ 0 w 6"/>
                <a:gd name="T10" fmla="*/ 0 h 55"/>
                <a:gd name="T11" fmla="*/ 6 w 6"/>
                <a:gd name="T12" fmla="*/ 55 h 55"/>
              </a:gdLst>
              <a:ahLst/>
              <a:cxnLst>
                <a:cxn ang="T6">
                  <a:pos x="T0" y="T1"/>
                </a:cxn>
                <a:cxn ang="T7">
                  <a:pos x="T2" y="T3"/>
                </a:cxn>
                <a:cxn ang="T8">
                  <a:pos x="T4" y="T5"/>
                </a:cxn>
              </a:cxnLst>
              <a:rect l="T9" t="T10" r="T11" b="T12"/>
              <a:pathLst>
                <a:path w="6" h="55">
                  <a:moveTo>
                    <a:pt x="0" y="0"/>
                  </a:moveTo>
                  <a:cubicBezTo>
                    <a:pt x="3" y="10"/>
                    <a:pt x="6" y="21"/>
                    <a:pt x="6" y="30"/>
                  </a:cubicBezTo>
                  <a:cubicBezTo>
                    <a:pt x="6" y="39"/>
                    <a:pt x="3" y="47"/>
                    <a:pt x="0" y="55"/>
                  </a:cubicBezTo>
                </a:path>
              </a:pathLst>
            </a:custGeom>
            <a:noFill/>
            <a:ln w="9525"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362" name="Freeform 1499"/>
            <p:cNvSpPr>
              <a:spLocks/>
            </p:cNvSpPr>
            <p:nvPr/>
          </p:nvSpPr>
          <p:spPr bwMode="auto">
            <a:xfrm rot="-2520520">
              <a:off x="3286125" y="16082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63" name="Freeform 1500"/>
            <p:cNvSpPr>
              <a:spLocks/>
            </p:cNvSpPr>
            <p:nvPr/>
          </p:nvSpPr>
          <p:spPr bwMode="auto">
            <a:xfrm rot="-2520520">
              <a:off x="3270250" y="16050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64" name="Freeform 1501"/>
            <p:cNvSpPr>
              <a:spLocks/>
            </p:cNvSpPr>
            <p:nvPr/>
          </p:nvSpPr>
          <p:spPr bwMode="auto">
            <a:xfrm rot="-2520520">
              <a:off x="3252788" y="16034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65" name="Freeform 1502"/>
            <p:cNvSpPr>
              <a:spLocks/>
            </p:cNvSpPr>
            <p:nvPr/>
          </p:nvSpPr>
          <p:spPr bwMode="auto">
            <a:xfrm rot="-3121003">
              <a:off x="3235325" y="16034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66" name="Freeform 1503"/>
            <p:cNvSpPr>
              <a:spLocks/>
            </p:cNvSpPr>
            <p:nvPr/>
          </p:nvSpPr>
          <p:spPr bwMode="auto">
            <a:xfrm rot="-3121003">
              <a:off x="3217863" y="16050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67" name="Freeform 1504"/>
            <p:cNvSpPr>
              <a:spLocks/>
            </p:cNvSpPr>
            <p:nvPr/>
          </p:nvSpPr>
          <p:spPr bwMode="auto">
            <a:xfrm rot="-3121003">
              <a:off x="3200400" y="16082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68" name="Freeform 1505"/>
            <p:cNvSpPr>
              <a:spLocks/>
            </p:cNvSpPr>
            <p:nvPr/>
          </p:nvSpPr>
          <p:spPr bwMode="auto">
            <a:xfrm rot="-3121003">
              <a:off x="3182938" y="16098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69" name="Freeform 1506"/>
            <p:cNvSpPr>
              <a:spLocks/>
            </p:cNvSpPr>
            <p:nvPr/>
          </p:nvSpPr>
          <p:spPr bwMode="auto">
            <a:xfrm rot="-3121003">
              <a:off x="3165475" y="16113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0" name="Freeform 1507"/>
            <p:cNvSpPr>
              <a:spLocks/>
            </p:cNvSpPr>
            <p:nvPr/>
          </p:nvSpPr>
          <p:spPr bwMode="auto">
            <a:xfrm rot="-3121003">
              <a:off x="3151188" y="16113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1" name="Freeform 1508"/>
            <p:cNvSpPr>
              <a:spLocks/>
            </p:cNvSpPr>
            <p:nvPr/>
          </p:nvSpPr>
          <p:spPr bwMode="auto">
            <a:xfrm rot="-3523594">
              <a:off x="3132138" y="16145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2" name="Freeform 1509"/>
            <p:cNvSpPr>
              <a:spLocks/>
            </p:cNvSpPr>
            <p:nvPr/>
          </p:nvSpPr>
          <p:spPr bwMode="auto">
            <a:xfrm rot="-3927568">
              <a:off x="3116263" y="162091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3" name="Freeform 1510"/>
            <p:cNvSpPr>
              <a:spLocks/>
            </p:cNvSpPr>
            <p:nvPr/>
          </p:nvSpPr>
          <p:spPr bwMode="auto">
            <a:xfrm rot="-3927568">
              <a:off x="3100388" y="1627266"/>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4" name="Freeform 1511"/>
            <p:cNvSpPr>
              <a:spLocks/>
            </p:cNvSpPr>
            <p:nvPr/>
          </p:nvSpPr>
          <p:spPr bwMode="auto">
            <a:xfrm rot="-3327085">
              <a:off x="3079750" y="16304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5" name="Freeform 1512"/>
            <p:cNvSpPr>
              <a:spLocks/>
            </p:cNvSpPr>
            <p:nvPr/>
          </p:nvSpPr>
          <p:spPr bwMode="auto">
            <a:xfrm rot="-3327085">
              <a:off x="3063875" y="16336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6" name="Freeform 1513"/>
            <p:cNvSpPr>
              <a:spLocks/>
            </p:cNvSpPr>
            <p:nvPr/>
          </p:nvSpPr>
          <p:spPr bwMode="auto">
            <a:xfrm rot="-3529072">
              <a:off x="3048000" y="16367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7" name="Freeform 1514"/>
            <p:cNvSpPr>
              <a:spLocks/>
            </p:cNvSpPr>
            <p:nvPr/>
          </p:nvSpPr>
          <p:spPr bwMode="auto">
            <a:xfrm rot="-4323508">
              <a:off x="3030538" y="16431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8" name="Freeform 1515"/>
            <p:cNvSpPr>
              <a:spLocks/>
            </p:cNvSpPr>
            <p:nvPr/>
          </p:nvSpPr>
          <p:spPr bwMode="auto">
            <a:xfrm rot="-4928086">
              <a:off x="3016250" y="16526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79" name="Freeform 1516"/>
            <p:cNvSpPr>
              <a:spLocks/>
            </p:cNvSpPr>
            <p:nvPr/>
          </p:nvSpPr>
          <p:spPr bwMode="auto">
            <a:xfrm rot="-4146694">
              <a:off x="3001963" y="16606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0" name="Freeform 1517"/>
            <p:cNvSpPr>
              <a:spLocks/>
            </p:cNvSpPr>
            <p:nvPr/>
          </p:nvSpPr>
          <p:spPr bwMode="auto">
            <a:xfrm rot="-2520520">
              <a:off x="2967038" y="16621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1" name="Freeform 1518"/>
            <p:cNvSpPr>
              <a:spLocks/>
            </p:cNvSpPr>
            <p:nvPr/>
          </p:nvSpPr>
          <p:spPr bwMode="auto">
            <a:xfrm rot="-2520520">
              <a:off x="2951163" y="1659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2" name="Freeform 1519"/>
            <p:cNvSpPr>
              <a:spLocks/>
            </p:cNvSpPr>
            <p:nvPr/>
          </p:nvSpPr>
          <p:spPr bwMode="auto">
            <a:xfrm rot="-2520520">
              <a:off x="2935288" y="16574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3" name="Freeform 1520"/>
            <p:cNvSpPr>
              <a:spLocks/>
            </p:cNvSpPr>
            <p:nvPr/>
          </p:nvSpPr>
          <p:spPr bwMode="auto">
            <a:xfrm rot="-2520520">
              <a:off x="2921000" y="16542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4" name="Freeform 1521"/>
            <p:cNvSpPr>
              <a:spLocks/>
            </p:cNvSpPr>
            <p:nvPr/>
          </p:nvSpPr>
          <p:spPr bwMode="auto">
            <a:xfrm rot="-2520520">
              <a:off x="2901950" y="16542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5" name="Freeform 1522"/>
            <p:cNvSpPr>
              <a:spLocks/>
            </p:cNvSpPr>
            <p:nvPr/>
          </p:nvSpPr>
          <p:spPr bwMode="auto">
            <a:xfrm rot="-2923110">
              <a:off x="2855913" y="1647110"/>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6" name="Freeform 1523"/>
            <p:cNvSpPr>
              <a:spLocks/>
            </p:cNvSpPr>
            <p:nvPr/>
          </p:nvSpPr>
          <p:spPr bwMode="auto">
            <a:xfrm rot="-2923110">
              <a:off x="2865438" y="16542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7" name="Freeform 1524"/>
            <p:cNvSpPr>
              <a:spLocks/>
            </p:cNvSpPr>
            <p:nvPr/>
          </p:nvSpPr>
          <p:spPr bwMode="auto">
            <a:xfrm rot="-2923110">
              <a:off x="2846388" y="16542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8" name="Freeform 1525"/>
            <p:cNvSpPr>
              <a:spLocks/>
            </p:cNvSpPr>
            <p:nvPr/>
          </p:nvSpPr>
          <p:spPr bwMode="auto">
            <a:xfrm rot="-2923110">
              <a:off x="2828925" y="16558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89" name="Freeform 1526"/>
            <p:cNvSpPr>
              <a:spLocks/>
            </p:cNvSpPr>
            <p:nvPr/>
          </p:nvSpPr>
          <p:spPr bwMode="auto">
            <a:xfrm rot="-2923110">
              <a:off x="2811463" y="16558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0" name="Freeform 1527"/>
            <p:cNvSpPr>
              <a:spLocks/>
            </p:cNvSpPr>
            <p:nvPr/>
          </p:nvSpPr>
          <p:spPr bwMode="auto">
            <a:xfrm rot="-2721123">
              <a:off x="2795588" y="16542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1" name="Freeform 1528"/>
            <p:cNvSpPr>
              <a:spLocks/>
            </p:cNvSpPr>
            <p:nvPr/>
          </p:nvSpPr>
          <p:spPr bwMode="auto">
            <a:xfrm rot="-2520520">
              <a:off x="2778125" y="16542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2" name="Freeform 1529"/>
            <p:cNvSpPr>
              <a:spLocks/>
            </p:cNvSpPr>
            <p:nvPr/>
          </p:nvSpPr>
          <p:spPr bwMode="auto">
            <a:xfrm rot="-2322634">
              <a:off x="2757488" y="16510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3" name="Freeform 1530"/>
            <p:cNvSpPr>
              <a:spLocks/>
            </p:cNvSpPr>
            <p:nvPr/>
          </p:nvSpPr>
          <p:spPr bwMode="auto">
            <a:xfrm rot="-2120647">
              <a:off x="2738438" y="16479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4" name="Freeform 1531"/>
            <p:cNvSpPr>
              <a:spLocks/>
            </p:cNvSpPr>
            <p:nvPr/>
          </p:nvSpPr>
          <p:spPr bwMode="auto">
            <a:xfrm rot="-1918660">
              <a:off x="2720975" y="16415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5" name="Freeform 1532"/>
            <p:cNvSpPr>
              <a:spLocks/>
            </p:cNvSpPr>
            <p:nvPr/>
          </p:nvSpPr>
          <p:spPr bwMode="auto">
            <a:xfrm rot="-2321250">
              <a:off x="2705100" y="16367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6" name="Freeform 1533"/>
            <p:cNvSpPr>
              <a:spLocks/>
            </p:cNvSpPr>
            <p:nvPr/>
          </p:nvSpPr>
          <p:spPr bwMode="auto">
            <a:xfrm rot="-2321250">
              <a:off x="2687638" y="16352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7" name="Freeform 1534"/>
            <p:cNvSpPr>
              <a:spLocks/>
            </p:cNvSpPr>
            <p:nvPr/>
          </p:nvSpPr>
          <p:spPr bwMode="auto">
            <a:xfrm rot="-2921726">
              <a:off x="2670175" y="16352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8" name="Freeform 1535"/>
            <p:cNvSpPr>
              <a:spLocks/>
            </p:cNvSpPr>
            <p:nvPr/>
          </p:nvSpPr>
          <p:spPr bwMode="auto">
            <a:xfrm rot="-2921726">
              <a:off x="2652713" y="16352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399" name="Freeform 1536"/>
            <p:cNvSpPr>
              <a:spLocks/>
            </p:cNvSpPr>
            <p:nvPr/>
          </p:nvSpPr>
          <p:spPr bwMode="auto">
            <a:xfrm rot="-3324316">
              <a:off x="2633663" y="16367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0" name="Freeform 1537"/>
            <p:cNvSpPr>
              <a:spLocks/>
            </p:cNvSpPr>
            <p:nvPr/>
          </p:nvSpPr>
          <p:spPr bwMode="auto">
            <a:xfrm rot="-3324316">
              <a:off x="2614613" y="16399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1" name="Freeform 1538"/>
            <p:cNvSpPr>
              <a:spLocks/>
            </p:cNvSpPr>
            <p:nvPr/>
          </p:nvSpPr>
          <p:spPr bwMode="auto">
            <a:xfrm rot="-3526304">
              <a:off x="2597150" y="16447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2" name="Freeform 1539"/>
            <p:cNvSpPr>
              <a:spLocks/>
            </p:cNvSpPr>
            <p:nvPr/>
          </p:nvSpPr>
          <p:spPr bwMode="auto">
            <a:xfrm rot="-3728291">
              <a:off x="2578100" y="16479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3" name="Freeform 1540"/>
            <p:cNvSpPr>
              <a:spLocks/>
            </p:cNvSpPr>
            <p:nvPr/>
          </p:nvSpPr>
          <p:spPr bwMode="auto">
            <a:xfrm rot="-3728291">
              <a:off x="2560638" y="16526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4" name="Freeform 1541"/>
            <p:cNvSpPr>
              <a:spLocks/>
            </p:cNvSpPr>
            <p:nvPr/>
          </p:nvSpPr>
          <p:spPr bwMode="auto">
            <a:xfrm rot="-3728291">
              <a:off x="2543175" y="16574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5" name="Freeform 1542"/>
            <p:cNvSpPr>
              <a:spLocks/>
            </p:cNvSpPr>
            <p:nvPr/>
          </p:nvSpPr>
          <p:spPr bwMode="auto">
            <a:xfrm rot="-3728291">
              <a:off x="2527300" y="16606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6" name="Freeform 1543"/>
            <p:cNvSpPr>
              <a:spLocks/>
            </p:cNvSpPr>
            <p:nvPr/>
          </p:nvSpPr>
          <p:spPr bwMode="auto">
            <a:xfrm rot="-3728291">
              <a:off x="2509838" y="16653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7" name="Freeform 1544"/>
            <p:cNvSpPr>
              <a:spLocks/>
            </p:cNvSpPr>
            <p:nvPr/>
          </p:nvSpPr>
          <p:spPr bwMode="auto">
            <a:xfrm rot="-3728291">
              <a:off x="2492375" y="16685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8" name="Freeform 1545"/>
            <p:cNvSpPr>
              <a:spLocks/>
            </p:cNvSpPr>
            <p:nvPr/>
          </p:nvSpPr>
          <p:spPr bwMode="auto">
            <a:xfrm rot="-3728291">
              <a:off x="2474913" y="16733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09" name="Freeform 1546"/>
            <p:cNvSpPr>
              <a:spLocks/>
            </p:cNvSpPr>
            <p:nvPr/>
          </p:nvSpPr>
          <p:spPr bwMode="auto">
            <a:xfrm rot="-3728291">
              <a:off x="2459038" y="16764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0" name="Freeform 1547"/>
            <p:cNvSpPr>
              <a:spLocks/>
            </p:cNvSpPr>
            <p:nvPr/>
          </p:nvSpPr>
          <p:spPr bwMode="auto">
            <a:xfrm rot="-3526304">
              <a:off x="2441575" y="16812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1" name="Freeform 1548"/>
            <p:cNvSpPr>
              <a:spLocks/>
            </p:cNvSpPr>
            <p:nvPr/>
          </p:nvSpPr>
          <p:spPr bwMode="auto">
            <a:xfrm rot="-3325708">
              <a:off x="2422525" y="16844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2" name="Freeform 1549"/>
            <p:cNvSpPr>
              <a:spLocks/>
            </p:cNvSpPr>
            <p:nvPr/>
          </p:nvSpPr>
          <p:spPr bwMode="auto">
            <a:xfrm rot="-3325708">
              <a:off x="2405063" y="16875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3" name="Freeform 1550"/>
            <p:cNvSpPr>
              <a:spLocks/>
            </p:cNvSpPr>
            <p:nvPr/>
          </p:nvSpPr>
          <p:spPr bwMode="auto">
            <a:xfrm rot="-3325708">
              <a:off x="2386013" y="16907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4" name="Freeform 1551"/>
            <p:cNvSpPr>
              <a:spLocks/>
            </p:cNvSpPr>
            <p:nvPr/>
          </p:nvSpPr>
          <p:spPr bwMode="auto">
            <a:xfrm rot="-3325708">
              <a:off x="2368550" y="16939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5" name="Freeform 1552"/>
            <p:cNvSpPr>
              <a:spLocks/>
            </p:cNvSpPr>
            <p:nvPr/>
          </p:nvSpPr>
          <p:spPr bwMode="auto">
            <a:xfrm rot="-3325708">
              <a:off x="2349500" y="16971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6" name="Freeform 1553"/>
            <p:cNvSpPr>
              <a:spLocks/>
            </p:cNvSpPr>
            <p:nvPr/>
          </p:nvSpPr>
          <p:spPr bwMode="auto">
            <a:xfrm rot="-3325708">
              <a:off x="2332038" y="17002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7" name="Freeform 1554"/>
            <p:cNvSpPr>
              <a:spLocks/>
            </p:cNvSpPr>
            <p:nvPr/>
          </p:nvSpPr>
          <p:spPr bwMode="auto">
            <a:xfrm rot="-3325708">
              <a:off x="2311400" y="17018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8" name="Freeform 1555"/>
            <p:cNvSpPr>
              <a:spLocks/>
            </p:cNvSpPr>
            <p:nvPr/>
          </p:nvSpPr>
          <p:spPr bwMode="auto">
            <a:xfrm rot="-3325708">
              <a:off x="2292350" y="17050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19" name="Freeform 1556"/>
            <p:cNvSpPr>
              <a:spLocks/>
            </p:cNvSpPr>
            <p:nvPr/>
          </p:nvSpPr>
          <p:spPr bwMode="auto">
            <a:xfrm rot="-3325708">
              <a:off x="2273300" y="17082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0" name="Freeform 1557"/>
            <p:cNvSpPr>
              <a:spLocks/>
            </p:cNvSpPr>
            <p:nvPr/>
          </p:nvSpPr>
          <p:spPr bwMode="auto">
            <a:xfrm rot="-3325708">
              <a:off x="2254250" y="17098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1" name="Freeform 1558"/>
            <p:cNvSpPr>
              <a:spLocks/>
            </p:cNvSpPr>
            <p:nvPr/>
          </p:nvSpPr>
          <p:spPr bwMode="auto">
            <a:xfrm rot="-3325708">
              <a:off x="2235200" y="17114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2" name="Freeform 1559"/>
            <p:cNvSpPr>
              <a:spLocks/>
            </p:cNvSpPr>
            <p:nvPr/>
          </p:nvSpPr>
          <p:spPr bwMode="auto">
            <a:xfrm rot="-3325708">
              <a:off x="2217738" y="17145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3" name="Freeform 1560"/>
            <p:cNvSpPr>
              <a:spLocks/>
            </p:cNvSpPr>
            <p:nvPr/>
          </p:nvSpPr>
          <p:spPr bwMode="auto">
            <a:xfrm rot="-3325708">
              <a:off x="2200275" y="17177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4" name="Freeform 1561"/>
            <p:cNvSpPr>
              <a:spLocks/>
            </p:cNvSpPr>
            <p:nvPr/>
          </p:nvSpPr>
          <p:spPr bwMode="auto">
            <a:xfrm rot="-3926177">
              <a:off x="2182813" y="17209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5" name="Freeform 1562"/>
            <p:cNvSpPr>
              <a:spLocks/>
            </p:cNvSpPr>
            <p:nvPr/>
          </p:nvSpPr>
          <p:spPr bwMode="auto">
            <a:xfrm rot="-4328774">
              <a:off x="2163763" y="17272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6" name="Freeform 1563"/>
            <p:cNvSpPr>
              <a:spLocks/>
            </p:cNvSpPr>
            <p:nvPr/>
          </p:nvSpPr>
          <p:spPr bwMode="auto">
            <a:xfrm rot="-4732749">
              <a:off x="2147888" y="17352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7" name="Freeform 1564"/>
            <p:cNvSpPr>
              <a:spLocks/>
            </p:cNvSpPr>
            <p:nvPr/>
          </p:nvSpPr>
          <p:spPr bwMode="auto">
            <a:xfrm rot="-4732749">
              <a:off x="2133600" y="17447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8" name="Freeform 1565"/>
            <p:cNvSpPr>
              <a:spLocks/>
            </p:cNvSpPr>
            <p:nvPr/>
          </p:nvSpPr>
          <p:spPr bwMode="auto">
            <a:xfrm rot="-4934736">
              <a:off x="2117725" y="17558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29" name="Freeform 1566"/>
            <p:cNvSpPr>
              <a:spLocks/>
            </p:cNvSpPr>
            <p:nvPr/>
          </p:nvSpPr>
          <p:spPr bwMode="auto">
            <a:xfrm rot="-5136724">
              <a:off x="2103438" y="17669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0" name="Freeform 1567"/>
            <p:cNvSpPr>
              <a:spLocks/>
            </p:cNvSpPr>
            <p:nvPr/>
          </p:nvSpPr>
          <p:spPr bwMode="auto">
            <a:xfrm rot="-5136724">
              <a:off x="2090738" y="17780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1" name="Freeform 1568"/>
            <p:cNvSpPr>
              <a:spLocks/>
            </p:cNvSpPr>
            <p:nvPr/>
          </p:nvSpPr>
          <p:spPr bwMode="auto">
            <a:xfrm rot="-5136724">
              <a:off x="2078038" y="17891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2" name="Freeform 1569"/>
            <p:cNvSpPr>
              <a:spLocks/>
            </p:cNvSpPr>
            <p:nvPr/>
          </p:nvSpPr>
          <p:spPr bwMode="auto">
            <a:xfrm rot="-5136724">
              <a:off x="2063750" y="18003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3" name="Freeform 1570"/>
            <p:cNvSpPr>
              <a:spLocks/>
            </p:cNvSpPr>
            <p:nvPr/>
          </p:nvSpPr>
          <p:spPr bwMode="auto">
            <a:xfrm rot="-5136724">
              <a:off x="2049463" y="18130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4" name="Freeform 1571"/>
            <p:cNvSpPr>
              <a:spLocks/>
            </p:cNvSpPr>
            <p:nvPr/>
          </p:nvSpPr>
          <p:spPr bwMode="auto">
            <a:xfrm rot="-5136724">
              <a:off x="2035175" y="18225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5" name="Freeform 1572"/>
            <p:cNvSpPr>
              <a:spLocks/>
            </p:cNvSpPr>
            <p:nvPr/>
          </p:nvSpPr>
          <p:spPr bwMode="auto">
            <a:xfrm rot="-5136724">
              <a:off x="2019300" y="18320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6" name="Freeform 1573"/>
            <p:cNvSpPr>
              <a:spLocks/>
            </p:cNvSpPr>
            <p:nvPr/>
          </p:nvSpPr>
          <p:spPr bwMode="auto">
            <a:xfrm rot="-4734126">
              <a:off x="2003425" y="18431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7" name="Freeform 1574"/>
            <p:cNvSpPr>
              <a:spLocks/>
            </p:cNvSpPr>
            <p:nvPr/>
          </p:nvSpPr>
          <p:spPr bwMode="auto">
            <a:xfrm rot="-4734126">
              <a:off x="1987550" y="18542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8" name="Freeform 1575"/>
            <p:cNvSpPr>
              <a:spLocks/>
            </p:cNvSpPr>
            <p:nvPr/>
          </p:nvSpPr>
          <p:spPr bwMode="auto">
            <a:xfrm rot="-5564897">
              <a:off x="1974850" y="1866978"/>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39" name="Freeform 1576"/>
            <p:cNvSpPr>
              <a:spLocks/>
            </p:cNvSpPr>
            <p:nvPr/>
          </p:nvSpPr>
          <p:spPr bwMode="auto">
            <a:xfrm rot="-6359341">
              <a:off x="1962150" y="18812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0" name="Freeform 1577"/>
            <p:cNvSpPr>
              <a:spLocks/>
            </p:cNvSpPr>
            <p:nvPr/>
          </p:nvSpPr>
          <p:spPr bwMode="auto">
            <a:xfrm rot="-6359341">
              <a:off x="1954213" y="18955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1" name="Freeform 1578"/>
            <p:cNvSpPr>
              <a:spLocks/>
            </p:cNvSpPr>
            <p:nvPr/>
          </p:nvSpPr>
          <p:spPr bwMode="auto">
            <a:xfrm rot="-7439106">
              <a:off x="1946275" y="19114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2" name="Freeform 1579"/>
            <p:cNvSpPr>
              <a:spLocks/>
            </p:cNvSpPr>
            <p:nvPr/>
          </p:nvSpPr>
          <p:spPr bwMode="auto">
            <a:xfrm rot="-7543242">
              <a:off x="1941513" y="19288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3" name="Freeform 1580"/>
            <p:cNvSpPr>
              <a:spLocks/>
            </p:cNvSpPr>
            <p:nvPr/>
          </p:nvSpPr>
          <p:spPr bwMode="auto">
            <a:xfrm rot="-7543242">
              <a:off x="1939925" y="1946353"/>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4" name="Freeform 1581"/>
            <p:cNvSpPr>
              <a:spLocks/>
            </p:cNvSpPr>
            <p:nvPr/>
          </p:nvSpPr>
          <p:spPr bwMode="auto">
            <a:xfrm rot="-7945840">
              <a:off x="1936750" y="19638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5" name="Freeform 1582"/>
            <p:cNvSpPr>
              <a:spLocks/>
            </p:cNvSpPr>
            <p:nvPr/>
          </p:nvSpPr>
          <p:spPr bwMode="auto">
            <a:xfrm rot="-7945840">
              <a:off x="1935163" y="19812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6" name="Freeform 1583"/>
            <p:cNvSpPr>
              <a:spLocks/>
            </p:cNvSpPr>
            <p:nvPr/>
          </p:nvSpPr>
          <p:spPr bwMode="auto">
            <a:xfrm rot="-8147827">
              <a:off x="1933575" y="20003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7" name="Freeform 1584"/>
            <p:cNvSpPr>
              <a:spLocks/>
            </p:cNvSpPr>
            <p:nvPr/>
          </p:nvSpPr>
          <p:spPr bwMode="auto">
            <a:xfrm rot="-8147827">
              <a:off x="1933575" y="20177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8" name="Freeform 1585"/>
            <p:cNvSpPr>
              <a:spLocks/>
            </p:cNvSpPr>
            <p:nvPr/>
          </p:nvSpPr>
          <p:spPr bwMode="auto">
            <a:xfrm rot="-8147827">
              <a:off x="1933575" y="20352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49" name="Freeform 1586"/>
            <p:cNvSpPr>
              <a:spLocks/>
            </p:cNvSpPr>
            <p:nvPr/>
          </p:nvSpPr>
          <p:spPr bwMode="auto">
            <a:xfrm rot="-8147827">
              <a:off x="1933575" y="20527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0" name="Freeform 1587"/>
            <p:cNvSpPr>
              <a:spLocks/>
            </p:cNvSpPr>
            <p:nvPr/>
          </p:nvSpPr>
          <p:spPr bwMode="auto">
            <a:xfrm rot="-8147827">
              <a:off x="1931988" y="20701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1" name="Freeform 1588"/>
            <p:cNvSpPr>
              <a:spLocks/>
            </p:cNvSpPr>
            <p:nvPr/>
          </p:nvSpPr>
          <p:spPr bwMode="auto">
            <a:xfrm rot="-8147827">
              <a:off x="1931988" y="20892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2" name="Freeform 1589"/>
            <p:cNvSpPr>
              <a:spLocks/>
            </p:cNvSpPr>
            <p:nvPr/>
          </p:nvSpPr>
          <p:spPr bwMode="auto">
            <a:xfrm rot="-8147827">
              <a:off x="1930400" y="210669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3" name="Freeform 1590"/>
            <p:cNvSpPr>
              <a:spLocks/>
            </p:cNvSpPr>
            <p:nvPr/>
          </p:nvSpPr>
          <p:spPr bwMode="auto">
            <a:xfrm rot="-7894131">
              <a:off x="1930400" y="21225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4" name="Freeform 1591"/>
            <p:cNvSpPr>
              <a:spLocks/>
            </p:cNvSpPr>
            <p:nvPr/>
          </p:nvSpPr>
          <p:spPr bwMode="auto">
            <a:xfrm rot="-8147827">
              <a:off x="1928813" y="21400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5" name="Freeform 1592"/>
            <p:cNvSpPr>
              <a:spLocks/>
            </p:cNvSpPr>
            <p:nvPr/>
          </p:nvSpPr>
          <p:spPr bwMode="auto">
            <a:xfrm rot="-7918989">
              <a:off x="1928813" y="21590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6" name="Freeform 1593"/>
            <p:cNvSpPr>
              <a:spLocks/>
            </p:cNvSpPr>
            <p:nvPr/>
          </p:nvSpPr>
          <p:spPr bwMode="auto">
            <a:xfrm rot="-7918989">
              <a:off x="1927225" y="21765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7" name="Freeform 1594"/>
            <p:cNvSpPr>
              <a:spLocks/>
            </p:cNvSpPr>
            <p:nvPr/>
          </p:nvSpPr>
          <p:spPr bwMode="auto">
            <a:xfrm rot="-7918989">
              <a:off x="1925638" y="21940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8" name="Freeform 1595"/>
            <p:cNvSpPr>
              <a:spLocks/>
            </p:cNvSpPr>
            <p:nvPr/>
          </p:nvSpPr>
          <p:spPr bwMode="auto">
            <a:xfrm rot="-8120977">
              <a:off x="1924050" y="22130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59" name="Freeform 1596"/>
            <p:cNvSpPr>
              <a:spLocks/>
            </p:cNvSpPr>
            <p:nvPr/>
          </p:nvSpPr>
          <p:spPr bwMode="auto">
            <a:xfrm rot="-8120977">
              <a:off x="1924050" y="22336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0" name="Freeform 1597"/>
            <p:cNvSpPr>
              <a:spLocks/>
            </p:cNvSpPr>
            <p:nvPr/>
          </p:nvSpPr>
          <p:spPr bwMode="auto">
            <a:xfrm rot="-8120977">
              <a:off x="1924050" y="2252741"/>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1" name="Freeform 1598"/>
            <p:cNvSpPr>
              <a:spLocks/>
            </p:cNvSpPr>
            <p:nvPr/>
          </p:nvSpPr>
          <p:spPr bwMode="auto">
            <a:xfrm rot="-8120977">
              <a:off x="1924050" y="22702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2" name="Freeform 1599"/>
            <p:cNvSpPr>
              <a:spLocks/>
            </p:cNvSpPr>
            <p:nvPr/>
          </p:nvSpPr>
          <p:spPr bwMode="auto">
            <a:xfrm rot="-8349814">
              <a:off x="1924050" y="22892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3" name="Freeform 1600"/>
            <p:cNvSpPr>
              <a:spLocks/>
            </p:cNvSpPr>
            <p:nvPr/>
          </p:nvSpPr>
          <p:spPr bwMode="auto">
            <a:xfrm rot="-8349814">
              <a:off x="1924050" y="23067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4" name="Freeform 1601"/>
            <p:cNvSpPr>
              <a:spLocks/>
            </p:cNvSpPr>
            <p:nvPr/>
          </p:nvSpPr>
          <p:spPr bwMode="auto">
            <a:xfrm rot="-8349814">
              <a:off x="1925638" y="23257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5" name="Freeform 1602"/>
            <p:cNvSpPr>
              <a:spLocks/>
            </p:cNvSpPr>
            <p:nvPr/>
          </p:nvSpPr>
          <p:spPr bwMode="auto">
            <a:xfrm rot="-8805498">
              <a:off x="1927225" y="2346403"/>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6" name="Freeform 1603"/>
            <p:cNvSpPr>
              <a:spLocks/>
            </p:cNvSpPr>
            <p:nvPr/>
          </p:nvSpPr>
          <p:spPr bwMode="auto">
            <a:xfrm rot="-8805498">
              <a:off x="1930400" y="23638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7" name="Freeform 1604"/>
            <p:cNvSpPr>
              <a:spLocks/>
            </p:cNvSpPr>
            <p:nvPr/>
          </p:nvSpPr>
          <p:spPr bwMode="auto">
            <a:xfrm rot="-9034336">
              <a:off x="1931988" y="23829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8" name="Freeform 1605"/>
            <p:cNvSpPr>
              <a:spLocks/>
            </p:cNvSpPr>
            <p:nvPr/>
          </p:nvSpPr>
          <p:spPr bwMode="auto">
            <a:xfrm rot="-9263174">
              <a:off x="1943100" y="2419428"/>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69" name="Freeform 1606"/>
            <p:cNvSpPr>
              <a:spLocks/>
            </p:cNvSpPr>
            <p:nvPr/>
          </p:nvSpPr>
          <p:spPr bwMode="auto">
            <a:xfrm rot="-9492012">
              <a:off x="1949450" y="24353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0" name="Freeform 1607"/>
            <p:cNvSpPr>
              <a:spLocks/>
            </p:cNvSpPr>
            <p:nvPr/>
          </p:nvSpPr>
          <p:spPr bwMode="auto">
            <a:xfrm rot="-9492012">
              <a:off x="1957388" y="24511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1" name="Freeform 1608"/>
            <p:cNvSpPr>
              <a:spLocks/>
            </p:cNvSpPr>
            <p:nvPr/>
          </p:nvSpPr>
          <p:spPr bwMode="auto">
            <a:xfrm rot="-9941777">
              <a:off x="1965325" y="24670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2" name="Freeform 1609"/>
            <p:cNvSpPr>
              <a:spLocks/>
            </p:cNvSpPr>
            <p:nvPr/>
          </p:nvSpPr>
          <p:spPr bwMode="auto">
            <a:xfrm rot="-9941777">
              <a:off x="1973263" y="24829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3" name="Freeform 1610"/>
            <p:cNvSpPr>
              <a:spLocks/>
            </p:cNvSpPr>
            <p:nvPr/>
          </p:nvSpPr>
          <p:spPr bwMode="auto">
            <a:xfrm rot="-9941777">
              <a:off x="1981200" y="24988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4" name="Freeform 1611"/>
            <p:cNvSpPr>
              <a:spLocks/>
            </p:cNvSpPr>
            <p:nvPr/>
          </p:nvSpPr>
          <p:spPr bwMode="auto">
            <a:xfrm rot="-9941777">
              <a:off x="1987550" y="25130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5" name="Freeform 1612"/>
            <p:cNvSpPr>
              <a:spLocks/>
            </p:cNvSpPr>
            <p:nvPr/>
          </p:nvSpPr>
          <p:spPr bwMode="auto">
            <a:xfrm rot="-9941777">
              <a:off x="1993900" y="25273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6" name="Freeform 1613"/>
            <p:cNvSpPr>
              <a:spLocks/>
            </p:cNvSpPr>
            <p:nvPr/>
          </p:nvSpPr>
          <p:spPr bwMode="auto">
            <a:xfrm rot="10673145">
              <a:off x="2003425" y="25400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7" name="Freeform 1614"/>
            <p:cNvSpPr>
              <a:spLocks/>
            </p:cNvSpPr>
            <p:nvPr/>
          </p:nvSpPr>
          <p:spPr bwMode="auto">
            <a:xfrm rot="8079023">
              <a:off x="2017713" y="25448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8" name="Freeform 1615"/>
            <p:cNvSpPr>
              <a:spLocks/>
            </p:cNvSpPr>
            <p:nvPr/>
          </p:nvSpPr>
          <p:spPr bwMode="auto">
            <a:xfrm rot="8079023">
              <a:off x="2033588" y="25464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79" name="Freeform 1616"/>
            <p:cNvSpPr>
              <a:spLocks/>
            </p:cNvSpPr>
            <p:nvPr/>
          </p:nvSpPr>
          <p:spPr bwMode="auto">
            <a:xfrm rot="8079023">
              <a:off x="2047875"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0" name="Freeform 1617"/>
            <p:cNvSpPr>
              <a:spLocks/>
            </p:cNvSpPr>
            <p:nvPr/>
          </p:nvSpPr>
          <p:spPr bwMode="auto">
            <a:xfrm rot="7852207">
              <a:off x="2065338"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1" name="Freeform 1618"/>
            <p:cNvSpPr>
              <a:spLocks/>
            </p:cNvSpPr>
            <p:nvPr/>
          </p:nvSpPr>
          <p:spPr bwMode="auto">
            <a:xfrm rot="7852207">
              <a:off x="2082800"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2" name="Freeform 1619"/>
            <p:cNvSpPr>
              <a:spLocks/>
            </p:cNvSpPr>
            <p:nvPr/>
          </p:nvSpPr>
          <p:spPr bwMode="auto">
            <a:xfrm rot="7852207">
              <a:off x="2098675"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3" name="Freeform 1620"/>
            <p:cNvSpPr>
              <a:spLocks/>
            </p:cNvSpPr>
            <p:nvPr/>
          </p:nvSpPr>
          <p:spPr bwMode="auto">
            <a:xfrm rot="7852207">
              <a:off x="2114550"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4" name="Freeform 1621"/>
            <p:cNvSpPr>
              <a:spLocks/>
            </p:cNvSpPr>
            <p:nvPr/>
          </p:nvSpPr>
          <p:spPr bwMode="auto">
            <a:xfrm rot="7852207">
              <a:off x="2130425" y="25464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5" name="Freeform 1622"/>
            <p:cNvSpPr>
              <a:spLocks/>
            </p:cNvSpPr>
            <p:nvPr/>
          </p:nvSpPr>
          <p:spPr bwMode="auto">
            <a:xfrm rot="7852207">
              <a:off x="2146300"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6" name="Freeform 1623"/>
            <p:cNvSpPr>
              <a:spLocks/>
            </p:cNvSpPr>
            <p:nvPr/>
          </p:nvSpPr>
          <p:spPr bwMode="auto">
            <a:xfrm rot="7852207">
              <a:off x="2163763"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7" name="Freeform 1624"/>
            <p:cNvSpPr>
              <a:spLocks/>
            </p:cNvSpPr>
            <p:nvPr/>
          </p:nvSpPr>
          <p:spPr bwMode="auto">
            <a:xfrm rot="7852207">
              <a:off x="2179638"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8" name="Freeform 1625"/>
            <p:cNvSpPr>
              <a:spLocks/>
            </p:cNvSpPr>
            <p:nvPr/>
          </p:nvSpPr>
          <p:spPr bwMode="auto">
            <a:xfrm rot="7852207">
              <a:off x="2193925"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89" name="Freeform 1626"/>
            <p:cNvSpPr>
              <a:spLocks/>
            </p:cNvSpPr>
            <p:nvPr/>
          </p:nvSpPr>
          <p:spPr bwMode="auto">
            <a:xfrm rot="7959580">
              <a:off x="2209800"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0" name="Freeform 1627"/>
            <p:cNvSpPr>
              <a:spLocks/>
            </p:cNvSpPr>
            <p:nvPr/>
          </p:nvSpPr>
          <p:spPr bwMode="auto">
            <a:xfrm rot="7959580">
              <a:off x="2227263" y="25496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1" name="Freeform 1628"/>
            <p:cNvSpPr>
              <a:spLocks/>
            </p:cNvSpPr>
            <p:nvPr/>
          </p:nvSpPr>
          <p:spPr bwMode="auto">
            <a:xfrm rot="7959580">
              <a:off x="2243138" y="25496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2" name="Freeform 1629"/>
            <p:cNvSpPr>
              <a:spLocks/>
            </p:cNvSpPr>
            <p:nvPr/>
          </p:nvSpPr>
          <p:spPr bwMode="auto">
            <a:xfrm rot="7959580">
              <a:off x="2260600" y="25496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3" name="Freeform 1630"/>
            <p:cNvSpPr>
              <a:spLocks/>
            </p:cNvSpPr>
            <p:nvPr/>
          </p:nvSpPr>
          <p:spPr bwMode="auto">
            <a:xfrm rot="7292549">
              <a:off x="2278063" y="2548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4" name="Freeform 1631"/>
            <p:cNvSpPr>
              <a:spLocks/>
            </p:cNvSpPr>
            <p:nvPr/>
          </p:nvSpPr>
          <p:spPr bwMode="auto">
            <a:xfrm rot="6842812">
              <a:off x="2295525" y="25448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5" name="Freeform 1632"/>
            <p:cNvSpPr>
              <a:spLocks/>
            </p:cNvSpPr>
            <p:nvPr/>
          </p:nvSpPr>
          <p:spPr bwMode="auto">
            <a:xfrm rot="6842812">
              <a:off x="2311400" y="25400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6" name="Freeform 1633"/>
            <p:cNvSpPr>
              <a:spLocks/>
            </p:cNvSpPr>
            <p:nvPr/>
          </p:nvSpPr>
          <p:spPr bwMode="auto">
            <a:xfrm rot="6613945">
              <a:off x="2327275" y="25337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7" name="Freeform 1634"/>
            <p:cNvSpPr>
              <a:spLocks/>
            </p:cNvSpPr>
            <p:nvPr/>
          </p:nvSpPr>
          <p:spPr bwMode="auto">
            <a:xfrm rot="6613945">
              <a:off x="2341563" y="25273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8" name="Freeform 1635"/>
            <p:cNvSpPr>
              <a:spLocks/>
            </p:cNvSpPr>
            <p:nvPr/>
          </p:nvSpPr>
          <p:spPr bwMode="auto">
            <a:xfrm rot="6613945">
              <a:off x="2355850" y="25226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499" name="Freeform 1636"/>
            <p:cNvSpPr>
              <a:spLocks/>
            </p:cNvSpPr>
            <p:nvPr/>
          </p:nvSpPr>
          <p:spPr bwMode="auto">
            <a:xfrm rot="6613945">
              <a:off x="2371725" y="25162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0" name="Freeform 1637"/>
            <p:cNvSpPr>
              <a:spLocks/>
            </p:cNvSpPr>
            <p:nvPr/>
          </p:nvSpPr>
          <p:spPr bwMode="auto">
            <a:xfrm rot="6613945">
              <a:off x="2387600" y="25099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1" name="Freeform 1638"/>
            <p:cNvSpPr>
              <a:spLocks/>
            </p:cNvSpPr>
            <p:nvPr/>
          </p:nvSpPr>
          <p:spPr bwMode="auto">
            <a:xfrm rot="6613945">
              <a:off x="2401888" y="25035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2" name="Freeform 1639"/>
            <p:cNvSpPr>
              <a:spLocks/>
            </p:cNvSpPr>
            <p:nvPr/>
          </p:nvSpPr>
          <p:spPr bwMode="auto">
            <a:xfrm rot="6613945">
              <a:off x="2417763" y="24972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3" name="Freeform 1640"/>
            <p:cNvSpPr>
              <a:spLocks/>
            </p:cNvSpPr>
            <p:nvPr/>
          </p:nvSpPr>
          <p:spPr bwMode="auto">
            <a:xfrm rot="6613945">
              <a:off x="2433638" y="24908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4" name="Freeform 1641"/>
            <p:cNvSpPr>
              <a:spLocks/>
            </p:cNvSpPr>
            <p:nvPr/>
          </p:nvSpPr>
          <p:spPr bwMode="auto">
            <a:xfrm rot="6613945">
              <a:off x="2451100" y="24845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5" name="Freeform 1642"/>
            <p:cNvSpPr>
              <a:spLocks/>
            </p:cNvSpPr>
            <p:nvPr/>
          </p:nvSpPr>
          <p:spPr bwMode="auto">
            <a:xfrm rot="6613945">
              <a:off x="2465388" y="24797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6" name="Freeform 1643"/>
            <p:cNvSpPr>
              <a:spLocks/>
            </p:cNvSpPr>
            <p:nvPr/>
          </p:nvSpPr>
          <p:spPr bwMode="auto">
            <a:xfrm rot="6613945">
              <a:off x="2481263" y="24734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7" name="Freeform 1644"/>
            <p:cNvSpPr>
              <a:spLocks/>
            </p:cNvSpPr>
            <p:nvPr/>
          </p:nvSpPr>
          <p:spPr bwMode="auto">
            <a:xfrm rot="6613945">
              <a:off x="2497138" y="24670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8" name="Freeform 1645"/>
            <p:cNvSpPr>
              <a:spLocks/>
            </p:cNvSpPr>
            <p:nvPr/>
          </p:nvSpPr>
          <p:spPr bwMode="auto">
            <a:xfrm rot="6613945">
              <a:off x="2513013" y="24607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09" name="Freeform 1646"/>
            <p:cNvSpPr>
              <a:spLocks/>
            </p:cNvSpPr>
            <p:nvPr/>
          </p:nvSpPr>
          <p:spPr bwMode="auto">
            <a:xfrm rot="6613945">
              <a:off x="2527300" y="24543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0" name="Freeform 1647"/>
            <p:cNvSpPr>
              <a:spLocks/>
            </p:cNvSpPr>
            <p:nvPr/>
          </p:nvSpPr>
          <p:spPr bwMode="auto">
            <a:xfrm rot="6613945">
              <a:off x="2543175" y="24480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1" name="Freeform 1648"/>
            <p:cNvSpPr>
              <a:spLocks/>
            </p:cNvSpPr>
            <p:nvPr/>
          </p:nvSpPr>
          <p:spPr bwMode="auto">
            <a:xfrm rot="6613945">
              <a:off x="2559050" y="24400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2" name="Freeform 1649"/>
            <p:cNvSpPr>
              <a:spLocks/>
            </p:cNvSpPr>
            <p:nvPr/>
          </p:nvSpPr>
          <p:spPr bwMode="auto">
            <a:xfrm rot="6613945">
              <a:off x="2574925" y="24337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3" name="Freeform 1650"/>
            <p:cNvSpPr>
              <a:spLocks/>
            </p:cNvSpPr>
            <p:nvPr/>
          </p:nvSpPr>
          <p:spPr bwMode="auto">
            <a:xfrm rot="6613945">
              <a:off x="2592388" y="24273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4" name="Freeform 1651"/>
            <p:cNvSpPr>
              <a:spLocks/>
            </p:cNvSpPr>
            <p:nvPr/>
          </p:nvSpPr>
          <p:spPr bwMode="auto">
            <a:xfrm rot="6613945">
              <a:off x="2608263" y="24194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5" name="Freeform 1652"/>
            <p:cNvSpPr>
              <a:spLocks/>
            </p:cNvSpPr>
            <p:nvPr/>
          </p:nvSpPr>
          <p:spPr bwMode="auto">
            <a:xfrm rot="6613945">
              <a:off x="2624138" y="24114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6" name="Freeform 1653"/>
            <p:cNvSpPr>
              <a:spLocks/>
            </p:cNvSpPr>
            <p:nvPr/>
          </p:nvSpPr>
          <p:spPr bwMode="auto">
            <a:xfrm rot="6613945">
              <a:off x="2641600" y="24051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7" name="Freeform 1654"/>
            <p:cNvSpPr>
              <a:spLocks/>
            </p:cNvSpPr>
            <p:nvPr/>
          </p:nvSpPr>
          <p:spPr bwMode="auto">
            <a:xfrm rot="6613945">
              <a:off x="2655888" y="23972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8" name="Freeform 1655"/>
            <p:cNvSpPr>
              <a:spLocks/>
            </p:cNvSpPr>
            <p:nvPr/>
          </p:nvSpPr>
          <p:spPr bwMode="auto">
            <a:xfrm rot="6613945">
              <a:off x="2671763" y="23908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19" name="Freeform 1656"/>
            <p:cNvSpPr>
              <a:spLocks/>
            </p:cNvSpPr>
            <p:nvPr/>
          </p:nvSpPr>
          <p:spPr bwMode="auto">
            <a:xfrm rot="6613945">
              <a:off x="2703513" y="23765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0" name="Freeform 1657"/>
            <p:cNvSpPr>
              <a:spLocks/>
            </p:cNvSpPr>
            <p:nvPr/>
          </p:nvSpPr>
          <p:spPr bwMode="auto">
            <a:xfrm rot="7069629">
              <a:off x="2719388" y="23718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1" name="Freeform 1658"/>
            <p:cNvSpPr>
              <a:spLocks/>
            </p:cNvSpPr>
            <p:nvPr/>
          </p:nvSpPr>
          <p:spPr bwMode="auto">
            <a:xfrm rot="7982988">
              <a:off x="2736850" y="23718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2" name="Freeform 1659"/>
            <p:cNvSpPr>
              <a:spLocks/>
            </p:cNvSpPr>
            <p:nvPr/>
          </p:nvSpPr>
          <p:spPr bwMode="auto">
            <a:xfrm rot="8432754">
              <a:off x="2754313" y="23733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3" name="Freeform 1660"/>
            <p:cNvSpPr>
              <a:spLocks/>
            </p:cNvSpPr>
            <p:nvPr/>
          </p:nvSpPr>
          <p:spPr bwMode="auto">
            <a:xfrm rot="8888437">
              <a:off x="2771775" y="2378153"/>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4" name="Freeform 1661"/>
            <p:cNvSpPr>
              <a:spLocks/>
            </p:cNvSpPr>
            <p:nvPr/>
          </p:nvSpPr>
          <p:spPr bwMode="auto">
            <a:xfrm rot="8888437">
              <a:off x="2786063" y="23829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5" name="Freeform 1662"/>
            <p:cNvSpPr>
              <a:spLocks/>
            </p:cNvSpPr>
            <p:nvPr/>
          </p:nvSpPr>
          <p:spPr bwMode="auto">
            <a:xfrm rot="8888437">
              <a:off x="2803525" y="23876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6" name="Freeform 1663"/>
            <p:cNvSpPr>
              <a:spLocks/>
            </p:cNvSpPr>
            <p:nvPr/>
          </p:nvSpPr>
          <p:spPr bwMode="auto">
            <a:xfrm rot="8888437">
              <a:off x="2822575" y="23924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7" name="Freeform 1664"/>
            <p:cNvSpPr>
              <a:spLocks/>
            </p:cNvSpPr>
            <p:nvPr/>
          </p:nvSpPr>
          <p:spPr bwMode="auto">
            <a:xfrm rot="8659600">
              <a:off x="2874963" y="24035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8" name="Freeform 1665"/>
            <p:cNvSpPr>
              <a:spLocks/>
            </p:cNvSpPr>
            <p:nvPr/>
          </p:nvSpPr>
          <p:spPr bwMode="auto">
            <a:xfrm rot="8659600">
              <a:off x="2892425" y="24083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29" name="Freeform 1666"/>
            <p:cNvSpPr>
              <a:spLocks/>
            </p:cNvSpPr>
            <p:nvPr/>
          </p:nvSpPr>
          <p:spPr bwMode="auto">
            <a:xfrm rot="8659600">
              <a:off x="2909888" y="24114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0" name="Freeform 1667"/>
            <p:cNvSpPr>
              <a:spLocks/>
            </p:cNvSpPr>
            <p:nvPr/>
          </p:nvSpPr>
          <p:spPr bwMode="auto">
            <a:xfrm rot="8659600">
              <a:off x="2925763" y="2416253"/>
              <a:ext cx="19050" cy="15875"/>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1" name="Freeform 1668"/>
            <p:cNvSpPr>
              <a:spLocks/>
            </p:cNvSpPr>
            <p:nvPr/>
          </p:nvSpPr>
          <p:spPr bwMode="auto">
            <a:xfrm rot="8888437">
              <a:off x="2944813" y="24210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2" name="Freeform 1669"/>
            <p:cNvSpPr>
              <a:spLocks/>
            </p:cNvSpPr>
            <p:nvPr/>
          </p:nvSpPr>
          <p:spPr bwMode="auto">
            <a:xfrm rot="8888437">
              <a:off x="2962275" y="24257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3" name="Freeform 1670"/>
            <p:cNvSpPr>
              <a:spLocks/>
            </p:cNvSpPr>
            <p:nvPr/>
          </p:nvSpPr>
          <p:spPr bwMode="auto">
            <a:xfrm rot="8888437">
              <a:off x="2979738" y="24289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4" name="Freeform 1671"/>
            <p:cNvSpPr>
              <a:spLocks/>
            </p:cNvSpPr>
            <p:nvPr/>
          </p:nvSpPr>
          <p:spPr bwMode="auto">
            <a:xfrm rot="8011172">
              <a:off x="2998788" y="24321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5" name="Freeform 1672"/>
            <p:cNvSpPr>
              <a:spLocks/>
            </p:cNvSpPr>
            <p:nvPr/>
          </p:nvSpPr>
          <p:spPr bwMode="auto">
            <a:xfrm rot="8695693">
              <a:off x="3016250" y="24337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6" name="Freeform 1673"/>
            <p:cNvSpPr>
              <a:spLocks/>
            </p:cNvSpPr>
            <p:nvPr/>
          </p:nvSpPr>
          <p:spPr bwMode="auto">
            <a:xfrm rot="10196514">
              <a:off x="3030538" y="24432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7" name="Freeform 1674"/>
            <p:cNvSpPr>
              <a:spLocks/>
            </p:cNvSpPr>
            <p:nvPr/>
          </p:nvSpPr>
          <p:spPr bwMode="auto">
            <a:xfrm rot="10652197">
              <a:off x="3043238" y="245752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8" name="Freeform 1675"/>
            <p:cNvSpPr>
              <a:spLocks/>
            </p:cNvSpPr>
            <p:nvPr/>
          </p:nvSpPr>
          <p:spPr bwMode="auto">
            <a:xfrm rot="10652197">
              <a:off x="3054350" y="24686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39" name="Freeform 1676"/>
            <p:cNvSpPr>
              <a:spLocks/>
            </p:cNvSpPr>
            <p:nvPr/>
          </p:nvSpPr>
          <p:spPr bwMode="auto">
            <a:xfrm rot="10652197">
              <a:off x="3068638" y="24813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0" name="Freeform 1677"/>
            <p:cNvSpPr>
              <a:spLocks/>
            </p:cNvSpPr>
            <p:nvPr/>
          </p:nvSpPr>
          <p:spPr bwMode="auto">
            <a:xfrm rot="10423359">
              <a:off x="3081338" y="2494041"/>
              <a:ext cx="17463"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1" name="Freeform 1678"/>
            <p:cNvSpPr>
              <a:spLocks/>
            </p:cNvSpPr>
            <p:nvPr/>
          </p:nvSpPr>
          <p:spPr bwMode="auto">
            <a:xfrm rot="10194492">
              <a:off x="3095625" y="25051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2" name="Freeform 1679"/>
            <p:cNvSpPr>
              <a:spLocks/>
            </p:cNvSpPr>
            <p:nvPr/>
          </p:nvSpPr>
          <p:spPr bwMode="auto">
            <a:xfrm rot="9965654">
              <a:off x="3111500" y="251785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3" name="Freeform 1680"/>
            <p:cNvSpPr>
              <a:spLocks/>
            </p:cNvSpPr>
            <p:nvPr/>
          </p:nvSpPr>
          <p:spPr bwMode="auto">
            <a:xfrm rot="10800000">
              <a:off x="3127375" y="25321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4" name="Freeform 1681"/>
            <p:cNvSpPr>
              <a:spLocks/>
            </p:cNvSpPr>
            <p:nvPr/>
          </p:nvSpPr>
          <p:spPr bwMode="auto">
            <a:xfrm rot="-9892560">
              <a:off x="3136900" y="25496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5" name="Freeform 1682"/>
            <p:cNvSpPr>
              <a:spLocks/>
            </p:cNvSpPr>
            <p:nvPr/>
          </p:nvSpPr>
          <p:spPr bwMode="auto">
            <a:xfrm rot="-9892560">
              <a:off x="3144838" y="25670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6" name="Freeform 1683"/>
            <p:cNvSpPr>
              <a:spLocks/>
            </p:cNvSpPr>
            <p:nvPr/>
          </p:nvSpPr>
          <p:spPr bwMode="auto">
            <a:xfrm rot="10800000">
              <a:off x="3152775" y="25829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7" name="Freeform 1684"/>
            <p:cNvSpPr>
              <a:spLocks/>
            </p:cNvSpPr>
            <p:nvPr/>
          </p:nvSpPr>
          <p:spPr bwMode="auto">
            <a:xfrm rot="9904115">
              <a:off x="3168650" y="25956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8" name="Freeform 1685"/>
            <p:cNvSpPr>
              <a:spLocks/>
            </p:cNvSpPr>
            <p:nvPr/>
          </p:nvSpPr>
          <p:spPr bwMode="auto">
            <a:xfrm rot="9904115">
              <a:off x="3184525" y="260516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49" name="Freeform 1686"/>
            <p:cNvSpPr>
              <a:spLocks/>
            </p:cNvSpPr>
            <p:nvPr/>
          </p:nvSpPr>
          <p:spPr bwMode="auto">
            <a:xfrm rot="9904115">
              <a:off x="3200400" y="26162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50" name="Freeform 1687"/>
            <p:cNvSpPr>
              <a:spLocks/>
            </p:cNvSpPr>
            <p:nvPr/>
          </p:nvSpPr>
          <p:spPr bwMode="auto">
            <a:xfrm rot="9904115">
              <a:off x="3217863" y="26273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51" name="Freeform 1688"/>
            <p:cNvSpPr>
              <a:spLocks/>
            </p:cNvSpPr>
            <p:nvPr/>
          </p:nvSpPr>
          <p:spPr bwMode="auto">
            <a:xfrm rot="9904115">
              <a:off x="3233738" y="26369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52" name="Freeform 1689"/>
            <p:cNvSpPr>
              <a:spLocks/>
            </p:cNvSpPr>
            <p:nvPr/>
          </p:nvSpPr>
          <p:spPr bwMode="auto">
            <a:xfrm rot="9904115">
              <a:off x="3248025" y="264644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53" name="Freeform 1717"/>
            <p:cNvSpPr>
              <a:spLocks/>
            </p:cNvSpPr>
            <p:nvPr/>
          </p:nvSpPr>
          <p:spPr bwMode="auto">
            <a:xfrm rot="-2520520">
              <a:off x="2986088" y="1663778"/>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54" name="Freeform 1719"/>
            <p:cNvSpPr>
              <a:spLocks/>
            </p:cNvSpPr>
            <p:nvPr/>
          </p:nvSpPr>
          <p:spPr bwMode="auto">
            <a:xfrm rot="8888437">
              <a:off x="2838450" y="2397203"/>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555" name="Freeform 1720"/>
            <p:cNvSpPr>
              <a:spLocks/>
            </p:cNvSpPr>
            <p:nvPr/>
          </p:nvSpPr>
          <p:spPr bwMode="auto">
            <a:xfrm>
              <a:off x="3546505" y="1539970"/>
              <a:ext cx="698470" cy="406384"/>
            </a:xfrm>
            <a:custGeom>
              <a:avLst/>
              <a:gdLst>
                <a:gd name="T0" fmla="*/ 2147483647 w 9016"/>
                <a:gd name="T1" fmla="*/ 2147483647 h 7420"/>
                <a:gd name="T2" fmla="*/ 2147483647 w 9016"/>
                <a:gd name="T3" fmla="*/ 2147483647 h 7420"/>
                <a:gd name="T4" fmla="*/ 2147483647 w 9016"/>
                <a:gd name="T5" fmla="*/ 2147483647 h 7420"/>
                <a:gd name="T6" fmla="*/ 2147483647 w 9016"/>
                <a:gd name="T7" fmla="*/ 2147483647 h 7420"/>
                <a:gd name="T8" fmla="*/ 2147483647 w 9016"/>
                <a:gd name="T9" fmla="*/ 2147483647 h 7420"/>
                <a:gd name="T10" fmla="*/ 2147483647 w 9016"/>
                <a:gd name="T11" fmla="*/ 2147483647 h 7420"/>
                <a:gd name="T12" fmla="*/ 2147483647 w 9016"/>
                <a:gd name="T13" fmla="*/ 2147483647 h 7420"/>
                <a:gd name="T14" fmla="*/ 2147483647 w 9016"/>
                <a:gd name="T15" fmla="*/ 2147483647 h 7420"/>
                <a:gd name="T16" fmla="*/ 2147483647 w 9016"/>
                <a:gd name="T17" fmla="*/ 2147483647 h 7420"/>
                <a:gd name="T18" fmla="*/ 0 w 9016"/>
                <a:gd name="T19" fmla="*/ 0 h 74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16" h="7420">
                  <a:moveTo>
                    <a:pt x="9016" y="6985"/>
                  </a:moveTo>
                  <a:cubicBezTo>
                    <a:pt x="8606" y="7014"/>
                    <a:pt x="7500" y="7420"/>
                    <a:pt x="6516" y="7188"/>
                  </a:cubicBezTo>
                  <a:cubicBezTo>
                    <a:pt x="5532" y="6956"/>
                    <a:pt x="3852" y="6087"/>
                    <a:pt x="3114" y="5652"/>
                  </a:cubicBezTo>
                  <a:cubicBezTo>
                    <a:pt x="2377" y="5217"/>
                    <a:pt x="2377" y="4840"/>
                    <a:pt x="2131" y="4550"/>
                  </a:cubicBezTo>
                  <a:cubicBezTo>
                    <a:pt x="1885" y="4261"/>
                    <a:pt x="1782" y="4203"/>
                    <a:pt x="1639" y="3971"/>
                  </a:cubicBezTo>
                  <a:cubicBezTo>
                    <a:pt x="1496" y="3739"/>
                    <a:pt x="1455" y="3420"/>
                    <a:pt x="1332" y="3159"/>
                  </a:cubicBezTo>
                  <a:cubicBezTo>
                    <a:pt x="1209" y="2898"/>
                    <a:pt x="1086" y="2666"/>
                    <a:pt x="942" y="2406"/>
                  </a:cubicBezTo>
                  <a:cubicBezTo>
                    <a:pt x="799" y="2116"/>
                    <a:pt x="635" y="1768"/>
                    <a:pt x="512" y="1507"/>
                  </a:cubicBezTo>
                  <a:cubicBezTo>
                    <a:pt x="389" y="1217"/>
                    <a:pt x="286" y="985"/>
                    <a:pt x="205" y="724"/>
                  </a:cubicBezTo>
                  <a:cubicBezTo>
                    <a:pt x="123" y="492"/>
                    <a:pt x="205" y="550"/>
                    <a:pt x="0"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556" name="Text Box 1721"/>
            <p:cNvSpPr txBox="1">
              <a:spLocks noChangeArrowheads="1"/>
            </p:cNvSpPr>
            <p:nvPr/>
          </p:nvSpPr>
          <p:spPr bwMode="auto">
            <a:xfrm>
              <a:off x="2984500" y="2630566"/>
              <a:ext cx="207963"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61 </a:t>
              </a:r>
            </a:p>
          </p:txBody>
        </p:sp>
        <p:sp>
          <p:nvSpPr>
            <p:cNvPr id="557" name="Text Box 1724"/>
            <p:cNvSpPr txBox="1">
              <a:spLocks noChangeArrowheads="1"/>
            </p:cNvSpPr>
            <p:nvPr/>
          </p:nvSpPr>
          <p:spPr bwMode="auto">
            <a:xfrm>
              <a:off x="1755775" y="2543253"/>
              <a:ext cx="25876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Katzem</a:t>
              </a:r>
            </a:p>
          </p:txBody>
        </p:sp>
        <p:sp>
          <p:nvSpPr>
            <p:cNvPr id="558" name="Text Box 1725"/>
            <p:cNvSpPr txBox="1">
              <a:spLocks noChangeArrowheads="1"/>
            </p:cNvSpPr>
            <p:nvPr/>
          </p:nvSpPr>
          <p:spPr bwMode="auto">
            <a:xfrm>
              <a:off x="1112838" y="1778078"/>
              <a:ext cx="2984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Erkelenz</a:t>
              </a:r>
            </a:p>
          </p:txBody>
        </p:sp>
        <p:sp>
          <p:nvSpPr>
            <p:cNvPr id="559" name="Text Box 1726"/>
            <p:cNvSpPr txBox="1">
              <a:spLocks noChangeArrowheads="1"/>
            </p:cNvSpPr>
            <p:nvPr/>
          </p:nvSpPr>
          <p:spPr bwMode="auto">
            <a:xfrm>
              <a:off x="2125663" y="1571703"/>
              <a:ext cx="2174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Wanlo</a:t>
              </a:r>
            </a:p>
          </p:txBody>
        </p:sp>
        <p:sp>
          <p:nvSpPr>
            <p:cNvPr id="560" name="Text Box 1727"/>
            <p:cNvSpPr txBox="1">
              <a:spLocks noChangeArrowheads="1"/>
            </p:cNvSpPr>
            <p:nvPr/>
          </p:nvSpPr>
          <p:spPr bwMode="auto">
            <a:xfrm rot="-3962250">
              <a:off x="3808413" y="2032078"/>
              <a:ext cx="1174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Erft</a:t>
              </a:r>
            </a:p>
          </p:txBody>
        </p:sp>
        <p:sp>
          <p:nvSpPr>
            <p:cNvPr id="561" name="Text Box 1728"/>
            <p:cNvSpPr txBox="1">
              <a:spLocks noChangeArrowheads="1"/>
            </p:cNvSpPr>
            <p:nvPr/>
          </p:nvSpPr>
          <p:spPr bwMode="auto">
            <a:xfrm>
              <a:off x="3306763" y="1435973"/>
              <a:ext cx="2476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Jüchen</a:t>
              </a:r>
            </a:p>
          </p:txBody>
        </p:sp>
        <p:sp>
          <p:nvSpPr>
            <p:cNvPr id="562" name="Text Box 1729"/>
            <p:cNvSpPr txBox="1">
              <a:spLocks noChangeArrowheads="1"/>
            </p:cNvSpPr>
            <p:nvPr/>
          </p:nvSpPr>
          <p:spPr bwMode="auto">
            <a:xfrm>
              <a:off x="2135188" y="2954416"/>
              <a:ext cx="207963"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44 </a:t>
              </a:r>
            </a:p>
          </p:txBody>
        </p:sp>
        <p:sp>
          <p:nvSpPr>
            <p:cNvPr id="563" name="Freeform 1730"/>
            <p:cNvSpPr>
              <a:spLocks/>
            </p:cNvSpPr>
            <p:nvPr/>
          </p:nvSpPr>
          <p:spPr bwMode="auto">
            <a:xfrm>
              <a:off x="2752725" y="3405266"/>
              <a:ext cx="228600" cy="204788"/>
            </a:xfrm>
            <a:custGeom>
              <a:avLst/>
              <a:gdLst>
                <a:gd name="T0" fmla="*/ 0 w 144"/>
                <a:gd name="T1" fmla="*/ 2147483647 h 129"/>
                <a:gd name="T2" fmla="*/ 2147483647 w 144"/>
                <a:gd name="T3" fmla="*/ 0 h 129"/>
                <a:gd name="T4" fmla="*/ 2147483647 w 144"/>
                <a:gd name="T5" fmla="*/ 2147483647 h 129"/>
                <a:gd name="T6" fmla="*/ 2147483647 w 144"/>
                <a:gd name="T7" fmla="*/ 2147483647 h 129"/>
                <a:gd name="T8" fmla="*/ 2147483647 w 144"/>
                <a:gd name="T9" fmla="*/ 2147483647 h 129"/>
                <a:gd name="T10" fmla="*/ 2147483647 w 144"/>
                <a:gd name="T11" fmla="*/ 2147483647 h 129"/>
                <a:gd name="T12" fmla="*/ 2147483647 w 144"/>
                <a:gd name="T13" fmla="*/ 2147483647 h 129"/>
                <a:gd name="T14" fmla="*/ 2147483647 w 144"/>
                <a:gd name="T15" fmla="*/ 2147483647 h 129"/>
                <a:gd name="T16" fmla="*/ 2147483647 w 144"/>
                <a:gd name="T17" fmla="*/ 2147483647 h 129"/>
                <a:gd name="T18" fmla="*/ 2147483647 w 144"/>
                <a:gd name="T19" fmla="*/ 2147483647 h 129"/>
                <a:gd name="T20" fmla="*/ 2147483647 w 144"/>
                <a:gd name="T21" fmla="*/ 2147483647 h 129"/>
                <a:gd name="T22" fmla="*/ 2147483647 w 144"/>
                <a:gd name="T23" fmla="*/ 2147483647 h 129"/>
                <a:gd name="T24" fmla="*/ 2147483647 w 144"/>
                <a:gd name="T25" fmla="*/ 2147483647 h 129"/>
                <a:gd name="T26" fmla="*/ 2147483647 w 144"/>
                <a:gd name="T27" fmla="*/ 2147483647 h 129"/>
                <a:gd name="T28" fmla="*/ 2147483647 w 144"/>
                <a:gd name="T29" fmla="*/ 2147483647 h 129"/>
                <a:gd name="T30" fmla="*/ 2147483647 w 144"/>
                <a:gd name="T31" fmla="*/ 2147483647 h 129"/>
                <a:gd name="T32" fmla="*/ 2147483647 w 144"/>
                <a:gd name="T33" fmla="*/ 2147483647 h 129"/>
                <a:gd name="T34" fmla="*/ 2147483647 w 144"/>
                <a:gd name="T35" fmla="*/ 2147483647 h 129"/>
                <a:gd name="T36" fmla="*/ 2147483647 w 144"/>
                <a:gd name="T37" fmla="*/ 2147483647 h 129"/>
                <a:gd name="T38" fmla="*/ 2147483647 w 144"/>
                <a:gd name="T39" fmla="*/ 2147483647 h 129"/>
                <a:gd name="T40" fmla="*/ 2147483647 w 144"/>
                <a:gd name="T41" fmla="*/ 2147483647 h 129"/>
                <a:gd name="T42" fmla="*/ 2147483647 w 144"/>
                <a:gd name="T43" fmla="*/ 2147483647 h 129"/>
                <a:gd name="T44" fmla="*/ 2147483647 w 144"/>
                <a:gd name="T45" fmla="*/ 2147483647 h 129"/>
                <a:gd name="T46" fmla="*/ 0 w 144"/>
                <a:gd name="T47" fmla="*/ 2147483647 h 12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4"/>
                <a:gd name="T73" fmla="*/ 0 h 129"/>
                <a:gd name="T74" fmla="*/ 144 w 144"/>
                <a:gd name="T75" fmla="*/ 129 h 12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4" h="129">
                  <a:moveTo>
                    <a:pt x="0" y="27"/>
                  </a:moveTo>
                  <a:lnTo>
                    <a:pt x="45" y="0"/>
                  </a:lnTo>
                  <a:lnTo>
                    <a:pt x="62" y="7"/>
                  </a:lnTo>
                  <a:lnTo>
                    <a:pt x="60" y="21"/>
                  </a:lnTo>
                  <a:lnTo>
                    <a:pt x="105" y="31"/>
                  </a:lnTo>
                  <a:lnTo>
                    <a:pt x="105" y="48"/>
                  </a:lnTo>
                  <a:lnTo>
                    <a:pt x="72" y="45"/>
                  </a:lnTo>
                  <a:lnTo>
                    <a:pt x="71" y="55"/>
                  </a:lnTo>
                  <a:lnTo>
                    <a:pt x="98" y="61"/>
                  </a:lnTo>
                  <a:lnTo>
                    <a:pt x="111" y="91"/>
                  </a:lnTo>
                  <a:lnTo>
                    <a:pt x="144" y="93"/>
                  </a:lnTo>
                  <a:lnTo>
                    <a:pt x="143" y="115"/>
                  </a:lnTo>
                  <a:lnTo>
                    <a:pt x="113" y="114"/>
                  </a:lnTo>
                  <a:lnTo>
                    <a:pt x="101" y="129"/>
                  </a:lnTo>
                  <a:lnTo>
                    <a:pt x="53" y="129"/>
                  </a:lnTo>
                  <a:lnTo>
                    <a:pt x="50" y="108"/>
                  </a:lnTo>
                  <a:lnTo>
                    <a:pt x="60" y="105"/>
                  </a:lnTo>
                  <a:lnTo>
                    <a:pt x="54" y="67"/>
                  </a:lnTo>
                  <a:lnTo>
                    <a:pt x="36" y="72"/>
                  </a:lnTo>
                  <a:lnTo>
                    <a:pt x="30" y="55"/>
                  </a:lnTo>
                  <a:lnTo>
                    <a:pt x="44" y="55"/>
                  </a:lnTo>
                  <a:lnTo>
                    <a:pt x="41" y="40"/>
                  </a:lnTo>
                  <a:lnTo>
                    <a:pt x="12" y="39"/>
                  </a:lnTo>
                  <a:lnTo>
                    <a:pt x="0" y="27"/>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64" name="Freeform 1731"/>
            <p:cNvSpPr>
              <a:spLocks/>
            </p:cNvSpPr>
            <p:nvPr/>
          </p:nvSpPr>
          <p:spPr bwMode="auto">
            <a:xfrm>
              <a:off x="2786063" y="4533978"/>
              <a:ext cx="136525" cy="157163"/>
            </a:xfrm>
            <a:custGeom>
              <a:avLst/>
              <a:gdLst>
                <a:gd name="T0" fmla="*/ 2147483647 w 86"/>
                <a:gd name="T1" fmla="*/ 2147483647 h 99"/>
                <a:gd name="T2" fmla="*/ 2147483647 w 86"/>
                <a:gd name="T3" fmla="*/ 2147483647 h 99"/>
                <a:gd name="T4" fmla="*/ 2147483647 w 86"/>
                <a:gd name="T5" fmla="*/ 2147483647 h 99"/>
                <a:gd name="T6" fmla="*/ 0 w 86"/>
                <a:gd name="T7" fmla="*/ 2147483647 h 99"/>
                <a:gd name="T8" fmla="*/ 2147483647 w 86"/>
                <a:gd name="T9" fmla="*/ 2147483647 h 99"/>
                <a:gd name="T10" fmla="*/ 2147483647 w 86"/>
                <a:gd name="T11" fmla="*/ 0 h 99"/>
                <a:gd name="T12" fmla="*/ 2147483647 w 86"/>
                <a:gd name="T13" fmla="*/ 2147483647 h 99"/>
                <a:gd name="T14" fmla="*/ 2147483647 w 86"/>
                <a:gd name="T15" fmla="*/ 2147483647 h 99"/>
                <a:gd name="T16" fmla="*/ 2147483647 w 86"/>
                <a:gd name="T17" fmla="*/ 2147483647 h 99"/>
                <a:gd name="T18" fmla="*/ 2147483647 w 86"/>
                <a:gd name="T19" fmla="*/ 2147483647 h 99"/>
                <a:gd name="T20" fmla="*/ 2147483647 w 86"/>
                <a:gd name="T21" fmla="*/ 2147483647 h 99"/>
                <a:gd name="T22" fmla="*/ 2147483647 w 86"/>
                <a:gd name="T23" fmla="*/ 2147483647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99"/>
                <a:gd name="T38" fmla="*/ 86 w 86"/>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99">
                  <a:moveTo>
                    <a:pt x="29" y="99"/>
                  </a:moveTo>
                  <a:lnTo>
                    <a:pt x="6" y="54"/>
                  </a:lnTo>
                  <a:lnTo>
                    <a:pt x="15" y="43"/>
                  </a:lnTo>
                  <a:lnTo>
                    <a:pt x="0" y="27"/>
                  </a:lnTo>
                  <a:lnTo>
                    <a:pt x="17" y="4"/>
                  </a:lnTo>
                  <a:lnTo>
                    <a:pt x="45" y="0"/>
                  </a:lnTo>
                  <a:lnTo>
                    <a:pt x="86" y="24"/>
                  </a:lnTo>
                  <a:lnTo>
                    <a:pt x="80" y="39"/>
                  </a:lnTo>
                  <a:lnTo>
                    <a:pt x="62" y="46"/>
                  </a:lnTo>
                  <a:lnTo>
                    <a:pt x="68" y="84"/>
                  </a:lnTo>
                  <a:lnTo>
                    <a:pt x="50" y="82"/>
                  </a:lnTo>
                  <a:lnTo>
                    <a:pt x="29" y="99"/>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65" name="Freeform 1732"/>
            <p:cNvSpPr>
              <a:spLocks/>
            </p:cNvSpPr>
            <p:nvPr/>
          </p:nvSpPr>
          <p:spPr bwMode="auto">
            <a:xfrm>
              <a:off x="2876550" y="4786391"/>
              <a:ext cx="100013" cy="128588"/>
            </a:xfrm>
            <a:custGeom>
              <a:avLst/>
              <a:gdLst>
                <a:gd name="T0" fmla="*/ 2147483647 w 63"/>
                <a:gd name="T1" fmla="*/ 2147483647 h 81"/>
                <a:gd name="T2" fmla="*/ 2147483647 w 63"/>
                <a:gd name="T3" fmla="*/ 0 h 81"/>
                <a:gd name="T4" fmla="*/ 2147483647 w 63"/>
                <a:gd name="T5" fmla="*/ 2147483647 h 81"/>
                <a:gd name="T6" fmla="*/ 2147483647 w 63"/>
                <a:gd name="T7" fmla="*/ 2147483647 h 81"/>
                <a:gd name="T8" fmla="*/ 2147483647 w 63"/>
                <a:gd name="T9" fmla="*/ 2147483647 h 81"/>
                <a:gd name="T10" fmla="*/ 2147483647 w 63"/>
                <a:gd name="T11" fmla="*/ 2147483647 h 81"/>
                <a:gd name="T12" fmla="*/ 0 w 63"/>
                <a:gd name="T13" fmla="*/ 2147483647 h 81"/>
                <a:gd name="T14" fmla="*/ 2147483647 w 63"/>
                <a:gd name="T15" fmla="*/ 2147483647 h 81"/>
                <a:gd name="T16" fmla="*/ 0 60000 65536"/>
                <a:gd name="T17" fmla="*/ 0 60000 65536"/>
                <a:gd name="T18" fmla="*/ 0 60000 65536"/>
                <a:gd name="T19" fmla="*/ 0 60000 65536"/>
                <a:gd name="T20" fmla="*/ 0 60000 65536"/>
                <a:gd name="T21" fmla="*/ 0 60000 65536"/>
                <a:gd name="T22" fmla="*/ 0 60000 65536"/>
                <a:gd name="T23" fmla="*/ 0 60000 65536"/>
                <a:gd name="T24" fmla="*/ 0 w 63"/>
                <a:gd name="T25" fmla="*/ 0 h 81"/>
                <a:gd name="T26" fmla="*/ 63 w 63"/>
                <a:gd name="T27" fmla="*/ 81 h 8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3" h="81">
                  <a:moveTo>
                    <a:pt x="3" y="18"/>
                  </a:moveTo>
                  <a:lnTo>
                    <a:pt x="54" y="0"/>
                  </a:lnTo>
                  <a:lnTo>
                    <a:pt x="63" y="28"/>
                  </a:lnTo>
                  <a:lnTo>
                    <a:pt x="60" y="60"/>
                  </a:lnTo>
                  <a:lnTo>
                    <a:pt x="32" y="64"/>
                  </a:lnTo>
                  <a:lnTo>
                    <a:pt x="18" y="81"/>
                  </a:lnTo>
                  <a:lnTo>
                    <a:pt x="0" y="54"/>
                  </a:lnTo>
                  <a:lnTo>
                    <a:pt x="3" y="1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66" name="Freeform 1733"/>
            <p:cNvSpPr>
              <a:spLocks/>
            </p:cNvSpPr>
            <p:nvPr/>
          </p:nvSpPr>
          <p:spPr bwMode="auto">
            <a:xfrm>
              <a:off x="2662238" y="4962603"/>
              <a:ext cx="193675" cy="171450"/>
            </a:xfrm>
            <a:custGeom>
              <a:avLst/>
              <a:gdLst>
                <a:gd name="T0" fmla="*/ 2147483647 w 122"/>
                <a:gd name="T1" fmla="*/ 2147483647 h 108"/>
                <a:gd name="T2" fmla="*/ 2147483647 w 122"/>
                <a:gd name="T3" fmla="*/ 2147483647 h 108"/>
                <a:gd name="T4" fmla="*/ 2147483647 w 122"/>
                <a:gd name="T5" fmla="*/ 2147483647 h 108"/>
                <a:gd name="T6" fmla="*/ 0 w 122"/>
                <a:gd name="T7" fmla="*/ 2147483647 h 108"/>
                <a:gd name="T8" fmla="*/ 2147483647 w 122"/>
                <a:gd name="T9" fmla="*/ 0 h 108"/>
                <a:gd name="T10" fmla="*/ 2147483647 w 122"/>
                <a:gd name="T11" fmla="*/ 2147483647 h 108"/>
                <a:gd name="T12" fmla="*/ 2147483647 w 122"/>
                <a:gd name="T13" fmla="*/ 2147483647 h 108"/>
                <a:gd name="T14" fmla="*/ 2147483647 w 122"/>
                <a:gd name="T15" fmla="*/ 2147483647 h 108"/>
                <a:gd name="T16" fmla="*/ 2147483647 w 122"/>
                <a:gd name="T17" fmla="*/ 2147483647 h 108"/>
                <a:gd name="T18" fmla="*/ 2147483647 w 122"/>
                <a:gd name="T19" fmla="*/ 2147483647 h 108"/>
                <a:gd name="T20" fmla="*/ 2147483647 w 122"/>
                <a:gd name="T21" fmla="*/ 2147483647 h 108"/>
                <a:gd name="T22" fmla="*/ 2147483647 w 122"/>
                <a:gd name="T23" fmla="*/ 2147483647 h 1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
                <a:gd name="T37" fmla="*/ 0 h 108"/>
                <a:gd name="T38" fmla="*/ 122 w 122"/>
                <a:gd name="T39" fmla="*/ 108 h 10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 h="108">
                  <a:moveTo>
                    <a:pt x="54" y="108"/>
                  </a:moveTo>
                  <a:cubicBezTo>
                    <a:pt x="24" y="86"/>
                    <a:pt x="30" y="99"/>
                    <a:pt x="30" y="76"/>
                  </a:cubicBezTo>
                  <a:lnTo>
                    <a:pt x="24" y="61"/>
                  </a:lnTo>
                  <a:lnTo>
                    <a:pt x="0" y="40"/>
                  </a:lnTo>
                  <a:lnTo>
                    <a:pt x="90" y="0"/>
                  </a:lnTo>
                  <a:lnTo>
                    <a:pt x="93" y="22"/>
                  </a:lnTo>
                  <a:lnTo>
                    <a:pt x="122" y="73"/>
                  </a:lnTo>
                  <a:lnTo>
                    <a:pt x="107" y="79"/>
                  </a:lnTo>
                  <a:lnTo>
                    <a:pt x="90" y="67"/>
                  </a:lnTo>
                  <a:lnTo>
                    <a:pt x="63" y="75"/>
                  </a:lnTo>
                  <a:lnTo>
                    <a:pt x="65" y="91"/>
                  </a:lnTo>
                  <a:lnTo>
                    <a:pt x="54" y="10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67" name="Freeform 1734"/>
            <p:cNvSpPr>
              <a:spLocks/>
            </p:cNvSpPr>
            <p:nvPr/>
          </p:nvSpPr>
          <p:spPr bwMode="auto">
            <a:xfrm>
              <a:off x="2208213" y="4849891"/>
              <a:ext cx="149225" cy="138113"/>
            </a:xfrm>
            <a:custGeom>
              <a:avLst/>
              <a:gdLst>
                <a:gd name="T0" fmla="*/ 0 w 94"/>
                <a:gd name="T1" fmla="*/ 2147483647 h 87"/>
                <a:gd name="T2" fmla="*/ 2147483647 w 94"/>
                <a:gd name="T3" fmla="*/ 2147483647 h 87"/>
                <a:gd name="T4" fmla="*/ 2147483647 w 94"/>
                <a:gd name="T5" fmla="*/ 2147483647 h 87"/>
                <a:gd name="T6" fmla="*/ 2147483647 w 94"/>
                <a:gd name="T7" fmla="*/ 0 h 87"/>
                <a:gd name="T8" fmla="*/ 2147483647 w 94"/>
                <a:gd name="T9" fmla="*/ 2147483647 h 87"/>
                <a:gd name="T10" fmla="*/ 2147483647 w 94"/>
                <a:gd name="T11" fmla="*/ 2147483647 h 87"/>
                <a:gd name="T12" fmla="*/ 2147483647 w 94"/>
                <a:gd name="T13" fmla="*/ 2147483647 h 87"/>
                <a:gd name="T14" fmla="*/ 2147483647 w 94"/>
                <a:gd name="T15" fmla="*/ 2147483647 h 87"/>
                <a:gd name="T16" fmla="*/ 2147483647 w 94"/>
                <a:gd name="T17" fmla="*/ 2147483647 h 87"/>
                <a:gd name="T18" fmla="*/ 2147483647 w 94"/>
                <a:gd name="T19" fmla="*/ 2147483647 h 87"/>
                <a:gd name="T20" fmla="*/ 2147483647 w 94"/>
                <a:gd name="T21" fmla="*/ 2147483647 h 87"/>
                <a:gd name="T22" fmla="*/ 2147483647 w 94"/>
                <a:gd name="T23" fmla="*/ 2147483647 h 87"/>
                <a:gd name="T24" fmla="*/ 0 w 94"/>
                <a:gd name="T25" fmla="*/ 2147483647 h 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4"/>
                <a:gd name="T40" fmla="*/ 0 h 87"/>
                <a:gd name="T41" fmla="*/ 94 w 94"/>
                <a:gd name="T42" fmla="*/ 87 h 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4" h="87">
                  <a:moveTo>
                    <a:pt x="0" y="32"/>
                  </a:moveTo>
                  <a:lnTo>
                    <a:pt x="15" y="14"/>
                  </a:lnTo>
                  <a:lnTo>
                    <a:pt x="31" y="20"/>
                  </a:lnTo>
                  <a:lnTo>
                    <a:pt x="34" y="0"/>
                  </a:lnTo>
                  <a:lnTo>
                    <a:pt x="76" y="14"/>
                  </a:lnTo>
                  <a:lnTo>
                    <a:pt x="90" y="33"/>
                  </a:lnTo>
                  <a:lnTo>
                    <a:pt x="70" y="48"/>
                  </a:lnTo>
                  <a:lnTo>
                    <a:pt x="93" y="60"/>
                  </a:lnTo>
                  <a:lnTo>
                    <a:pt x="94" y="83"/>
                  </a:lnTo>
                  <a:lnTo>
                    <a:pt x="75" y="87"/>
                  </a:lnTo>
                  <a:lnTo>
                    <a:pt x="42" y="59"/>
                  </a:lnTo>
                  <a:lnTo>
                    <a:pt x="24" y="62"/>
                  </a:lnTo>
                  <a:lnTo>
                    <a:pt x="0" y="3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68" name="Freeform 1735"/>
            <p:cNvSpPr>
              <a:spLocks/>
            </p:cNvSpPr>
            <p:nvPr/>
          </p:nvSpPr>
          <p:spPr bwMode="auto">
            <a:xfrm>
              <a:off x="3303588" y="5297566"/>
              <a:ext cx="180975" cy="184150"/>
            </a:xfrm>
            <a:custGeom>
              <a:avLst/>
              <a:gdLst>
                <a:gd name="T0" fmla="*/ 2147483647 w 114"/>
                <a:gd name="T1" fmla="*/ 2147483647 h 116"/>
                <a:gd name="T2" fmla="*/ 2147483647 w 114"/>
                <a:gd name="T3" fmla="*/ 2147483647 h 116"/>
                <a:gd name="T4" fmla="*/ 0 w 114"/>
                <a:gd name="T5" fmla="*/ 2147483647 h 116"/>
                <a:gd name="T6" fmla="*/ 2147483647 w 114"/>
                <a:gd name="T7" fmla="*/ 2147483647 h 116"/>
                <a:gd name="T8" fmla="*/ 2147483647 w 114"/>
                <a:gd name="T9" fmla="*/ 2147483647 h 116"/>
                <a:gd name="T10" fmla="*/ 2147483647 w 114"/>
                <a:gd name="T11" fmla="*/ 2147483647 h 116"/>
                <a:gd name="T12" fmla="*/ 2147483647 w 114"/>
                <a:gd name="T13" fmla="*/ 2147483647 h 116"/>
                <a:gd name="T14" fmla="*/ 2147483647 w 114"/>
                <a:gd name="T15" fmla="*/ 2147483647 h 116"/>
                <a:gd name="T16" fmla="*/ 2147483647 w 114"/>
                <a:gd name="T17" fmla="*/ 2147483647 h 116"/>
                <a:gd name="T18" fmla="*/ 2147483647 w 114"/>
                <a:gd name="T19" fmla="*/ 2147483647 h 116"/>
                <a:gd name="T20" fmla="*/ 2147483647 w 114"/>
                <a:gd name="T21" fmla="*/ 2147483647 h 116"/>
                <a:gd name="T22" fmla="*/ 2147483647 w 114"/>
                <a:gd name="T23" fmla="*/ 0 h 116"/>
                <a:gd name="T24" fmla="*/ 2147483647 w 114"/>
                <a:gd name="T25" fmla="*/ 2147483647 h 1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4"/>
                <a:gd name="T40" fmla="*/ 0 h 116"/>
                <a:gd name="T41" fmla="*/ 114 w 114"/>
                <a:gd name="T42" fmla="*/ 116 h 1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4" h="116">
                  <a:moveTo>
                    <a:pt x="22" y="12"/>
                  </a:moveTo>
                  <a:lnTo>
                    <a:pt x="31" y="50"/>
                  </a:lnTo>
                  <a:lnTo>
                    <a:pt x="0" y="65"/>
                  </a:lnTo>
                  <a:lnTo>
                    <a:pt x="16" y="108"/>
                  </a:lnTo>
                  <a:lnTo>
                    <a:pt x="42" y="99"/>
                  </a:lnTo>
                  <a:lnTo>
                    <a:pt x="67" y="108"/>
                  </a:lnTo>
                  <a:lnTo>
                    <a:pt x="90" y="105"/>
                  </a:lnTo>
                  <a:lnTo>
                    <a:pt x="111" y="116"/>
                  </a:lnTo>
                  <a:lnTo>
                    <a:pt x="114" y="87"/>
                  </a:lnTo>
                  <a:lnTo>
                    <a:pt x="79" y="59"/>
                  </a:lnTo>
                  <a:lnTo>
                    <a:pt x="78" y="23"/>
                  </a:lnTo>
                  <a:lnTo>
                    <a:pt x="54" y="0"/>
                  </a:lnTo>
                  <a:lnTo>
                    <a:pt x="22" y="1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69" name="Freeform 1736"/>
            <p:cNvSpPr>
              <a:spLocks/>
            </p:cNvSpPr>
            <p:nvPr/>
          </p:nvSpPr>
          <p:spPr bwMode="auto">
            <a:xfrm>
              <a:off x="2851150" y="5469016"/>
              <a:ext cx="447675" cy="623888"/>
            </a:xfrm>
            <a:custGeom>
              <a:avLst/>
              <a:gdLst>
                <a:gd name="T0" fmla="*/ 2147483647 w 282"/>
                <a:gd name="T1" fmla="*/ 2147483647 h 393"/>
                <a:gd name="T2" fmla="*/ 2147483647 w 282"/>
                <a:gd name="T3" fmla="*/ 2147483647 h 393"/>
                <a:gd name="T4" fmla="*/ 2147483647 w 282"/>
                <a:gd name="T5" fmla="*/ 0 h 393"/>
                <a:gd name="T6" fmla="*/ 2147483647 w 282"/>
                <a:gd name="T7" fmla="*/ 2147483647 h 393"/>
                <a:gd name="T8" fmla="*/ 2147483647 w 282"/>
                <a:gd name="T9" fmla="*/ 2147483647 h 393"/>
                <a:gd name="T10" fmla="*/ 2147483647 w 282"/>
                <a:gd name="T11" fmla="*/ 2147483647 h 393"/>
                <a:gd name="T12" fmla="*/ 2147483647 w 282"/>
                <a:gd name="T13" fmla="*/ 2147483647 h 393"/>
                <a:gd name="T14" fmla="*/ 2147483647 w 282"/>
                <a:gd name="T15" fmla="*/ 2147483647 h 393"/>
                <a:gd name="T16" fmla="*/ 2147483647 w 282"/>
                <a:gd name="T17" fmla="*/ 2147483647 h 393"/>
                <a:gd name="T18" fmla="*/ 2147483647 w 282"/>
                <a:gd name="T19" fmla="*/ 2147483647 h 393"/>
                <a:gd name="T20" fmla="*/ 2147483647 w 282"/>
                <a:gd name="T21" fmla="*/ 2147483647 h 393"/>
                <a:gd name="T22" fmla="*/ 2147483647 w 282"/>
                <a:gd name="T23" fmla="*/ 2147483647 h 393"/>
                <a:gd name="T24" fmla="*/ 2147483647 w 282"/>
                <a:gd name="T25" fmla="*/ 2147483647 h 393"/>
                <a:gd name="T26" fmla="*/ 2147483647 w 282"/>
                <a:gd name="T27" fmla="*/ 2147483647 h 393"/>
                <a:gd name="T28" fmla="*/ 2147483647 w 282"/>
                <a:gd name="T29" fmla="*/ 2147483647 h 393"/>
                <a:gd name="T30" fmla="*/ 2147483647 w 282"/>
                <a:gd name="T31" fmla="*/ 2147483647 h 393"/>
                <a:gd name="T32" fmla="*/ 2147483647 w 282"/>
                <a:gd name="T33" fmla="*/ 2147483647 h 393"/>
                <a:gd name="T34" fmla="*/ 2147483647 w 282"/>
                <a:gd name="T35" fmla="*/ 2147483647 h 393"/>
                <a:gd name="T36" fmla="*/ 2147483647 w 282"/>
                <a:gd name="T37" fmla="*/ 2147483647 h 393"/>
                <a:gd name="T38" fmla="*/ 2147483647 w 282"/>
                <a:gd name="T39" fmla="*/ 2147483647 h 393"/>
                <a:gd name="T40" fmla="*/ 2147483647 w 282"/>
                <a:gd name="T41" fmla="*/ 2147483647 h 393"/>
                <a:gd name="T42" fmla="*/ 2147483647 w 282"/>
                <a:gd name="T43" fmla="*/ 2147483647 h 393"/>
                <a:gd name="T44" fmla="*/ 2147483647 w 282"/>
                <a:gd name="T45" fmla="*/ 2147483647 h 393"/>
                <a:gd name="T46" fmla="*/ 2147483647 w 282"/>
                <a:gd name="T47" fmla="*/ 2147483647 h 393"/>
                <a:gd name="T48" fmla="*/ 2147483647 w 282"/>
                <a:gd name="T49" fmla="*/ 2147483647 h 393"/>
                <a:gd name="T50" fmla="*/ 2147483647 w 282"/>
                <a:gd name="T51" fmla="*/ 2147483647 h 393"/>
                <a:gd name="T52" fmla="*/ 2147483647 w 282"/>
                <a:gd name="T53" fmla="*/ 2147483647 h 393"/>
                <a:gd name="T54" fmla="*/ 2147483647 w 282"/>
                <a:gd name="T55" fmla="*/ 2147483647 h 393"/>
                <a:gd name="T56" fmla="*/ 2147483647 w 282"/>
                <a:gd name="T57" fmla="*/ 2147483647 h 393"/>
                <a:gd name="T58" fmla="*/ 2147483647 w 282"/>
                <a:gd name="T59" fmla="*/ 2147483647 h 393"/>
                <a:gd name="T60" fmla="*/ 2147483647 w 282"/>
                <a:gd name="T61" fmla="*/ 2147483647 h 393"/>
                <a:gd name="T62" fmla="*/ 2147483647 w 282"/>
                <a:gd name="T63" fmla="*/ 2147483647 h 393"/>
                <a:gd name="T64" fmla="*/ 0 w 282"/>
                <a:gd name="T65" fmla="*/ 2147483647 h 393"/>
                <a:gd name="T66" fmla="*/ 2147483647 w 282"/>
                <a:gd name="T67" fmla="*/ 2147483647 h 393"/>
                <a:gd name="T68" fmla="*/ 2147483647 w 282"/>
                <a:gd name="T69" fmla="*/ 2147483647 h 39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2"/>
                <a:gd name="T106" fmla="*/ 0 h 393"/>
                <a:gd name="T107" fmla="*/ 282 w 282"/>
                <a:gd name="T108" fmla="*/ 393 h 39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2" h="393">
                  <a:moveTo>
                    <a:pt x="12" y="59"/>
                  </a:moveTo>
                  <a:lnTo>
                    <a:pt x="120" y="6"/>
                  </a:lnTo>
                  <a:lnTo>
                    <a:pt x="160" y="0"/>
                  </a:lnTo>
                  <a:lnTo>
                    <a:pt x="169" y="17"/>
                  </a:lnTo>
                  <a:lnTo>
                    <a:pt x="145" y="24"/>
                  </a:lnTo>
                  <a:lnTo>
                    <a:pt x="153" y="39"/>
                  </a:lnTo>
                  <a:lnTo>
                    <a:pt x="174" y="33"/>
                  </a:lnTo>
                  <a:lnTo>
                    <a:pt x="201" y="98"/>
                  </a:lnTo>
                  <a:lnTo>
                    <a:pt x="222" y="101"/>
                  </a:lnTo>
                  <a:lnTo>
                    <a:pt x="250" y="72"/>
                  </a:lnTo>
                  <a:lnTo>
                    <a:pt x="268" y="75"/>
                  </a:lnTo>
                  <a:lnTo>
                    <a:pt x="282" y="105"/>
                  </a:lnTo>
                  <a:lnTo>
                    <a:pt x="229" y="141"/>
                  </a:lnTo>
                  <a:lnTo>
                    <a:pt x="243" y="183"/>
                  </a:lnTo>
                  <a:lnTo>
                    <a:pt x="214" y="245"/>
                  </a:lnTo>
                  <a:lnTo>
                    <a:pt x="243" y="245"/>
                  </a:lnTo>
                  <a:lnTo>
                    <a:pt x="249" y="266"/>
                  </a:lnTo>
                  <a:lnTo>
                    <a:pt x="232" y="279"/>
                  </a:lnTo>
                  <a:lnTo>
                    <a:pt x="265" y="365"/>
                  </a:lnTo>
                  <a:lnTo>
                    <a:pt x="231" y="393"/>
                  </a:lnTo>
                  <a:lnTo>
                    <a:pt x="201" y="336"/>
                  </a:lnTo>
                  <a:lnTo>
                    <a:pt x="189" y="341"/>
                  </a:lnTo>
                  <a:lnTo>
                    <a:pt x="166" y="309"/>
                  </a:lnTo>
                  <a:lnTo>
                    <a:pt x="132" y="308"/>
                  </a:lnTo>
                  <a:lnTo>
                    <a:pt x="127" y="284"/>
                  </a:lnTo>
                  <a:lnTo>
                    <a:pt x="141" y="270"/>
                  </a:lnTo>
                  <a:lnTo>
                    <a:pt x="108" y="222"/>
                  </a:lnTo>
                  <a:lnTo>
                    <a:pt x="81" y="242"/>
                  </a:lnTo>
                  <a:lnTo>
                    <a:pt x="27" y="194"/>
                  </a:lnTo>
                  <a:lnTo>
                    <a:pt x="52" y="156"/>
                  </a:lnTo>
                  <a:lnTo>
                    <a:pt x="42" y="135"/>
                  </a:lnTo>
                  <a:lnTo>
                    <a:pt x="10" y="153"/>
                  </a:lnTo>
                  <a:lnTo>
                    <a:pt x="0" y="131"/>
                  </a:lnTo>
                  <a:lnTo>
                    <a:pt x="27" y="107"/>
                  </a:lnTo>
                  <a:lnTo>
                    <a:pt x="12" y="59"/>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70" name="Freeform 1737"/>
            <p:cNvSpPr>
              <a:spLocks/>
            </p:cNvSpPr>
            <p:nvPr/>
          </p:nvSpPr>
          <p:spPr bwMode="auto">
            <a:xfrm>
              <a:off x="5203825" y="5153103"/>
              <a:ext cx="204788" cy="187325"/>
            </a:xfrm>
            <a:custGeom>
              <a:avLst/>
              <a:gdLst>
                <a:gd name="T0" fmla="*/ 2147483647 w 129"/>
                <a:gd name="T1" fmla="*/ 2147483647 h 118"/>
                <a:gd name="T2" fmla="*/ 2147483647 w 129"/>
                <a:gd name="T3" fmla="*/ 2147483647 h 118"/>
                <a:gd name="T4" fmla="*/ 2147483647 w 129"/>
                <a:gd name="T5" fmla="*/ 2147483647 h 118"/>
                <a:gd name="T6" fmla="*/ 2147483647 w 129"/>
                <a:gd name="T7" fmla="*/ 2147483647 h 118"/>
                <a:gd name="T8" fmla="*/ 2147483647 w 129"/>
                <a:gd name="T9" fmla="*/ 2147483647 h 118"/>
                <a:gd name="T10" fmla="*/ 2147483647 w 129"/>
                <a:gd name="T11" fmla="*/ 0 h 118"/>
                <a:gd name="T12" fmla="*/ 0 w 129"/>
                <a:gd name="T13" fmla="*/ 2147483647 h 118"/>
                <a:gd name="T14" fmla="*/ 2147483647 w 129"/>
                <a:gd name="T15" fmla="*/ 2147483647 h 118"/>
                <a:gd name="T16" fmla="*/ 2147483647 w 129"/>
                <a:gd name="T17" fmla="*/ 2147483647 h 118"/>
                <a:gd name="T18" fmla="*/ 2147483647 w 129"/>
                <a:gd name="T19" fmla="*/ 2147483647 h 118"/>
                <a:gd name="T20" fmla="*/ 2147483647 w 129"/>
                <a:gd name="T21" fmla="*/ 2147483647 h 118"/>
                <a:gd name="T22" fmla="*/ 2147483647 w 129"/>
                <a:gd name="T23" fmla="*/ 2147483647 h 118"/>
                <a:gd name="T24" fmla="*/ 2147483647 w 129"/>
                <a:gd name="T25" fmla="*/ 2147483647 h 118"/>
                <a:gd name="T26" fmla="*/ 2147483647 w 129"/>
                <a:gd name="T27" fmla="*/ 2147483647 h 118"/>
                <a:gd name="T28" fmla="*/ 2147483647 w 129"/>
                <a:gd name="T29" fmla="*/ 2147483647 h 118"/>
                <a:gd name="T30" fmla="*/ 2147483647 w 129"/>
                <a:gd name="T31" fmla="*/ 2147483647 h 118"/>
                <a:gd name="T32" fmla="*/ 2147483647 w 129"/>
                <a:gd name="T33" fmla="*/ 2147483647 h 118"/>
                <a:gd name="T34" fmla="*/ 2147483647 w 129"/>
                <a:gd name="T35" fmla="*/ 2147483647 h 118"/>
                <a:gd name="T36" fmla="*/ 2147483647 w 129"/>
                <a:gd name="T37" fmla="*/ 2147483647 h 11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18"/>
                <a:gd name="T59" fmla="*/ 129 w 129"/>
                <a:gd name="T60" fmla="*/ 118 h 11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18">
                  <a:moveTo>
                    <a:pt x="129" y="64"/>
                  </a:moveTo>
                  <a:lnTo>
                    <a:pt x="100" y="24"/>
                  </a:lnTo>
                  <a:lnTo>
                    <a:pt x="73" y="25"/>
                  </a:lnTo>
                  <a:lnTo>
                    <a:pt x="60" y="13"/>
                  </a:lnTo>
                  <a:lnTo>
                    <a:pt x="51" y="18"/>
                  </a:lnTo>
                  <a:lnTo>
                    <a:pt x="18" y="0"/>
                  </a:lnTo>
                  <a:lnTo>
                    <a:pt x="0" y="22"/>
                  </a:lnTo>
                  <a:lnTo>
                    <a:pt x="18" y="45"/>
                  </a:lnTo>
                  <a:lnTo>
                    <a:pt x="13" y="70"/>
                  </a:lnTo>
                  <a:lnTo>
                    <a:pt x="33" y="76"/>
                  </a:lnTo>
                  <a:lnTo>
                    <a:pt x="37" y="93"/>
                  </a:lnTo>
                  <a:lnTo>
                    <a:pt x="27" y="93"/>
                  </a:lnTo>
                  <a:lnTo>
                    <a:pt x="45" y="118"/>
                  </a:lnTo>
                  <a:lnTo>
                    <a:pt x="57" y="117"/>
                  </a:lnTo>
                  <a:lnTo>
                    <a:pt x="66" y="97"/>
                  </a:lnTo>
                  <a:lnTo>
                    <a:pt x="76" y="117"/>
                  </a:lnTo>
                  <a:lnTo>
                    <a:pt x="100" y="114"/>
                  </a:lnTo>
                  <a:lnTo>
                    <a:pt x="88" y="99"/>
                  </a:lnTo>
                  <a:lnTo>
                    <a:pt x="129" y="64"/>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71" name="Freeform 1738"/>
            <p:cNvSpPr>
              <a:spLocks/>
            </p:cNvSpPr>
            <p:nvPr/>
          </p:nvSpPr>
          <p:spPr bwMode="auto">
            <a:xfrm>
              <a:off x="5651500" y="5153103"/>
              <a:ext cx="111125" cy="142875"/>
            </a:xfrm>
            <a:custGeom>
              <a:avLst/>
              <a:gdLst>
                <a:gd name="T0" fmla="*/ 2147483647 w 70"/>
                <a:gd name="T1" fmla="*/ 0 h 90"/>
                <a:gd name="T2" fmla="*/ 0 w 70"/>
                <a:gd name="T3" fmla="*/ 2147483647 h 90"/>
                <a:gd name="T4" fmla="*/ 0 w 70"/>
                <a:gd name="T5" fmla="*/ 2147483647 h 90"/>
                <a:gd name="T6" fmla="*/ 2147483647 w 70"/>
                <a:gd name="T7" fmla="*/ 2147483647 h 90"/>
                <a:gd name="T8" fmla="*/ 2147483647 w 70"/>
                <a:gd name="T9" fmla="*/ 2147483647 h 90"/>
                <a:gd name="T10" fmla="*/ 2147483647 w 70"/>
                <a:gd name="T11" fmla="*/ 2147483647 h 90"/>
                <a:gd name="T12" fmla="*/ 2147483647 w 70"/>
                <a:gd name="T13" fmla="*/ 2147483647 h 90"/>
                <a:gd name="T14" fmla="*/ 2147483647 w 70"/>
                <a:gd name="T15" fmla="*/ 2147483647 h 90"/>
                <a:gd name="T16" fmla="*/ 2147483647 w 70"/>
                <a:gd name="T17" fmla="*/ 2147483647 h 90"/>
                <a:gd name="T18" fmla="*/ 2147483647 w 70"/>
                <a:gd name="T19" fmla="*/ 2147483647 h 90"/>
                <a:gd name="T20" fmla="*/ 2147483647 w 70"/>
                <a:gd name="T21" fmla="*/ 0 h 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90"/>
                <a:gd name="T35" fmla="*/ 70 w 70"/>
                <a:gd name="T36" fmla="*/ 90 h 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90">
                  <a:moveTo>
                    <a:pt x="39" y="0"/>
                  </a:moveTo>
                  <a:lnTo>
                    <a:pt x="0" y="28"/>
                  </a:lnTo>
                  <a:lnTo>
                    <a:pt x="0" y="46"/>
                  </a:lnTo>
                  <a:lnTo>
                    <a:pt x="13" y="57"/>
                  </a:lnTo>
                  <a:lnTo>
                    <a:pt x="16" y="88"/>
                  </a:lnTo>
                  <a:lnTo>
                    <a:pt x="42" y="90"/>
                  </a:lnTo>
                  <a:lnTo>
                    <a:pt x="58" y="55"/>
                  </a:lnTo>
                  <a:lnTo>
                    <a:pt x="70" y="49"/>
                  </a:lnTo>
                  <a:lnTo>
                    <a:pt x="69" y="25"/>
                  </a:lnTo>
                  <a:lnTo>
                    <a:pt x="51" y="25"/>
                  </a:lnTo>
                  <a:lnTo>
                    <a:pt x="39" y="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72" name="Freeform 1739"/>
            <p:cNvSpPr>
              <a:spLocks/>
            </p:cNvSpPr>
            <p:nvPr/>
          </p:nvSpPr>
          <p:spPr bwMode="auto">
            <a:xfrm>
              <a:off x="5251450" y="4797503"/>
              <a:ext cx="182563" cy="169863"/>
            </a:xfrm>
            <a:custGeom>
              <a:avLst/>
              <a:gdLst>
                <a:gd name="T0" fmla="*/ 2147483647 w 115"/>
                <a:gd name="T1" fmla="*/ 2147483647 h 107"/>
                <a:gd name="T2" fmla="*/ 2147483647 w 115"/>
                <a:gd name="T3" fmla="*/ 2147483647 h 107"/>
                <a:gd name="T4" fmla="*/ 2147483647 w 115"/>
                <a:gd name="T5" fmla="*/ 0 h 107"/>
                <a:gd name="T6" fmla="*/ 0 w 115"/>
                <a:gd name="T7" fmla="*/ 2147483647 h 107"/>
                <a:gd name="T8" fmla="*/ 2147483647 w 115"/>
                <a:gd name="T9" fmla="*/ 2147483647 h 107"/>
                <a:gd name="T10" fmla="*/ 2147483647 w 115"/>
                <a:gd name="T11" fmla="*/ 2147483647 h 107"/>
                <a:gd name="T12" fmla="*/ 2147483647 w 115"/>
                <a:gd name="T13" fmla="*/ 2147483647 h 107"/>
                <a:gd name="T14" fmla="*/ 2147483647 w 115"/>
                <a:gd name="T15" fmla="*/ 2147483647 h 107"/>
                <a:gd name="T16" fmla="*/ 2147483647 w 115"/>
                <a:gd name="T17" fmla="*/ 2147483647 h 107"/>
                <a:gd name="T18" fmla="*/ 2147483647 w 115"/>
                <a:gd name="T19" fmla="*/ 2147483647 h 107"/>
                <a:gd name="T20" fmla="*/ 2147483647 w 115"/>
                <a:gd name="T21" fmla="*/ 2147483647 h 1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107"/>
                <a:gd name="T35" fmla="*/ 115 w 115"/>
                <a:gd name="T36" fmla="*/ 107 h 1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107">
                  <a:moveTo>
                    <a:pt x="115" y="87"/>
                  </a:moveTo>
                  <a:lnTo>
                    <a:pt x="34" y="3"/>
                  </a:lnTo>
                  <a:lnTo>
                    <a:pt x="3" y="0"/>
                  </a:lnTo>
                  <a:lnTo>
                    <a:pt x="0" y="32"/>
                  </a:lnTo>
                  <a:lnTo>
                    <a:pt x="10" y="48"/>
                  </a:lnTo>
                  <a:lnTo>
                    <a:pt x="27" y="44"/>
                  </a:lnTo>
                  <a:lnTo>
                    <a:pt x="54" y="69"/>
                  </a:lnTo>
                  <a:lnTo>
                    <a:pt x="48" y="87"/>
                  </a:lnTo>
                  <a:lnTo>
                    <a:pt x="72" y="107"/>
                  </a:lnTo>
                  <a:lnTo>
                    <a:pt x="87" y="93"/>
                  </a:lnTo>
                  <a:lnTo>
                    <a:pt x="115" y="87"/>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73" name="Freeform 1740"/>
            <p:cNvSpPr>
              <a:spLocks/>
            </p:cNvSpPr>
            <p:nvPr/>
          </p:nvSpPr>
          <p:spPr bwMode="auto">
            <a:xfrm>
              <a:off x="4275138" y="5053091"/>
              <a:ext cx="93663" cy="1087438"/>
            </a:xfrm>
            <a:custGeom>
              <a:avLst/>
              <a:gdLst>
                <a:gd name="T0" fmla="*/ 2147483647 w 59"/>
                <a:gd name="T1" fmla="*/ 0 h 685"/>
                <a:gd name="T2" fmla="*/ 2147483647 w 59"/>
                <a:gd name="T3" fmla="*/ 2147483647 h 685"/>
                <a:gd name="T4" fmla="*/ 2147483647 w 59"/>
                <a:gd name="T5" fmla="*/ 2147483647 h 685"/>
                <a:gd name="T6" fmla="*/ 2147483647 w 59"/>
                <a:gd name="T7" fmla="*/ 2147483647 h 685"/>
                <a:gd name="T8" fmla="*/ 2147483647 w 59"/>
                <a:gd name="T9" fmla="*/ 2147483647 h 685"/>
                <a:gd name="T10" fmla="*/ 2147483647 w 59"/>
                <a:gd name="T11" fmla="*/ 2147483647 h 685"/>
                <a:gd name="T12" fmla="*/ 2147483647 w 59"/>
                <a:gd name="T13" fmla="*/ 2147483647 h 685"/>
                <a:gd name="T14" fmla="*/ 2147483647 w 59"/>
                <a:gd name="T15" fmla="*/ 2147483647 h 685"/>
                <a:gd name="T16" fmla="*/ 2147483647 w 59"/>
                <a:gd name="T17" fmla="*/ 2147483647 h 6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685"/>
                <a:gd name="T29" fmla="*/ 59 w 59"/>
                <a:gd name="T30" fmla="*/ 685 h 6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685">
                  <a:moveTo>
                    <a:pt x="24" y="0"/>
                  </a:moveTo>
                  <a:cubicBezTo>
                    <a:pt x="18" y="12"/>
                    <a:pt x="13" y="25"/>
                    <a:pt x="10" y="46"/>
                  </a:cubicBezTo>
                  <a:cubicBezTo>
                    <a:pt x="7" y="67"/>
                    <a:pt x="0" y="99"/>
                    <a:pt x="3" y="126"/>
                  </a:cubicBezTo>
                  <a:cubicBezTo>
                    <a:pt x="6" y="153"/>
                    <a:pt x="20" y="178"/>
                    <a:pt x="27" y="210"/>
                  </a:cubicBezTo>
                  <a:cubicBezTo>
                    <a:pt x="34" y="242"/>
                    <a:pt x="41" y="281"/>
                    <a:pt x="46" y="316"/>
                  </a:cubicBezTo>
                  <a:cubicBezTo>
                    <a:pt x="51" y="351"/>
                    <a:pt x="53" y="386"/>
                    <a:pt x="55" y="420"/>
                  </a:cubicBezTo>
                  <a:cubicBezTo>
                    <a:pt x="57" y="454"/>
                    <a:pt x="59" y="488"/>
                    <a:pt x="58" y="522"/>
                  </a:cubicBezTo>
                  <a:cubicBezTo>
                    <a:pt x="57" y="556"/>
                    <a:pt x="52" y="595"/>
                    <a:pt x="49" y="622"/>
                  </a:cubicBezTo>
                  <a:cubicBezTo>
                    <a:pt x="46" y="649"/>
                    <a:pt x="44" y="667"/>
                    <a:pt x="42" y="685"/>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574" name="Freeform 1741"/>
            <p:cNvSpPr>
              <a:spLocks/>
            </p:cNvSpPr>
            <p:nvPr/>
          </p:nvSpPr>
          <p:spPr bwMode="auto">
            <a:xfrm>
              <a:off x="4219575" y="4935616"/>
              <a:ext cx="209550" cy="176213"/>
            </a:xfrm>
            <a:custGeom>
              <a:avLst/>
              <a:gdLst>
                <a:gd name="T0" fmla="*/ 2147483647 w 132"/>
                <a:gd name="T1" fmla="*/ 2147483647 h 111"/>
                <a:gd name="T2" fmla="*/ 2147483647 w 132"/>
                <a:gd name="T3" fmla="*/ 2147483647 h 111"/>
                <a:gd name="T4" fmla="*/ 2147483647 w 132"/>
                <a:gd name="T5" fmla="*/ 2147483647 h 111"/>
                <a:gd name="T6" fmla="*/ 0 w 132"/>
                <a:gd name="T7" fmla="*/ 2147483647 h 111"/>
                <a:gd name="T8" fmla="*/ 2147483647 w 132"/>
                <a:gd name="T9" fmla="*/ 2147483647 h 111"/>
                <a:gd name="T10" fmla="*/ 2147483647 w 132"/>
                <a:gd name="T11" fmla="*/ 2147483647 h 111"/>
                <a:gd name="T12" fmla="*/ 2147483647 w 132"/>
                <a:gd name="T13" fmla="*/ 2147483647 h 111"/>
                <a:gd name="T14" fmla="*/ 2147483647 w 132"/>
                <a:gd name="T15" fmla="*/ 2147483647 h 111"/>
                <a:gd name="T16" fmla="*/ 2147483647 w 132"/>
                <a:gd name="T17" fmla="*/ 2147483647 h 111"/>
                <a:gd name="T18" fmla="*/ 2147483647 w 132"/>
                <a:gd name="T19" fmla="*/ 2147483647 h 111"/>
                <a:gd name="T20" fmla="*/ 2147483647 w 132"/>
                <a:gd name="T21" fmla="*/ 2147483647 h 111"/>
                <a:gd name="T22" fmla="*/ 2147483647 w 132"/>
                <a:gd name="T23" fmla="*/ 0 h 111"/>
                <a:gd name="T24" fmla="*/ 2147483647 w 132"/>
                <a:gd name="T25" fmla="*/ 2147483647 h 111"/>
                <a:gd name="T26" fmla="*/ 2147483647 w 132"/>
                <a:gd name="T27" fmla="*/ 2147483647 h 111"/>
                <a:gd name="T28" fmla="*/ 2147483647 w 132"/>
                <a:gd name="T29" fmla="*/ 2147483647 h 1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111"/>
                <a:gd name="T47" fmla="*/ 132 w 132"/>
                <a:gd name="T48" fmla="*/ 111 h 1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111">
                  <a:moveTo>
                    <a:pt x="120" y="71"/>
                  </a:moveTo>
                  <a:lnTo>
                    <a:pt x="80" y="111"/>
                  </a:lnTo>
                  <a:lnTo>
                    <a:pt x="45" y="87"/>
                  </a:lnTo>
                  <a:lnTo>
                    <a:pt x="0" y="81"/>
                  </a:lnTo>
                  <a:lnTo>
                    <a:pt x="6" y="66"/>
                  </a:lnTo>
                  <a:lnTo>
                    <a:pt x="27" y="68"/>
                  </a:lnTo>
                  <a:lnTo>
                    <a:pt x="53" y="44"/>
                  </a:lnTo>
                  <a:lnTo>
                    <a:pt x="47" y="29"/>
                  </a:lnTo>
                  <a:lnTo>
                    <a:pt x="59" y="23"/>
                  </a:lnTo>
                  <a:lnTo>
                    <a:pt x="78" y="12"/>
                  </a:lnTo>
                  <a:lnTo>
                    <a:pt x="98" y="20"/>
                  </a:lnTo>
                  <a:lnTo>
                    <a:pt x="126" y="0"/>
                  </a:lnTo>
                  <a:lnTo>
                    <a:pt x="132" y="18"/>
                  </a:lnTo>
                  <a:lnTo>
                    <a:pt x="102" y="38"/>
                  </a:lnTo>
                  <a:lnTo>
                    <a:pt x="120" y="71"/>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75" name="Freeform 1742"/>
            <p:cNvSpPr>
              <a:spLocks/>
            </p:cNvSpPr>
            <p:nvPr/>
          </p:nvSpPr>
          <p:spPr bwMode="auto">
            <a:xfrm>
              <a:off x="5194286" y="5754765"/>
              <a:ext cx="277827" cy="378615"/>
            </a:xfrm>
            <a:custGeom>
              <a:avLst/>
              <a:gdLst>
                <a:gd name="T0" fmla="*/ 2147483647 w 9669"/>
                <a:gd name="T1" fmla="*/ 0 h 9034"/>
                <a:gd name="T2" fmla="*/ 2147483647 w 9669"/>
                <a:gd name="T3" fmla="*/ 2147483647 h 9034"/>
                <a:gd name="T4" fmla="*/ 2147483647 w 9669"/>
                <a:gd name="T5" fmla="*/ 2147483647 h 9034"/>
                <a:gd name="T6" fmla="*/ 2147483647 w 9669"/>
                <a:gd name="T7" fmla="*/ 2147483647 h 9034"/>
                <a:gd name="T8" fmla="*/ 2147483647 w 9669"/>
                <a:gd name="T9" fmla="*/ 2147483647 h 9034"/>
                <a:gd name="T10" fmla="*/ 0 w 9669"/>
                <a:gd name="T11" fmla="*/ 2147483647 h 90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669" h="9034">
                  <a:moveTo>
                    <a:pt x="9669" y="0"/>
                  </a:moveTo>
                  <a:cubicBezTo>
                    <a:pt x="8564" y="909"/>
                    <a:pt x="7459" y="1856"/>
                    <a:pt x="6686" y="2576"/>
                  </a:cubicBezTo>
                  <a:cubicBezTo>
                    <a:pt x="5912" y="3295"/>
                    <a:pt x="5525" y="3750"/>
                    <a:pt x="4862" y="4432"/>
                  </a:cubicBezTo>
                  <a:cubicBezTo>
                    <a:pt x="4199" y="5114"/>
                    <a:pt x="3205" y="6023"/>
                    <a:pt x="2542" y="6667"/>
                  </a:cubicBezTo>
                  <a:cubicBezTo>
                    <a:pt x="1879" y="7311"/>
                    <a:pt x="1419" y="7901"/>
                    <a:pt x="995" y="8295"/>
                  </a:cubicBezTo>
                  <a:cubicBezTo>
                    <a:pt x="571" y="8690"/>
                    <a:pt x="387" y="8466"/>
                    <a:pt x="0" y="9034"/>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576" name="Freeform 1743"/>
            <p:cNvSpPr>
              <a:spLocks/>
            </p:cNvSpPr>
            <p:nvPr/>
          </p:nvSpPr>
          <p:spPr bwMode="auto">
            <a:xfrm>
              <a:off x="5400675" y="5643641"/>
              <a:ext cx="227013" cy="242888"/>
            </a:xfrm>
            <a:custGeom>
              <a:avLst/>
              <a:gdLst>
                <a:gd name="T0" fmla="*/ 2147483647 w 143"/>
                <a:gd name="T1" fmla="*/ 2147483647 h 153"/>
                <a:gd name="T2" fmla="*/ 2147483647 w 143"/>
                <a:gd name="T3" fmla="*/ 2147483647 h 153"/>
                <a:gd name="T4" fmla="*/ 2147483647 w 143"/>
                <a:gd name="T5" fmla="*/ 2147483647 h 153"/>
                <a:gd name="T6" fmla="*/ 2147483647 w 143"/>
                <a:gd name="T7" fmla="*/ 0 h 153"/>
                <a:gd name="T8" fmla="*/ 2147483647 w 143"/>
                <a:gd name="T9" fmla="*/ 2147483647 h 153"/>
                <a:gd name="T10" fmla="*/ 2147483647 w 143"/>
                <a:gd name="T11" fmla="*/ 2147483647 h 153"/>
                <a:gd name="T12" fmla="*/ 2147483647 w 143"/>
                <a:gd name="T13" fmla="*/ 2147483647 h 153"/>
                <a:gd name="T14" fmla="*/ 2147483647 w 143"/>
                <a:gd name="T15" fmla="*/ 2147483647 h 153"/>
                <a:gd name="T16" fmla="*/ 2147483647 w 143"/>
                <a:gd name="T17" fmla="*/ 2147483647 h 153"/>
                <a:gd name="T18" fmla="*/ 2147483647 w 143"/>
                <a:gd name="T19" fmla="*/ 2147483647 h 153"/>
                <a:gd name="T20" fmla="*/ 2147483647 w 143"/>
                <a:gd name="T21" fmla="*/ 2147483647 h 153"/>
                <a:gd name="T22" fmla="*/ 2147483647 w 143"/>
                <a:gd name="T23" fmla="*/ 2147483647 h 153"/>
                <a:gd name="T24" fmla="*/ 0 w 143"/>
                <a:gd name="T25" fmla="*/ 2147483647 h 153"/>
                <a:gd name="T26" fmla="*/ 2147483647 w 143"/>
                <a:gd name="T27" fmla="*/ 2147483647 h 153"/>
                <a:gd name="T28" fmla="*/ 2147483647 w 143"/>
                <a:gd name="T29" fmla="*/ 2147483647 h 1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3"/>
                <a:gd name="T46" fmla="*/ 0 h 153"/>
                <a:gd name="T47" fmla="*/ 143 w 143"/>
                <a:gd name="T48" fmla="*/ 153 h 1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3" h="153">
                  <a:moveTo>
                    <a:pt x="15" y="24"/>
                  </a:moveTo>
                  <a:lnTo>
                    <a:pt x="35" y="22"/>
                  </a:lnTo>
                  <a:lnTo>
                    <a:pt x="45" y="7"/>
                  </a:lnTo>
                  <a:lnTo>
                    <a:pt x="128" y="0"/>
                  </a:lnTo>
                  <a:lnTo>
                    <a:pt x="143" y="12"/>
                  </a:lnTo>
                  <a:lnTo>
                    <a:pt x="141" y="130"/>
                  </a:lnTo>
                  <a:lnTo>
                    <a:pt x="102" y="138"/>
                  </a:lnTo>
                  <a:lnTo>
                    <a:pt x="101" y="153"/>
                  </a:lnTo>
                  <a:lnTo>
                    <a:pt x="45" y="150"/>
                  </a:lnTo>
                  <a:lnTo>
                    <a:pt x="54" y="96"/>
                  </a:lnTo>
                  <a:lnTo>
                    <a:pt x="36" y="88"/>
                  </a:lnTo>
                  <a:lnTo>
                    <a:pt x="14" y="114"/>
                  </a:lnTo>
                  <a:lnTo>
                    <a:pt x="0" y="108"/>
                  </a:lnTo>
                  <a:lnTo>
                    <a:pt x="20" y="90"/>
                  </a:lnTo>
                  <a:lnTo>
                    <a:pt x="15" y="24"/>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77" name="Freeform 1744"/>
            <p:cNvSpPr>
              <a:spLocks/>
            </p:cNvSpPr>
            <p:nvPr/>
          </p:nvSpPr>
          <p:spPr bwMode="auto">
            <a:xfrm>
              <a:off x="1838325" y="5464253"/>
              <a:ext cx="222250" cy="122238"/>
            </a:xfrm>
            <a:custGeom>
              <a:avLst/>
              <a:gdLst>
                <a:gd name="T0" fmla="*/ 0 w 140"/>
                <a:gd name="T1" fmla="*/ 2147483647 h 77"/>
                <a:gd name="T2" fmla="*/ 2147483647 w 140"/>
                <a:gd name="T3" fmla="*/ 2147483647 h 77"/>
                <a:gd name="T4" fmla="*/ 2147483647 w 140"/>
                <a:gd name="T5" fmla="*/ 0 h 77"/>
                <a:gd name="T6" fmla="*/ 2147483647 w 140"/>
                <a:gd name="T7" fmla="*/ 2147483647 h 77"/>
                <a:gd name="T8" fmla="*/ 2147483647 w 140"/>
                <a:gd name="T9" fmla="*/ 2147483647 h 77"/>
                <a:gd name="T10" fmla="*/ 2147483647 w 140"/>
                <a:gd name="T11" fmla="*/ 2147483647 h 77"/>
                <a:gd name="T12" fmla="*/ 2147483647 w 140"/>
                <a:gd name="T13" fmla="*/ 2147483647 h 77"/>
                <a:gd name="T14" fmla="*/ 0 w 140"/>
                <a:gd name="T15" fmla="*/ 2147483647 h 77"/>
                <a:gd name="T16" fmla="*/ 0 60000 65536"/>
                <a:gd name="T17" fmla="*/ 0 60000 65536"/>
                <a:gd name="T18" fmla="*/ 0 60000 65536"/>
                <a:gd name="T19" fmla="*/ 0 60000 65536"/>
                <a:gd name="T20" fmla="*/ 0 60000 65536"/>
                <a:gd name="T21" fmla="*/ 0 60000 65536"/>
                <a:gd name="T22" fmla="*/ 0 60000 65536"/>
                <a:gd name="T23" fmla="*/ 0 60000 65536"/>
                <a:gd name="T24" fmla="*/ 0 w 140"/>
                <a:gd name="T25" fmla="*/ 0 h 77"/>
                <a:gd name="T26" fmla="*/ 140 w 140"/>
                <a:gd name="T27" fmla="*/ 77 h 7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0" h="77">
                  <a:moveTo>
                    <a:pt x="0" y="59"/>
                  </a:moveTo>
                  <a:lnTo>
                    <a:pt x="23" y="33"/>
                  </a:lnTo>
                  <a:lnTo>
                    <a:pt x="17" y="0"/>
                  </a:lnTo>
                  <a:lnTo>
                    <a:pt x="87" y="2"/>
                  </a:lnTo>
                  <a:lnTo>
                    <a:pt x="140" y="57"/>
                  </a:lnTo>
                  <a:lnTo>
                    <a:pt x="44" y="63"/>
                  </a:lnTo>
                  <a:lnTo>
                    <a:pt x="21" y="77"/>
                  </a:lnTo>
                  <a:lnTo>
                    <a:pt x="0" y="59"/>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78" name="Freeform 1745"/>
            <p:cNvSpPr>
              <a:spLocks/>
            </p:cNvSpPr>
            <p:nvPr/>
          </p:nvSpPr>
          <p:spPr bwMode="auto">
            <a:xfrm>
              <a:off x="1409700" y="5364241"/>
              <a:ext cx="290513" cy="198438"/>
            </a:xfrm>
            <a:custGeom>
              <a:avLst/>
              <a:gdLst>
                <a:gd name="T0" fmla="*/ 2147483647 w 183"/>
                <a:gd name="T1" fmla="*/ 2147483647 h 125"/>
                <a:gd name="T2" fmla="*/ 2147483647 w 183"/>
                <a:gd name="T3" fmla="*/ 2147483647 h 125"/>
                <a:gd name="T4" fmla="*/ 2147483647 w 183"/>
                <a:gd name="T5" fmla="*/ 2147483647 h 125"/>
                <a:gd name="T6" fmla="*/ 2147483647 w 183"/>
                <a:gd name="T7" fmla="*/ 2147483647 h 125"/>
                <a:gd name="T8" fmla="*/ 2147483647 w 183"/>
                <a:gd name="T9" fmla="*/ 2147483647 h 125"/>
                <a:gd name="T10" fmla="*/ 2147483647 w 183"/>
                <a:gd name="T11" fmla="*/ 0 h 125"/>
                <a:gd name="T12" fmla="*/ 2147483647 w 183"/>
                <a:gd name="T13" fmla="*/ 2147483647 h 125"/>
                <a:gd name="T14" fmla="*/ 2147483647 w 183"/>
                <a:gd name="T15" fmla="*/ 2147483647 h 125"/>
                <a:gd name="T16" fmla="*/ 2147483647 w 183"/>
                <a:gd name="T17" fmla="*/ 2147483647 h 125"/>
                <a:gd name="T18" fmla="*/ 0 w 183"/>
                <a:gd name="T19" fmla="*/ 2147483647 h 125"/>
                <a:gd name="T20" fmla="*/ 0 w 183"/>
                <a:gd name="T21" fmla="*/ 2147483647 h 125"/>
                <a:gd name="T22" fmla="*/ 2147483647 w 183"/>
                <a:gd name="T23" fmla="*/ 2147483647 h 125"/>
                <a:gd name="T24" fmla="*/ 2147483647 w 183"/>
                <a:gd name="T25" fmla="*/ 2147483647 h 125"/>
                <a:gd name="T26" fmla="*/ 2147483647 w 183"/>
                <a:gd name="T27" fmla="*/ 2147483647 h 125"/>
                <a:gd name="T28" fmla="*/ 2147483647 w 183"/>
                <a:gd name="T29" fmla="*/ 2147483647 h 1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3"/>
                <a:gd name="T46" fmla="*/ 0 h 125"/>
                <a:gd name="T47" fmla="*/ 183 w 183"/>
                <a:gd name="T48" fmla="*/ 125 h 1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3" h="125">
                  <a:moveTo>
                    <a:pt x="102" y="125"/>
                  </a:moveTo>
                  <a:lnTo>
                    <a:pt x="183" y="54"/>
                  </a:lnTo>
                  <a:lnTo>
                    <a:pt x="177" y="35"/>
                  </a:lnTo>
                  <a:lnTo>
                    <a:pt x="150" y="39"/>
                  </a:lnTo>
                  <a:lnTo>
                    <a:pt x="134" y="15"/>
                  </a:lnTo>
                  <a:lnTo>
                    <a:pt x="134" y="0"/>
                  </a:lnTo>
                  <a:lnTo>
                    <a:pt x="96" y="14"/>
                  </a:lnTo>
                  <a:lnTo>
                    <a:pt x="63" y="21"/>
                  </a:lnTo>
                  <a:lnTo>
                    <a:pt x="20" y="20"/>
                  </a:lnTo>
                  <a:lnTo>
                    <a:pt x="0" y="24"/>
                  </a:lnTo>
                  <a:lnTo>
                    <a:pt x="0" y="48"/>
                  </a:lnTo>
                  <a:lnTo>
                    <a:pt x="41" y="56"/>
                  </a:lnTo>
                  <a:lnTo>
                    <a:pt x="84" y="96"/>
                  </a:lnTo>
                  <a:lnTo>
                    <a:pt x="75" y="111"/>
                  </a:lnTo>
                  <a:lnTo>
                    <a:pt x="102" y="12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79" name="Freeform 1746"/>
            <p:cNvSpPr>
              <a:spLocks/>
            </p:cNvSpPr>
            <p:nvPr/>
          </p:nvSpPr>
          <p:spPr bwMode="auto">
            <a:xfrm>
              <a:off x="4933950" y="4046616"/>
              <a:ext cx="209550" cy="288925"/>
            </a:xfrm>
            <a:custGeom>
              <a:avLst/>
              <a:gdLst>
                <a:gd name="T0" fmla="*/ 2147483647 w 132"/>
                <a:gd name="T1" fmla="*/ 2147483647 h 182"/>
                <a:gd name="T2" fmla="*/ 2147483647 w 132"/>
                <a:gd name="T3" fmla="*/ 2147483647 h 182"/>
                <a:gd name="T4" fmla="*/ 2147483647 w 132"/>
                <a:gd name="T5" fmla="*/ 2147483647 h 182"/>
                <a:gd name="T6" fmla="*/ 2147483647 w 132"/>
                <a:gd name="T7" fmla="*/ 2147483647 h 182"/>
                <a:gd name="T8" fmla="*/ 2147483647 w 132"/>
                <a:gd name="T9" fmla="*/ 2147483647 h 182"/>
                <a:gd name="T10" fmla="*/ 2147483647 w 132"/>
                <a:gd name="T11" fmla="*/ 2147483647 h 182"/>
                <a:gd name="T12" fmla="*/ 2147483647 w 132"/>
                <a:gd name="T13" fmla="*/ 2147483647 h 182"/>
                <a:gd name="T14" fmla="*/ 2147483647 w 132"/>
                <a:gd name="T15" fmla="*/ 2147483647 h 182"/>
                <a:gd name="T16" fmla="*/ 2147483647 w 132"/>
                <a:gd name="T17" fmla="*/ 2147483647 h 182"/>
                <a:gd name="T18" fmla="*/ 2147483647 w 132"/>
                <a:gd name="T19" fmla="*/ 0 h 182"/>
                <a:gd name="T20" fmla="*/ 2147483647 w 132"/>
                <a:gd name="T21" fmla="*/ 2147483647 h 182"/>
                <a:gd name="T22" fmla="*/ 2147483647 w 132"/>
                <a:gd name="T23" fmla="*/ 2147483647 h 182"/>
                <a:gd name="T24" fmla="*/ 0 w 132"/>
                <a:gd name="T25" fmla="*/ 2147483647 h 182"/>
                <a:gd name="T26" fmla="*/ 2147483647 w 132"/>
                <a:gd name="T27" fmla="*/ 2147483647 h 182"/>
                <a:gd name="T28" fmla="*/ 2147483647 w 132"/>
                <a:gd name="T29" fmla="*/ 2147483647 h 182"/>
                <a:gd name="T30" fmla="*/ 2147483647 w 132"/>
                <a:gd name="T31" fmla="*/ 2147483647 h 182"/>
                <a:gd name="T32" fmla="*/ 2147483647 w 132"/>
                <a:gd name="T33" fmla="*/ 2147483647 h 182"/>
                <a:gd name="T34" fmla="*/ 2147483647 w 132"/>
                <a:gd name="T35" fmla="*/ 2147483647 h 182"/>
                <a:gd name="T36" fmla="*/ 2147483647 w 132"/>
                <a:gd name="T37" fmla="*/ 2147483647 h 182"/>
                <a:gd name="T38" fmla="*/ 2147483647 w 132"/>
                <a:gd name="T39" fmla="*/ 2147483647 h 1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2"/>
                <a:gd name="T61" fmla="*/ 0 h 182"/>
                <a:gd name="T62" fmla="*/ 132 w 132"/>
                <a:gd name="T63" fmla="*/ 182 h 1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2" h="182">
                  <a:moveTo>
                    <a:pt x="132" y="132"/>
                  </a:moveTo>
                  <a:lnTo>
                    <a:pt x="126" y="98"/>
                  </a:lnTo>
                  <a:lnTo>
                    <a:pt x="90" y="102"/>
                  </a:lnTo>
                  <a:lnTo>
                    <a:pt x="80" y="66"/>
                  </a:lnTo>
                  <a:lnTo>
                    <a:pt x="108" y="52"/>
                  </a:lnTo>
                  <a:lnTo>
                    <a:pt x="94" y="38"/>
                  </a:lnTo>
                  <a:lnTo>
                    <a:pt x="78" y="42"/>
                  </a:lnTo>
                  <a:lnTo>
                    <a:pt x="58" y="16"/>
                  </a:lnTo>
                  <a:lnTo>
                    <a:pt x="44" y="18"/>
                  </a:lnTo>
                  <a:lnTo>
                    <a:pt x="42" y="0"/>
                  </a:lnTo>
                  <a:lnTo>
                    <a:pt x="30" y="2"/>
                  </a:lnTo>
                  <a:lnTo>
                    <a:pt x="30" y="32"/>
                  </a:lnTo>
                  <a:lnTo>
                    <a:pt x="0" y="46"/>
                  </a:lnTo>
                  <a:lnTo>
                    <a:pt x="26" y="114"/>
                  </a:lnTo>
                  <a:lnTo>
                    <a:pt x="22" y="150"/>
                  </a:lnTo>
                  <a:lnTo>
                    <a:pt x="40" y="148"/>
                  </a:lnTo>
                  <a:lnTo>
                    <a:pt x="52" y="182"/>
                  </a:lnTo>
                  <a:lnTo>
                    <a:pt x="78" y="170"/>
                  </a:lnTo>
                  <a:lnTo>
                    <a:pt x="84" y="150"/>
                  </a:lnTo>
                  <a:lnTo>
                    <a:pt x="132" y="13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80" name="Freeform 1747"/>
            <p:cNvSpPr>
              <a:spLocks/>
            </p:cNvSpPr>
            <p:nvPr/>
          </p:nvSpPr>
          <p:spPr bwMode="auto">
            <a:xfrm>
              <a:off x="5064125" y="4100591"/>
              <a:ext cx="136525" cy="104775"/>
            </a:xfrm>
            <a:custGeom>
              <a:avLst/>
              <a:gdLst>
                <a:gd name="T0" fmla="*/ 2147483647 w 86"/>
                <a:gd name="T1" fmla="*/ 0 h 66"/>
                <a:gd name="T2" fmla="*/ 2147483647 w 86"/>
                <a:gd name="T3" fmla="*/ 2147483647 h 66"/>
                <a:gd name="T4" fmla="*/ 2147483647 w 86"/>
                <a:gd name="T5" fmla="*/ 2147483647 h 66"/>
                <a:gd name="T6" fmla="*/ 2147483647 w 86"/>
                <a:gd name="T7" fmla="*/ 2147483647 h 66"/>
                <a:gd name="T8" fmla="*/ 0 w 86"/>
                <a:gd name="T9" fmla="*/ 2147483647 h 66"/>
                <a:gd name="T10" fmla="*/ 2147483647 w 86"/>
                <a:gd name="T11" fmla="*/ 0 h 66"/>
                <a:gd name="T12" fmla="*/ 0 60000 65536"/>
                <a:gd name="T13" fmla="*/ 0 60000 65536"/>
                <a:gd name="T14" fmla="*/ 0 60000 65536"/>
                <a:gd name="T15" fmla="*/ 0 60000 65536"/>
                <a:gd name="T16" fmla="*/ 0 60000 65536"/>
                <a:gd name="T17" fmla="*/ 0 60000 65536"/>
                <a:gd name="T18" fmla="*/ 0 w 86"/>
                <a:gd name="T19" fmla="*/ 0 h 66"/>
                <a:gd name="T20" fmla="*/ 86 w 86"/>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86" h="66">
                  <a:moveTo>
                    <a:pt x="80" y="0"/>
                  </a:moveTo>
                  <a:lnTo>
                    <a:pt x="86" y="44"/>
                  </a:lnTo>
                  <a:lnTo>
                    <a:pt x="48" y="64"/>
                  </a:lnTo>
                  <a:lnTo>
                    <a:pt x="8" y="66"/>
                  </a:lnTo>
                  <a:lnTo>
                    <a:pt x="0" y="32"/>
                  </a:lnTo>
                  <a:lnTo>
                    <a:pt x="80" y="0"/>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81" name="Freeform 1748"/>
            <p:cNvSpPr>
              <a:spLocks/>
            </p:cNvSpPr>
            <p:nvPr/>
          </p:nvSpPr>
          <p:spPr bwMode="auto">
            <a:xfrm>
              <a:off x="5375275" y="3716416"/>
              <a:ext cx="327025" cy="225425"/>
            </a:xfrm>
            <a:custGeom>
              <a:avLst/>
              <a:gdLst>
                <a:gd name="T0" fmla="*/ 2147483647 w 206"/>
                <a:gd name="T1" fmla="*/ 0 h 142"/>
                <a:gd name="T2" fmla="*/ 2147483647 w 206"/>
                <a:gd name="T3" fmla="*/ 0 h 142"/>
                <a:gd name="T4" fmla="*/ 0 w 206"/>
                <a:gd name="T5" fmla="*/ 2147483647 h 142"/>
                <a:gd name="T6" fmla="*/ 2147483647 w 206"/>
                <a:gd name="T7" fmla="*/ 2147483647 h 142"/>
                <a:gd name="T8" fmla="*/ 2147483647 w 206"/>
                <a:gd name="T9" fmla="*/ 2147483647 h 142"/>
                <a:gd name="T10" fmla="*/ 2147483647 w 206"/>
                <a:gd name="T11" fmla="*/ 2147483647 h 142"/>
                <a:gd name="T12" fmla="*/ 2147483647 w 206"/>
                <a:gd name="T13" fmla="*/ 2147483647 h 142"/>
                <a:gd name="T14" fmla="*/ 2147483647 w 206"/>
                <a:gd name="T15" fmla="*/ 2147483647 h 142"/>
                <a:gd name="T16" fmla="*/ 2147483647 w 206"/>
                <a:gd name="T17" fmla="*/ 2147483647 h 142"/>
                <a:gd name="T18" fmla="*/ 2147483647 w 206"/>
                <a:gd name="T19" fmla="*/ 2147483647 h 142"/>
                <a:gd name="T20" fmla="*/ 2147483647 w 206"/>
                <a:gd name="T21" fmla="*/ 2147483647 h 142"/>
                <a:gd name="T22" fmla="*/ 2147483647 w 206"/>
                <a:gd name="T23" fmla="*/ 2147483647 h 142"/>
                <a:gd name="T24" fmla="*/ 2147483647 w 206"/>
                <a:gd name="T25" fmla="*/ 2147483647 h 142"/>
                <a:gd name="T26" fmla="*/ 2147483647 w 206"/>
                <a:gd name="T27" fmla="*/ 2147483647 h 142"/>
                <a:gd name="T28" fmla="*/ 2147483647 w 206"/>
                <a:gd name="T29" fmla="*/ 2147483647 h 142"/>
                <a:gd name="T30" fmla="*/ 2147483647 w 206"/>
                <a:gd name="T31" fmla="*/ 2147483647 h 142"/>
                <a:gd name="T32" fmla="*/ 2147483647 w 206"/>
                <a:gd name="T33" fmla="*/ 2147483647 h 142"/>
                <a:gd name="T34" fmla="*/ 2147483647 w 206"/>
                <a:gd name="T35" fmla="*/ 0 h 1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6"/>
                <a:gd name="T55" fmla="*/ 0 h 142"/>
                <a:gd name="T56" fmla="*/ 206 w 206"/>
                <a:gd name="T57" fmla="*/ 142 h 14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6" h="142">
                  <a:moveTo>
                    <a:pt x="76" y="0"/>
                  </a:moveTo>
                  <a:lnTo>
                    <a:pt x="46" y="0"/>
                  </a:lnTo>
                  <a:lnTo>
                    <a:pt x="0" y="36"/>
                  </a:lnTo>
                  <a:lnTo>
                    <a:pt x="20" y="56"/>
                  </a:lnTo>
                  <a:lnTo>
                    <a:pt x="20" y="116"/>
                  </a:lnTo>
                  <a:lnTo>
                    <a:pt x="52" y="114"/>
                  </a:lnTo>
                  <a:lnTo>
                    <a:pt x="82" y="142"/>
                  </a:lnTo>
                  <a:lnTo>
                    <a:pt x="118" y="114"/>
                  </a:lnTo>
                  <a:lnTo>
                    <a:pt x="128" y="124"/>
                  </a:lnTo>
                  <a:lnTo>
                    <a:pt x="168" y="122"/>
                  </a:lnTo>
                  <a:lnTo>
                    <a:pt x="206" y="100"/>
                  </a:lnTo>
                  <a:lnTo>
                    <a:pt x="198" y="34"/>
                  </a:lnTo>
                  <a:lnTo>
                    <a:pt x="174" y="34"/>
                  </a:lnTo>
                  <a:lnTo>
                    <a:pt x="160" y="56"/>
                  </a:lnTo>
                  <a:lnTo>
                    <a:pt x="140" y="36"/>
                  </a:lnTo>
                  <a:lnTo>
                    <a:pt x="96" y="50"/>
                  </a:lnTo>
                  <a:lnTo>
                    <a:pt x="72" y="20"/>
                  </a:lnTo>
                  <a:lnTo>
                    <a:pt x="76" y="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82" name="Freeform 1749"/>
            <p:cNvSpPr>
              <a:spLocks/>
            </p:cNvSpPr>
            <p:nvPr/>
          </p:nvSpPr>
          <p:spPr bwMode="auto">
            <a:xfrm>
              <a:off x="5270500" y="3329066"/>
              <a:ext cx="174625" cy="190500"/>
            </a:xfrm>
            <a:custGeom>
              <a:avLst/>
              <a:gdLst>
                <a:gd name="T0" fmla="*/ 2147483647 w 110"/>
                <a:gd name="T1" fmla="*/ 2147483647 h 120"/>
                <a:gd name="T2" fmla="*/ 0 w 110"/>
                <a:gd name="T3" fmla="*/ 2147483647 h 120"/>
                <a:gd name="T4" fmla="*/ 2147483647 w 110"/>
                <a:gd name="T5" fmla="*/ 2147483647 h 120"/>
                <a:gd name="T6" fmla="*/ 2147483647 w 110"/>
                <a:gd name="T7" fmla="*/ 2147483647 h 120"/>
                <a:gd name="T8" fmla="*/ 2147483647 w 110"/>
                <a:gd name="T9" fmla="*/ 2147483647 h 120"/>
                <a:gd name="T10" fmla="*/ 2147483647 w 110"/>
                <a:gd name="T11" fmla="*/ 0 h 120"/>
                <a:gd name="T12" fmla="*/ 2147483647 w 110"/>
                <a:gd name="T13" fmla="*/ 0 h 120"/>
                <a:gd name="T14" fmla="*/ 2147483647 w 110"/>
                <a:gd name="T15" fmla="*/ 2147483647 h 120"/>
                <a:gd name="T16" fmla="*/ 2147483647 w 110"/>
                <a:gd name="T17" fmla="*/ 2147483647 h 120"/>
                <a:gd name="T18" fmla="*/ 2147483647 w 110"/>
                <a:gd name="T19" fmla="*/ 2147483647 h 120"/>
                <a:gd name="T20" fmla="*/ 2147483647 w 110"/>
                <a:gd name="T21" fmla="*/ 2147483647 h 120"/>
                <a:gd name="T22" fmla="*/ 2147483647 w 110"/>
                <a:gd name="T23" fmla="*/ 2147483647 h 120"/>
                <a:gd name="T24" fmla="*/ 2147483647 w 110"/>
                <a:gd name="T25" fmla="*/ 2147483647 h 1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120"/>
                <a:gd name="T41" fmla="*/ 110 w 110"/>
                <a:gd name="T42" fmla="*/ 120 h 1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120">
                  <a:moveTo>
                    <a:pt x="60" y="120"/>
                  </a:moveTo>
                  <a:lnTo>
                    <a:pt x="0" y="76"/>
                  </a:lnTo>
                  <a:lnTo>
                    <a:pt x="28" y="48"/>
                  </a:lnTo>
                  <a:lnTo>
                    <a:pt x="28" y="28"/>
                  </a:lnTo>
                  <a:lnTo>
                    <a:pt x="48" y="28"/>
                  </a:lnTo>
                  <a:lnTo>
                    <a:pt x="52" y="0"/>
                  </a:lnTo>
                  <a:lnTo>
                    <a:pt x="72" y="0"/>
                  </a:lnTo>
                  <a:lnTo>
                    <a:pt x="70" y="40"/>
                  </a:lnTo>
                  <a:lnTo>
                    <a:pt x="98" y="50"/>
                  </a:lnTo>
                  <a:lnTo>
                    <a:pt x="110" y="92"/>
                  </a:lnTo>
                  <a:lnTo>
                    <a:pt x="94" y="108"/>
                  </a:lnTo>
                  <a:lnTo>
                    <a:pt x="72" y="106"/>
                  </a:lnTo>
                  <a:lnTo>
                    <a:pt x="60" y="12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83" name="Freeform 1750"/>
            <p:cNvSpPr>
              <a:spLocks/>
            </p:cNvSpPr>
            <p:nvPr/>
          </p:nvSpPr>
          <p:spPr bwMode="auto">
            <a:xfrm>
              <a:off x="2381250" y="5586491"/>
              <a:ext cx="88900" cy="76200"/>
            </a:xfrm>
            <a:custGeom>
              <a:avLst/>
              <a:gdLst>
                <a:gd name="T0" fmla="*/ 2147483647 w 56"/>
                <a:gd name="T1" fmla="*/ 2147483647 h 48"/>
                <a:gd name="T2" fmla="*/ 2147483647 w 56"/>
                <a:gd name="T3" fmla="*/ 2147483647 h 48"/>
                <a:gd name="T4" fmla="*/ 0 w 56"/>
                <a:gd name="T5" fmla="*/ 2147483647 h 48"/>
                <a:gd name="T6" fmla="*/ 2147483647 w 56"/>
                <a:gd name="T7" fmla="*/ 0 h 48"/>
                <a:gd name="T8" fmla="*/ 2147483647 w 56"/>
                <a:gd name="T9" fmla="*/ 2147483647 h 48"/>
                <a:gd name="T10" fmla="*/ 2147483647 w 56"/>
                <a:gd name="T11" fmla="*/ 2147483647 h 48"/>
                <a:gd name="T12" fmla="*/ 0 60000 65536"/>
                <a:gd name="T13" fmla="*/ 0 60000 65536"/>
                <a:gd name="T14" fmla="*/ 0 60000 65536"/>
                <a:gd name="T15" fmla="*/ 0 60000 65536"/>
                <a:gd name="T16" fmla="*/ 0 60000 65536"/>
                <a:gd name="T17" fmla="*/ 0 60000 65536"/>
                <a:gd name="T18" fmla="*/ 0 w 56"/>
                <a:gd name="T19" fmla="*/ 0 h 48"/>
                <a:gd name="T20" fmla="*/ 56 w 5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56" h="48">
                  <a:moveTo>
                    <a:pt x="32" y="48"/>
                  </a:moveTo>
                  <a:lnTo>
                    <a:pt x="6" y="40"/>
                  </a:lnTo>
                  <a:lnTo>
                    <a:pt x="0" y="10"/>
                  </a:lnTo>
                  <a:lnTo>
                    <a:pt x="26" y="0"/>
                  </a:lnTo>
                  <a:lnTo>
                    <a:pt x="56" y="10"/>
                  </a:lnTo>
                  <a:lnTo>
                    <a:pt x="32" y="48"/>
                  </a:ln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584" name="Freeform 1751"/>
            <p:cNvSpPr>
              <a:spLocks/>
            </p:cNvSpPr>
            <p:nvPr/>
          </p:nvSpPr>
          <p:spPr bwMode="auto">
            <a:xfrm>
              <a:off x="2403475" y="5605541"/>
              <a:ext cx="28575" cy="34925"/>
            </a:xfrm>
            <a:custGeom>
              <a:avLst/>
              <a:gdLst>
                <a:gd name="T0" fmla="*/ 2147483647 w 18"/>
                <a:gd name="T1" fmla="*/ 2147483647 h 22"/>
                <a:gd name="T2" fmla="*/ 2147483647 w 18"/>
                <a:gd name="T3" fmla="*/ 0 h 22"/>
                <a:gd name="T4" fmla="*/ 0 w 18"/>
                <a:gd name="T5" fmla="*/ 2147483647 h 22"/>
                <a:gd name="T6" fmla="*/ 2147483647 w 18"/>
                <a:gd name="T7" fmla="*/ 2147483647 h 22"/>
                <a:gd name="T8" fmla="*/ 2147483647 w 18"/>
                <a:gd name="T9" fmla="*/ 2147483647 h 22"/>
                <a:gd name="T10" fmla="*/ 0 60000 65536"/>
                <a:gd name="T11" fmla="*/ 0 60000 65536"/>
                <a:gd name="T12" fmla="*/ 0 60000 65536"/>
                <a:gd name="T13" fmla="*/ 0 60000 65536"/>
                <a:gd name="T14" fmla="*/ 0 60000 65536"/>
                <a:gd name="T15" fmla="*/ 0 w 18"/>
                <a:gd name="T16" fmla="*/ 0 h 22"/>
                <a:gd name="T17" fmla="*/ 18 w 18"/>
                <a:gd name="T18" fmla="*/ 22 h 22"/>
              </a:gdLst>
              <a:ahLst/>
              <a:cxnLst>
                <a:cxn ang="T10">
                  <a:pos x="T0" y="T1"/>
                </a:cxn>
                <a:cxn ang="T11">
                  <a:pos x="T2" y="T3"/>
                </a:cxn>
                <a:cxn ang="T12">
                  <a:pos x="T4" y="T5"/>
                </a:cxn>
                <a:cxn ang="T13">
                  <a:pos x="T6" y="T7"/>
                </a:cxn>
                <a:cxn ang="T14">
                  <a:pos x="T8" y="T9"/>
                </a:cxn>
              </a:cxnLst>
              <a:rect l="T15" t="T16" r="T17" b="T18"/>
              <a:pathLst>
                <a:path w="18" h="22">
                  <a:moveTo>
                    <a:pt x="18" y="6"/>
                  </a:moveTo>
                  <a:lnTo>
                    <a:pt x="6" y="0"/>
                  </a:lnTo>
                  <a:lnTo>
                    <a:pt x="0" y="22"/>
                  </a:lnTo>
                  <a:lnTo>
                    <a:pt x="12" y="22"/>
                  </a:lnTo>
                  <a:lnTo>
                    <a:pt x="18" y="6"/>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585" name="Freeform 1752"/>
            <p:cNvSpPr>
              <a:spLocks/>
            </p:cNvSpPr>
            <p:nvPr/>
          </p:nvSpPr>
          <p:spPr bwMode="auto">
            <a:xfrm>
              <a:off x="2597150" y="5667453"/>
              <a:ext cx="133350" cy="84138"/>
            </a:xfrm>
            <a:custGeom>
              <a:avLst/>
              <a:gdLst>
                <a:gd name="T0" fmla="*/ 2147483647 w 84"/>
                <a:gd name="T1" fmla="*/ 2147483647 h 53"/>
                <a:gd name="T2" fmla="*/ 2147483647 w 84"/>
                <a:gd name="T3" fmla="*/ 2147483647 h 53"/>
                <a:gd name="T4" fmla="*/ 2147483647 w 84"/>
                <a:gd name="T5" fmla="*/ 2147483647 h 53"/>
                <a:gd name="T6" fmla="*/ 2147483647 w 84"/>
                <a:gd name="T7" fmla="*/ 2147483647 h 53"/>
                <a:gd name="T8" fmla="*/ 2147483647 w 84"/>
                <a:gd name="T9" fmla="*/ 2147483647 h 53"/>
                <a:gd name="T10" fmla="*/ 2147483647 w 84"/>
                <a:gd name="T11" fmla="*/ 2147483647 h 53"/>
                <a:gd name="T12" fmla="*/ 2147483647 w 84"/>
                <a:gd name="T13" fmla="*/ 2147483647 h 53"/>
                <a:gd name="T14" fmla="*/ 0 60000 65536"/>
                <a:gd name="T15" fmla="*/ 0 60000 65536"/>
                <a:gd name="T16" fmla="*/ 0 60000 65536"/>
                <a:gd name="T17" fmla="*/ 0 60000 65536"/>
                <a:gd name="T18" fmla="*/ 0 60000 65536"/>
                <a:gd name="T19" fmla="*/ 0 60000 65536"/>
                <a:gd name="T20" fmla="*/ 0 60000 65536"/>
                <a:gd name="T21" fmla="*/ 0 w 84"/>
                <a:gd name="T22" fmla="*/ 0 h 53"/>
                <a:gd name="T23" fmla="*/ 84 w 84"/>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4" h="53">
                  <a:moveTo>
                    <a:pt x="73" y="52"/>
                  </a:moveTo>
                  <a:cubicBezTo>
                    <a:pt x="62" y="51"/>
                    <a:pt x="26" y="41"/>
                    <a:pt x="14" y="35"/>
                  </a:cubicBezTo>
                  <a:cubicBezTo>
                    <a:pt x="2" y="29"/>
                    <a:pt x="0" y="21"/>
                    <a:pt x="4" y="15"/>
                  </a:cubicBezTo>
                  <a:cubicBezTo>
                    <a:pt x="8" y="9"/>
                    <a:pt x="27" y="2"/>
                    <a:pt x="38" y="1"/>
                  </a:cubicBezTo>
                  <a:cubicBezTo>
                    <a:pt x="49" y="0"/>
                    <a:pt x="63" y="3"/>
                    <a:pt x="70" y="9"/>
                  </a:cubicBezTo>
                  <a:cubicBezTo>
                    <a:pt x="77" y="15"/>
                    <a:pt x="82" y="32"/>
                    <a:pt x="82" y="39"/>
                  </a:cubicBezTo>
                  <a:cubicBezTo>
                    <a:pt x="82" y="46"/>
                    <a:pt x="84" y="53"/>
                    <a:pt x="73" y="52"/>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586" name="Freeform 1753"/>
            <p:cNvSpPr>
              <a:spLocks/>
            </p:cNvSpPr>
            <p:nvPr/>
          </p:nvSpPr>
          <p:spPr bwMode="auto">
            <a:xfrm>
              <a:off x="2419350" y="5462666"/>
              <a:ext cx="66675" cy="104775"/>
            </a:xfrm>
            <a:custGeom>
              <a:avLst/>
              <a:gdLst>
                <a:gd name="T0" fmla="*/ 2147483647 w 42"/>
                <a:gd name="T1" fmla="*/ 2147483647 h 66"/>
                <a:gd name="T2" fmla="*/ 2147483647 w 42"/>
                <a:gd name="T3" fmla="*/ 2147483647 h 66"/>
                <a:gd name="T4" fmla="*/ 2147483647 w 42"/>
                <a:gd name="T5" fmla="*/ 2147483647 h 66"/>
                <a:gd name="T6" fmla="*/ 2147483647 w 42"/>
                <a:gd name="T7" fmla="*/ 0 h 66"/>
                <a:gd name="T8" fmla="*/ 2147483647 w 42"/>
                <a:gd name="T9" fmla="*/ 2147483647 h 66"/>
                <a:gd name="T10" fmla="*/ 2147483647 w 42"/>
                <a:gd name="T11" fmla="*/ 2147483647 h 66"/>
                <a:gd name="T12" fmla="*/ 2147483647 w 42"/>
                <a:gd name="T13" fmla="*/ 2147483647 h 66"/>
                <a:gd name="T14" fmla="*/ 0 60000 65536"/>
                <a:gd name="T15" fmla="*/ 0 60000 65536"/>
                <a:gd name="T16" fmla="*/ 0 60000 65536"/>
                <a:gd name="T17" fmla="*/ 0 60000 65536"/>
                <a:gd name="T18" fmla="*/ 0 60000 65536"/>
                <a:gd name="T19" fmla="*/ 0 60000 65536"/>
                <a:gd name="T20" fmla="*/ 0 60000 65536"/>
                <a:gd name="T21" fmla="*/ 0 w 42"/>
                <a:gd name="T22" fmla="*/ 0 h 66"/>
                <a:gd name="T23" fmla="*/ 42 w 42"/>
                <a:gd name="T24" fmla="*/ 66 h 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66">
                  <a:moveTo>
                    <a:pt x="38" y="64"/>
                  </a:moveTo>
                  <a:cubicBezTo>
                    <a:pt x="40" y="62"/>
                    <a:pt x="42" y="49"/>
                    <a:pt x="38" y="42"/>
                  </a:cubicBezTo>
                  <a:cubicBezTo>
                    <a:pt x="34" y="35"/>
                    <a:pt x="22" y="25"/>
                    <a:pt x="16" y="18"/>
                  </a:cubicBezTo>
                  <a:cubicBezTo>
                    <a:pt x="10" y="11"/>
                    <a:pt x="6" y="0"/>
                    <a:pt x="4" y="0"/>
                  </a:cubicBezTo>
                  <a:cubicBezTo>
                    <a:pt x="2" y="0"/>
                    <a:pt x="0" y="11"/>
                    <a:pt x="4" y="20"/>
                  </a:cubicBezTo>
                  <a:cubicBezTo>
                    <a:pt x="8" y="29"/>
                    <a:pt x="20" y="47"/>
                    <a:pt x="26" y="54"/>
                  </a:cubicBezTo>
                  <a:cubicBezTo>
                    <a:pt x="32" y="61"/>
                    <a:pt x="36" y="66"/>
                    <a:pt x="38" y="64"/>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87" name="Freeform 1754"/>
            <p:cNvSpPr>
              <a:spLocks/>
            </p:cNvSpPr>
            <p:nvPr/>
          </p:nvSpPr>
          <p:spPr bwMode="auto">
            <a:xfrm>
              <a:off x="2444750" y="5457903"/>
              <a:ext cx="82550" cy="107950"/>
            </a:xfrm>
            <a:custGeom>
              <a:avLst/>
              <a:gdLst>
                <a:gd name="T0" fmla="*/ 2147483647 w 52"/>
                <a:gd name="T1" fmla="*/ 2147483647 h 68"/>
                <a:gd name="T2" fmla="*/ 2147483647 w 52"/>
                <a:gd name="T3" fmla="*/ 2147483647 h 68"/>
                <a:gd name="T4" fmla="*/ 2147483647 w 52"/>
                <a:gd name="T5" fmla="*/ 2147483647 h 68"/>
                <a:gd name="T6" fmla="*/ 2147483647 w 52"/>
                <a:gd name="T7" fmla="*/ 2147483647 h 68"/>
                <a:gd name="T8" fmla="*/ 0 w 52"/>
                <a:gd name="T9" fmla="*/ 2147483647 h 68"/>
                <a:gd name="T10" fmla="*/ 2147483647 w 52"/>
                <a:gd name="T11" fmla="*/ 2147483647 h 68"/>
                <a:gd name="T12" fmla="*/ 2147483647 w 52"/>
                <a:gd name="T13" fmla="*/ 2147483647 h 68"/>
                <a:gd name="T14" fmla="*/ 2147483647 w 52"/>
                <a:gd name="T15" fmla="*/ 2147483647 h 68"/>
                <a:gd name="T16" fmla="*/ 2147483647 w 52"/>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2"/>
                <a:gd name="T28" fmla="*/ 0 h 68"/>
                <a:gd name="T29" fmla="*/ 52 w 52"/>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2" h="68">
                  <a:moveTo>
                    <a:pt x="50" y="67"/>
                  </a:moveTo>
                  <a:cubicBezTo>
                    <a:pt x="48" y="68"/>
                    <a:pt x="38" y="61"/>
                    <a:pt x="36" y="57"/>
                  </a:cubicBezTo>
                  <a:cubicBezTo>
                    <a:pt x="34" y="53"/>
                    <a:pt x="40" y="47"/>
                    <a:pt x="36" y="41"/>
                  </a:cubicBezTo>
                  <a:cubicBezTo>
                    <a:pt x="32" y="35"/>
                    <a:pt x="20" y="29"/>
                    <a:pt x="14" y="23"/>
                  </a:cubicBezTo>
                  <a:cubicBezTo>
                    <a:pt x="8" y="17"/>
                    <a:pt x="0" y="8"/>
                    <a:pt x="0" y="5"/>
                  </a:cubicBezTo>
                  <a:cubicBezTo>
                    <a:pt x="0" y="2"/>
                    <a:pt x="8" y="0"/>
                    <a:pt x="14" y="3"/>
                  </a:cubicBezTo>
                  <a:cubicBezTo>
                    <a:pt x="20" y="6"/>
                    <a:pt x="32" y="15"/>
                    <a:pt x="38" y="23"/>
                  </a:cubicBezTo>
                  <a:cubicBezTo>
                    <a:pt x="44" y="31"/>
                    <a:pt x="48" y="42"/>
                    <a:pt x="50" y="49"/>
                  </a:cubicBezTo>
                  <a:cubicBezTo>
                    <a:pt x="52" y="56"/>
                    <a:pt x="52" y="66"/>
                    <a:pt x="50" y="67"/>
                  </a:cubicBezTo>
                  <a:close/>
                </a:path>
              </a:pathLst>
            </a:custGeom>
            <a:solidFill>
              <a:srgbClr val="009900"/>
            </a:solidFill>
            <a:ln w="317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588" name="Freeform 1755"/>
            <p:cNvSpPr>
              <a:spLocks/>
            </p:cNvSpPr>
            <p:nvPr/>
          </p:nvSpPr>
          <p:spPr bwMode="auto">
            <a:xfrm>
              <a:off x="2613025" y="5680153"/>
              <a:ext cx="103188" cy="68263"/>
            </a:xfrm>
            <a:custGeom>
              <a:avLst/>
              <a:gdLst>
                <a:gd name="T0" fmla="*/ 2147483647 w 65"/>
                <a:gd name="T1" fmla="*/ 2147483647 h 43"/>
                <a:gd name="T2" fmla="*/ 2147483647 w 65"/>
                <a:gd name="T3" fmla="*/ 2147483647 h 43"/>
                <a:gd name="T4" fmla="*/ 2147483647 w 65"/>
                <a:gd name="T5" fmla="*/ 2147483647 h 43"/>
                <a:gd name="T6" fmla="*/ 2147483647 w 65"/>
                <a:gd name="T7" fmla="*/ 2147483647 h 43"/>
                <a:gd name="T8" fmla="*/ 2147483647 w 65"/>
                <a:gd name="T9" fmla="*/ 2147483647 h 43"/>
                <a:gd name="T10" fmla="*/ 2147483647 w 65"/>
                <a:gd name="T11" fmla="*/ 2147483647 h 43"/>
                <a:gd name="T12" fmla="*/ 0 60000 65536"/>
                <a:gd name="T13" fmla="*/ 0 60000 65536"/>
                <a:gd name="T14" fmla="*/ 0 60000 65536"/>
                <a:gd name="T15" fmla="*/ 0 60000 65536"/>
                <a:gd name="T16" fmla="*/ 0 60000 65536"/>
                <a:gd name="T17" fmla="*/ 0 60000 65536"/>
                <a:gd name="T18" fmla="*/ 0 w 65"/>
                <a:gd name="T19" fmla="*/ 0 h 43"/>
                <a:gd name="T20" fmla="*/ 65 w 65"/>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65" h="43">
                  <a:moveTo>
                    <a:pt x="56" y="21"/>
                  </a:moveTo>
                  <a:cubicBezTo>
                    <a:pt x="54" y="15"/>
                    <a:pt x="50" y="6"/>
                    <a:pt x="44" y="3"/>
                  </a:cubicBezTo>
                  <a:cubicBezTo>
                    <a:pt x="38" y="0"/>
                    <a:pt x="28" y="3"/>
                    <a:pt x="22" y="5"/>
                  </a:cubicBezTo>
                  <a:cubicBezTo>
                    <a:pt x="16" y="7"/>
                    <a:pt x="0" y="7"/>
                    <a:pt x="6" y="13"/>
                  </a:cubicBezTo>
                  <a:cubicBezTo>
                    <a:pt x="12" y="19"/>
                    <a:pt x="47" y="39"/>
                    <a:pt x="56" y="41"/>
                  </a:cubicBezTo>
                  <a:cubicBezTo>
                    <a:pt x="65" y="43"/>
                    <a:pt x="58" y="27"/>
                    <a:pt x="56" y="21"/>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89" name="Freeform 1756"/>
            <p:cNvSpPr>
              <a:spLocks/>
            </p:cNvSpPr>
            <p:nvPr/>
          </p:nvSpPr>
          <p:spPr bwMode="auto">
            <a:xfrm>
              <a:off x="7207250" y="5161041"/>
              <a:ext cx="434975" cy="577850"/>
            </a:xfrm>
            <a:custGeom>
              <a:avLst/>
              <a:gdLst>
                <a:gd name="T0" fmla="*/ 2147483647 w 274"/>
                <a:gd name="T1" fmla="*/ 2147483647 h 364"/>
                <a:gd name="T2" fmla="*/ 2147483647 w 274"/>
                <a:gd name="T3" fmla="*/ 2147483647 h 364"/>
                <a:gd name="T4" fmla="*/ 2147483647 w 274"/>
                <a:gd name="T5" fmla="*/ 2147483647 h 364"/>
                <a:gd name="T6" fmla="*/ 2147483647 w 274"/>
                <a:gd name="T7" fmla="*/ 2147483647 h 364"/>
                <a:gd name="T8" fmla="*/ 2147483647 w 274"/>
                <a:gd name="T9" fmla="*/ 2147483647 h 364"/>
                <a:gd name="T10" fmla="*/ 2147483647 w 274"/>
                <a:gd name="T11" fmla="*/ 2147483647 h 364"/>
                <a:gd name="T12" fmla="*/ 2147483647 w 274"/>
                <a:gd name="T13" fmla="*/ 2147483647 h 364"/>
                <a:gd name="T14" fmla="*/ 2147483647 w 274"/>
                <a:gd name="T15" fmla="*/ 2147483647 h 364"/>
                <a:gd name="T16" fmla="*/ 2147483647 w 274"/>
                <a:gd name="T17" fmla="*/ 2147483647 h 364"/>
                <a:gd name="T18" fmla="*/ 2147483647 w 274"/>
                <a:gd name="T19" fmla="*/ 2147483647 h 364"/>
                <a:gd name="T20" fmla="*/ 2147483647 w 274"/>
                <a:gd name="T21" fmla="*/ 2147483647 h 364"/>
                <a:gd name="T22" fmla="*/ 2147483647 w 274"/>
                <a:gd name="T23" fmla="*/ 2147483647 h 364"/>
                <a:gd name="T24" fmla="*/ 2147483647 w 274"/>
                <a:gd name="T25" fmla="*/ 2147483647 h 364"/>
                <a:gd name="T26" fmla="*/ 2147483647 w 274"/>
                <a:gd name="T27" fmla="*/ 2147483647 h 364"/>
                <a:gd name="T28" fmla="*/ 2147483647 w 274"/>
                <a:gd name="T29" fmla="*/ 2147483647 h 364"/>
                <a:gd name="T30" fmla="*/ 2147483647 w 274"/>
                <a:gd name="T31" fmla="*/ 2147483647 h 364"/>
                <a:gd name="T32" fmla="*/ 0 w 274"/>
                <a:gd name="T33" fmla="*/ 2147483647 h 364"/>
                <a:gd name="T34" fmla="*/ 2147483647 w 274"/>
                <a:gd name="T35" fmla="*/ 2147483647 h 364"/>
                <a:gd name="T36" fmla="*/ 2147483647 w 274"/>
                <a:gd name="T37" fmla="*/ 2147483647 h 364"/>
                <a:gd name="T38" fmla="*/ 2147483647 w 274"/>
                <a:gd name="T39" fmla="*/ 2147483647 h 364"/>
                <a:gd name="T40" fmla="*/ 2147483647 w 274"/>
                <a:gd name="T41" fmla="*/ 0 h 364"/>
                <a:gd name="T42" fmla="*/ 2147483647 w 274"/>
                <a:gd name="T43" fmla="*/ 2147483647 h 364"/>
                <a:gd name="T44" fmla="*/ 2147483647 w 274"/>
                <a:gd name="T45" fmla="*/ 2147483647 h 364"/>
                <a:gd name="T46" fmla="*/ 2147483647 w 274"/>
                <a:gd name="T47" fmla="*/ 2147483647 h 364"/>
                <a:gd name="T48" fmla="*/ 2147483647 w 274"/>
                <a:gd name="T49" fmla="*/ 2147483647 h 364"/>
                <a:gd name="T50" fmla="*/ 2147483647 w 274"/>
                <a:gd name="T51" fmla="*/ 2147483647 h 364"/>
                <a:gd name="T52" fmla="*/ 2147483647 w 274"/>
                <a:gd name="T53" fmla="*/ 2147483647 h 364"/>
                <a:gd name="T54" fmla="*/ 2147483647 w 274"/>
                <a:gd name="T55" fmla="*/ 2147483647 h 364"/>
                <a:gd name="T56" fmla="*/ 2147483647 w 274"/>
                <a:gd name="T57" fmla="*/ 2147483647 h 36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4"/>
                <a:gd name="T88" fmla="*/ 0 h 364"/>
                <a:gd name="T89" fmla="*/ 274 w 274"/>
                <a:gd name="T90" fmla="*/ 364 h 36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4" h="364">
                  <a:moveTo>
                    <a:pt x="270" y="284"/>
                  </a:moveTo>
                  <a:lnTo>
                    <a:pt x="184" y="308"/>
                  </a:lnTo>
                  <a:lnTo>
                    <a:pt x="182" y="364"/>
                  </a:lnTo>
                  <a:lnTo>
                    <a:pt x="154" y="364"/>
                  </a:lnTo>
                  <a:lnTo>
                    <a:pt x="154" y="332"/>
                  </a:lnTo>
                  <a:lnTo>
                    <a:pt x="132" y="334"/>
                  </a:lnTo>
                  <a:lnTo>
                    <a:pt x="116" y="344"/>
                  </a:lnTo>
                  <a:lnTo>
                    <a:pt x="72" y="336"/>
                  </a:lnTo>
                  <a:lnTo>
                    <a:pt x="56" y="340"/>
                  </a:lnTo>
                  <a:lnTo>
                    <a:pt x="32" y="316"/>
                  </a:lnTo>
                  <a:lnTo>
                    <a:pt x="50" y="302"/>
                  </a:lnTo>
                  <a:lnTo>
                    <a:pt x="50" y="258"/>
                  </a:lnTo>
                  <a:lnTo>
                    <a:pt x="28" y="228"/>
                  </a:lnTo>
                  <a:lnTo>
                    <a:pt x="50" y="206"/>
                  </a:lnTo>
                  <a:lnTo>
                    <a:pt x="24" y="178"/>
                  </a:lnTo>
                  <a:lnTo>
                    <a:pt x="18" y="72"/>
                  </a:lnTo>
                  <a:lnTo>
                    <a:pt x="0" y="74"/>
                  </a:lnTo>
                  <a:lnTo>
                    <a:pt x="4" y="44"/>
                  </a:lnTo>
                  <a:lnTo>
                    <a:pt x="18" y="24"/>
                  </a:lnTo>
                  <a:lnTo>
                    <a:pt x="48" y="24"/>
                  </a:lnTo>
                  <a:lnTo>
                    <a:pt x="84" y="0"/>
                  </a:lnTo>
                  <a:lnTo>
                    <a:pt x="98" y="8"/>
                  </a:lnTo>
                  <a:lnTo>
                    <a:pt x="88" y="68"/>
                  </a:lnTo>
                  <a:lnTo>
                    <a:pt x="100" y="122"/>
                  </a:lnTo>
                  <a:lnTo>
                    <a:pt x="122" y="154"/>
                  </a:lnTo>
                  <a:lnTo>
                    <a:pt x="174" y="174"/>
                  </a:lnTo>
                  <a:lnTo>
                    <a:pt x="252" y="190"/>
                  </a:lnTo>
                  <a:lnTo>
                    <a:pt x="274" y="190"/>
                  </a:lnTo>
                  <a:lnTo>
                    <a:pt x="270" y="284"/>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90" name="Freeform 1757"/>
            <p:cNvSpPr>
              <a:spLocks/>
            </p:cNvSpPr>
            <p:nvPr/>
          </p:nvSpPr>
          <p:spPr bwMode="auto">
            <a:xfrm>
              <a:off x="4248116" y="2890915"/>
              <a:ext cx="303247" cy="282547"/>
            </a:xfrm>
            <a:custGeom>
              <a:avLst/>
              <a:gdLst>
                <a:gd name="T0" fmla="*/ 2147483647 w 6564"/>
                <a:gd name="T1" fmla="*/ 2147483647 h 9569"/>
                <a:gd name="T2" fmla="*/ 2147483647 w 6564"/>
                <a:gd name="T3" fmla="*/ 2147483647 h 9569"/>
                <a:gd name="T4" fmla="*/ 2147483647 w 6564"/>
                <a:gd name="T5" fmla="*/ 2147483647 h 9569"/>
                <a:gd name="T6" fmla="*/ 2147483647 w 6564"/>
                <a:gd name="T7" fmla="*/ 2147483647 h 9569"/>
                <a:gd name="T8" fmla="*/ 2147483647 w 6564"/>
                <a:gd name="T9" fmla="*/ 2147483647 h 9569"/>
                <a:gd name="T10" fmla="*/ 2147483647 w 6564"/>
                <a:gd name="T11" fmla="*/ 2147483647 h 9569"/>
                <a:gd name="T12" fmla="*/ 2147483647 w 6564"/>
                <a:gd name="T13" fmla="*/ 2147483647 h 9569"/>
                <a:gd name="T14" fmla="*/ 2147483647 w 6564"/>
                <a:gd name="T15" fmla="*/ 2147483647 h 9569"/>
                <a:gd name="T16" fmla="*/ 2147483647 w 6564"/>
                <a:gd name="T17" fmla="*/ 2147483647 h 9569"/>
                <a:gd name="T18" fmla="*/ 0 w 6564"/>
                <a:gd name="T19" fmla="*/ 2147483647 h 9569"/>
                <a:gd name="T20" fmla="*/ 2147483647 w 6564"/>
                <a:gd name="T21" fmla="*/ 2147483647 h 9569"/>
                <a:gd name="T22" fmla="*/ 2147483647 w 6564"/>
                <a:gd name="T23" fmla="*/ 2147483647 h 9569"/>
                <a:gd name="T24" fmla="*/ 2147483647 w 6564"/>
                <a:gd name="T25" fmla="*/ 2147483647 h 9569"/>
                <a:gd name="T26" fmla="*/ 2147483647 w 6564"/>
                <a:gd name="T27" fmla="*/ 2147483647 h 9569"/>
                <a:gd name="T28" fmla="*/ 2147483647 w 6564"/>
                <a:gd name="T29" fmla="*/ 2147483647 h 9569"/>
                <a:gd name="T30" fmla="*/ 2147483647 w 6564"/>
                <a:gd name="T31" fmla="*/ 2147483647 h 9569"/>
                <a:gd name="T32" fmla="*/ 2147483647 w 6564"/>
                <a:gd name="T33" fmla="*/ 1189620576 h 9569"/>
                <a:gd name="T34" fmla="*/ 2147483647 w 6564"/>
                <a:gd name="T35" fmla="*/ 0 h 9569"/>
                <a:gd name="T36" fmla="*/ 2147483647 w 6564"/>
                <a:gd name="T37" fmla="*/ 2147483647 h 9569"/>
                <a:gd name="T38" fmla="*/ 2147483647 w 6564"/>
                <a:gd name="T39" fmla="*/ 2147483647 h 9569"/>
                <a:gd name="T40" fmla="*/ 2147483647 w 6564"/>
                <a:gd name="T41" fmla="*/ 2147483647 h 9569"/>
                <a:gd name="T42" fmla="*/ 2147483647 w 6564"/>
                <a:gd name="T43" fmla="*/ 2147483647 h 9569"/>
                <a:gd name="T44" fmla="*/ 2147483647 w 6564"/>
                <a:gd name="T45" fmla="*/ 2147483647 h 9569"/>
                <a:gd name="T46" fmla="*/ 2147483647 w 6564"/>
                <a:gd name="T47" fmla="*/ 2147483647 h 9569"/>
                <a:gd name="T48" fmla="*/ 2147483647 w 6564"/>
                <a:gd name="T49" fmla="*/ 2147483647 h 9569"/>
                <a:gd name="T50" fmla="*/ 2147483647 w 6564"/>
                <a:gd name="T51" fmla="*/ 2147483647 h 9569"/>
                <a:gd name="T52" fmla="*/ 2147483647 w 6564"/>
                <a:gd name="T53" fmla="*/ 2147483647 h 9569"/>
                <a:gd name="T54" fmla="*/ 2147483647 w 6564"/>
                <a:gd name="T55" fmla="*/ 2147483647 h 9569"/>
                <a:gd name="T56" fmla="*/ 2147483647 w 6564"/>
                <a:gd name="T57" fmla="*/ 2147483647 h 9569"/>
                <a:gd name="T58" fmla="*/ 2147483647 w 6564"/>
                <a:gd name="T59" fmla="*/ 2147483647 h 9569"/>
                <a:gd name="T60" fmla="*/ 2147483647 w 6564"/>
                <a:gd name="T61" fmla="*/ 2147483647 h 9569"/>
                <a:gd name="T62" fmla="*/ 2147483647 w 6564"/>
                <a:gd name="T63" fmla="*/ 2147483647 h 95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564" h="9569">
                  <a:moveTo>
                    <a:pt x="5980" y="9517"/>
                  </a:moveTo>
                  <a:lnTo>
                    <a:pt x="4709" y="9569"/>
                  </a:lnTo>
                  <a:lnTo>
                    <a:pt x="3780" y="7795"/>
                  </a:lnTo>
                  <a:lnTo>
                    <a:pt x="998" y="8763"/>
                  </a:lnTo>
                  <a:lnTo>
                    <a:pt x="791" y="8279"/>
                  </a:lnTo>
                  <a:cubicBezTo>
                    <a:pt x="802" y="8011"/>
                    <a:pt x="814" y="7742"/>
                    <a:pt x="825" y="7474"/>
                  </a:cubicBezTo>
                  <a:cubicBezTo>
                    <a:pt x="779" y="6882"/>
                    <a:pt x="734" y="6291"/>
                    <a:pt x="688" y="5699"/>
                  </a:cubicBezTo>
                  <a:cubicBezTo>
                    <a:pt x="631" y="5412"/>
                    <a:pt x="573" y="5126"/>
                    <a:pt x="516" y="4839"/>
                  </a:cubicBezTo>
                  <a:cubicBezTo>
                    <a:pt x="573" y="4642"/>
                    <a:pt x="631" y="4445"/>
                    <a:pt x="688" y="4248"/>
                  </a:cubicBezTo>
                  <a:lnTo>
                    <a:pt x="0" y="2420"/>
                  </a:lnTo>
                  <a:lnTo>
                    <a:pt x="516" y="1344"/>
                  </a:lnTo>
                  <a:lnTo>
                    <a:pt x="1031" y="1022"/>
                  </a:lnTo>
                  <a:lnTo>
                    <a:pt x="2063" y="2795"/>
                  </a:lnTo>
                  <a:lnTo>
                    <a:pt x="2544" y="3118"/>
                  </a:lnTo>
                  <a:cubicBezTo>
                    <a:pt x="2440" y="2688"/>
                    <a:pt x="2338" y="2258"/>
                    <a:pt x="2234" y="1828"/>
                  </a:cubicBezTo>
                  <a:cubicBezTo>
                    <a:pt x="2303" y="1488"/>
                    <a:pt x="2371" y="1147"/>
                    <a:pt x="2440" y="807"/>
                  </a:cubicBezTo>
                  <a:lnTo>
                    <a:pt x="2990" y="53"/>
                  </a:lnTo>
                  <a:lnTo>
                    <a:pt x="4090" y="0"/>
                  </a:lnTo>
                  <a:lnTo>
                    <a:pt x="4845" y="484"/>
                  </a:lnTo>
                  <a:lnTo>
                    <a:pt x="5258" y="2151"/>
                  </a:lnTo>
                  <a:cubicBezTo>
                    <a:pt x="5293" y="2509"/>
                    <a:pt x="5327" y="2868"/>
                    <a:pt x="5361" y="3226"/>
                  </a:cubicBezTo>
                  <a:lnTo>
                    <a:pt x="4845" y="3603"/>
                  </a:lnTo>
                  <a:lnTo>
                    <a:pt x="4434" y="3226"/>
                  </a:lnTo>
                  <a:cubicBezTo>
                    <a:pt x="4353" y="2743"/>
                    <a:pt x="4274" y="2258"/>
                    <a:pt x="4193" y="1775"/>
                  </a:cubicBezTo>
                  <a:lnTo>
                    <a:pt x="3815" y="1452"/>
                  </a:lnTo>
                  <a:lnTo>
                    <a:pt x="3368" y="1452"/>
                  </a:lnTo>
                  <a:cubicBezTo>
                    <a:pt x="3299" y="1667"/>
                    <a:pt x="3231" y="1882"/>
                    <a:pt x="3162" y="2097"/>
                  </a:cubicBezTo>
                  <a:cubicBezTo>
                    <a:pt x="3884" y="3226"/>
                    <a:pt x="3953" y="3172"/>
                    <a:pt x="4228" y="4355"/>
                  </a:cubicBezTo>
                  <a:cubicBezTo>
                    <a:pt x="4262" y="4786"/>
                    <a:pt x="4571" y="4839"/>
                    <a:pt x="4743" y="5215"/>
                  </a:cubicBezTo>
                  <a:cubicBezTo>
                    <a:pt x="4778" y="5591"/>
                    <a:pt x="4674" y="5323"/>
                    <a:pt x="5018" y="5968"/>
                  </a:cubicBezTo>
                  <a:lnTo>
                    <a:pt x="6564" y="9354"/>
                  </a:lnTo>
                  <a:lnTo>
                    <a:pt x="5980" y="9517"/>
                  </a:lnTo>
                  <a:close/>
                </a:path>
              </a:pathLst>
            </a:custGeom>
            <a:solidFill>
              <a:srgbClr val="663300"/>
            </a:solidFill>
            <a:ln w="3175" cap="flat" cmpd="sng">
              <a:solidFill>
                <a:srgbClr val="663300"/>
              </a:solidFill>
              <a:prstDash val="solid"/>
              <a:round/>
              <a:headEnd type="none" w="med" len="med"/>
              <a:tailEnd type="none" w="med" len="med"/>
            </a:ln>
          </p:spPr>
          <p:txBody>
            <a:bodyPr wrap="none" lIns="0" tIns="0" rIns="0" bIns="0">
              <a:spAutoFit/>
            </a:bodyPr>
            <a:lstStyle/>
            <a:p>
              <a:endParaRPr lang="de-DE"/>
            </a:p>
          </p:txBody>
        </p:sp>
        <p:sp>
          <p:nvSpPr>
            <p:cNvPr id="591" name="Freeform 1758"/>
            <p:cNvSpPr>
              <a:spLocks/>
            </p:cNvSpPr>
            <p:nvPr/>
          </p:nvSpPr>
          <p:spPr bwMode="auto">
            <a:xfrm>
              <a:off x="3722688" y="3162378"/>
              <a:ext cx="66675" cy="92075"/>
            </a:xfrm>
            <a:custGeom>
              <a:avLst/>
              <a:gdLst>
                <a:gd name="T0" fmla="*/ 2147483647 w 42"/>
                <a:gd name="T1" fmla="*/ 2147483647 h 58"/>
                <a:gd name="T2" fmla="*/ 0 w 42"/>
                <a:gd name="T3" fmla="*/ 2147483647 h 58"/>
                <a:gd name="T4" fmla="*/ 2147483647 w 42"/>
                <a:gd name="T5" fmla="*/ 2147483647 h 58"/>
                <a:gd name="T6" fmla="*/ 2147483647 w 42"/>
                <a:gd name="T7" fmla="*/ 2147483647 h 58"/>
                <a:gd name="T8" fmla="*/ 2147483647 w 42"/>
                <a:gd name="T9" fmla="*/ 2147483647 h 58"/>
                <a:gd name="T10" fmla="*/ 2147483647 w 42"/>
                <a:gd name="T11" fmla="*/ 0 h 58"/>
                <a:gd name="T12" fmla="*/ 2147483647 w 42"/>
                <a:gd name="T13" fmla="*/ 2147483647 h 58"/>
                <a:gd name="T14" fmla="*/ 0 60000 65536"/>
                <a:gd name="T15" fmla="*/ 0 60000 65536"/>
                <a:gd name="T16" fmla="*/ 0 60000 65536"/>
                <a:gd name="T17" fmla="*/ 0 60000 65536"/>
                <a:gd name="T18" fmla="*/ 0 60000 65536"/>
                <a:gd name="T19" fmla="*/ 0 60000 65536"/>
                <a:gd name="T20" fmla="*/ 0 60000 65536"/>
                <a:gd name="T21" fmla="*/ 0 w 42"/>
                <a:gd name="T22" fmla="*/ 0 h 58"/>
                <a:gd name="T23" fmla="*/ 42 w 42"/>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58">
                  <a:moveTo>
                    <a:pt x="42" y="37"/>
                  </a:moveTo>
                  <a:lnTo>
                    <a:pt x="0" y="58"/>
                  </a:lnTo>
                  <a:lnTo>
                    <a:pt x="4" y="31"/>
                  </a:lnTo>
                  <a:lnTo>
                    <a:pt x="18" y="22"/>
                  </a:lnTo>
                  <a:lnTo>
                    <a:pt x="9" y="1"/>
                  </a:lnTo>
                  <a:lnTo>
                    <a:pt x="25" y="0"/>
                  </a:lnTo>
                  <a:lnTo>
                    <a:pt x="42" y="37"/>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92" name="Freeform 1759"/>
            <p:cNvSpPr>
              <a:spLocks/>
            </p:cNvSpPr>
            <p:nvPr/>
          </p:nvSpPr>
          <p:spPr bwMode="auto">
            <a:xfrm>
              <a:off x="4052888" y="3438603"/>
              <a:ext cx="127000" cy="123825"/>
            </a:xfrm>
            <a:custGeom>
              <a:avLst/>
              <a:gdLst>
                <a:gd name="T0" fmla="*/ 2147483647 w 80"/>
                <a:gd name="T1" fmla="*/ 2147483647 h 78"/>
                <a:gd name="T2" fmla="*/ 2147483647 w 80"/>
                <a:gd name="T3" fmla="*/ 2147483647 h 78"/>
                <a:gd name="T4" fmla="*/ 2147483647 w 80"/>
                <a:gd name="T5" fmla="*/ 2147483647 h 78"/>
                <a:gd name="T6" fmla="*/ 2147483647 w 80"/>
                <a:gd name="T7" fmla="*/ 2147483647 h 78"/>
                <a:gd name="T8" fmla="*/ 2147483647 w 80"/>
                <a:gd name="T9" fmla="*/ 2147483647 h 78"/>
                <a:gd name="T10" fmla="*/ 2147483647 w 80"/>
                <a:gd name="T11" fmla="*/ 2147483647 h 78"/>
                <a:gd name="T12" fmla="*/ 2147483647 w 80"/>
                <a:gd name="T13" fmla="*/ 0 h 78"/>
                <a:gd name="T14" fmla="*/ 0 w 80"/>
                <a:gd name="T15" fmla="*/ 2147483647 h 78"/>
                <a:gd name="T16" fmla="*/ 2147483647 w 80"/>
                <a:gd name="T17" fmla="*/ 2147483647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0"/>
                <a:gd name="T28" fmla="*/ 0 h 78"/>
                <a:gd name="T29" fmla="*/ 80 w 80"/>
                <a:gd name="T30" fmla="*/ 78 h 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0" h="78">
                  <a:moveTo>
                    <a:pt x="63" y="78"/>
                  </a:moveTo>
                  <a:lnTo>
                    <a:pt x="78" y="67"/>
                  </a:lnTo>
                  <a:lnTo>
                    <a:pt x="72" y="58"/>
                  </a:lnTo>
                  <a:lnTo>
                    <a:pt x="80" y="45"/>
                  </a:lnTo>
                  <a:lnTo>
                    <a:pt x="63" y="28"/>
                  </a:lnTo>
                  <a:lnTo>
                    <a:pt x="50" y="30"/>
                  </a:lnTo>
                  <a:lnTo>
                    <a:pt x="14" y="0"/>
                  </a:lnTo>
                  <a:lnTo>
                    <a:pt x="0" y="15"/>
                  </a:lnTo>
                  <a:lnTo>
                    <a:pt x="63" y="7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93" name="Freeform 1760"/>
            <p:cNvSpPr>
              <a:spLocks/>
            </p:cNvSpPr>
            <p:nvPr/>
          </p:nvSpPr>
          <p:spPr bwMode="auto">
            <a:xfrm>
              <a:off x="3668713" y="2621041"/>
              <a:ext cx="234950" cy="336550"/>
            </a:xfrm>
            <a:custGeom>
              <a:avLst/>
              <a:gdLst>
                <a:gd name="T0" fmla="*/ 2147483647 w 148"/>
                <a:gd name="T1" fmla="*/ 2147483647 h 212"/>
                <a:gd name="T2" fmla="*/ 2147483647 w 148"/>
                <a:gd name="T3" fmla="*/ 2147483647 h 212"/>
                <a:gd name="T4" fmla="*/ 2147483647 w 148"/>
                <a:gd name="T5" fmla="*/ 2147483647 h 212"/>
                <a:gd name="T6" fmla="*/ 2147483647 w 148"/>
                <a:gd name="T7" fmla="*/ 2147483647 h 212"/>
                <a:gd name="T8" fmla="*/ 2147483647 w 148"/>
                <a:gd name="T9" fmla="*/ 2147483647 h 212"/>
                <a:gd name="T10" fmla="*/ 2147483647 w 148"/>
                <a:gd name="T11" fmla="*/ 2147483647 h 212"/>
                <a:gd name="T12" fmla="*/ 2147483647 w 148"/>
                <a:gd name="T13" fmla="*/ 2147483647 h 212"/>
                <a:gd name="T14" fmla="*/ 2147483647 w 148"/>
                <a:gd name="T15" fmla="*/ 2147483647 h 212"/>
                <a:gd name="T16" fmla="*/ 2147483647 w 148"/>
                <a:gd name="T17" fmla="*/ 2147483647 h 212"/>
                <a:gd name="T18" fmla="*/ 2147483647 w 148"/>
                <a:gd name="T19" fmla="*/ 0 h 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8"/>
                <a:gd name="T31" fmla="*/ 0 h 212"/>
                <a:gd name="T32" fmla="*/ 148 w 148"/>
                <a:gd name="T33" fmla="*/ 212 h 2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8" h="212">
                  <a:moveTo>
                    <a:pt x="106" y="212"/>
                  </a:moveTo>
                  <a:cubicBezTo>
                    <a:pt x="94" y="206"/>
                    <a:pt x="49" y="189"/>
                    <a:pt x="32" y="174"/>
                  </a:cubicBezTo>
                  <a:cubicBezTo>
                    <a:pt x="15" y="159"/>
                    <a:pt x="2" y="135"/>
                    <a:pt x="1" y="120"/>
                  </a:cubicBezTo>
                  <a:cubicBezTo>
                    <a:pt x="0" y="105"/>
                    <a:pt x="22" y="92"/>
                    <a:pt x="28" y="84"/>
                  </a:cubicBezTo>
                  <a:cubicBezTo>
                    <a:pt x="34" y="76"/>
                    <a:pt x="35" y="76"/>
                    <a:pt x="39" y="72"/>
                  </a:cubicBezTo>
                  <a:cubicBezTo>
                    <a:pt x="43" y="67"/>
                    <a:pt x="46" y="63"/>
                    <a:pt x="50" y="59"/>
                  </a:cubicBezTo>
                  <a:cubicBezTo>
                    <a:pt x="53" y="55"/>
                    <a:pt x="57" y="50"/>
                    <a:pt x="61" y="47"/>
                  </a:cubicBezTo>
                  <a:cubicBezTo>
                    <a:pt x="66" y="43"/>
                    <a:pt x="69" y="43"/>
                    <a:pt x="76" y="38"/>
                  </a:cubicBezTo>
                  <a:cubicBezTo>
                    <a:pt x="83" y="33"/>
                    <a:pt x="89" y="24"/>
                    <a:pt x="101" y="18"/>
                  </a:cubicBezTo>
                  <a:cubicBezTo>
                    <a:pt x="113" y="12"/>
                    <a:pt x="138" y="4"/>
                    <a:pt x="148" y="0"/>
                  </a:cubicBezTo>
                </a:path>
              </a:pathLst>
            </a:custGeom>
            <a:noFill/>
            <a:ln w="9525"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594" name="Freeform 1761"/>
            <p:cNvSpPr>
              <a:spLocks/>
            </p:cNvSpPr>
            <p:nvPr/>
          </p:nvSpPr>
          <p:spPr bwMode="auto">
            <a:xfrm>
              <a:off x="3441700" y="2848053"/>
              <a:ext cx="254000" cy="139700"/>
            </a:xfrm>
            <a:custGeom>
              <a:avLst/>
              <a:gdLst>
                <a:gd name="T0" fmla="*/ 2147483647 w 160"/>
                <a:gd name="T1" fmla="*/ 2147483647 h 88"/>
                <a:gd name="T2" fmla="*/ 2147483647 w 160"/>
                <a:gd name="T3" fmla="*/ 2147483647 h 88"/>
                <a:gd name="T4" fmla="*/ 2147483647 w 160"/>
                <a:gd name="T5" fmla="*/ 2147483647 h 88"/>
                <a:gd name="T6" fmla="*/ 2147483647 w 160"/>
                <a:gd name="T7" fmla="*/ 2147483647 h 88"/>
                <a:gd name="T8" fmla="*/ 2147483647 w 160"/>
                <a:gd name="T9" fmla="*/ 0 h 88"/>
                <a:gd name="T10" fmla="*/ 2147483647 w 160"/>
                <a:gd name="T11" fmla="*/ 2147483647 h 88"/>
                <a:gd name="T12" fmla="*/ 2147483647 w 160"/>
                <a:gd name="T13" fmla="*/ 2147483647 h 88"/>
                <a:gd name="T14" fmla="*/ 2147483647 w 160"/>
                <a:gd name="T15" fmla="*/ 2147483647 h 88"/>
                <a:gd name="T16" fmla="*/ 0 w 160"/>
                <a:gd name="T17" fmla="*/ 2147483647 h 88"/>
                <a:gd name="T18" fmla="*/ 2147483647 w 160"/>
                <a:gd name="T19" fmla="*/ 2147483647 h 88"/>
                <a:gd name="T20" fmla="*/ 2147483647 w 160"/>
                <a:gd name="T21" fmla="*/ 2147483647 h 88"/>
                <a:gd name="T22" fmla="*/ 2147483647 w 160"/>
                <a:gd name="T23" fmla="*/ 2147483647 h 88"/>
                <a:gd name="T24" fmla="*/ 2147483647 w 160"/>
                <a:gd name="T25" fmla="*/ 2147483647 h 88"/>
                <a:gd name="T26" fmla="*/ 2147483647 w 160"/>
                <a:gd name="T27" fmla="*/ 2147483647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0"/>
                <a:gd name="T43" fmla="*/ 0 h 88"/>
                <a:gd name="T44" fmla="*/ 160 w 160"/>
                <a:gd name="T45" fmla="*/ 88 h 8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0" h="88">
                  <a:moveTo>
                    <a:pt x="138" y="76"/>
                  </a:moveTo>
                  <a:lnTo>
                    <a:pt x="160" y="51"/>
                  </a:lnTo>
                  <a:lnTo>
                    <a:pt x="130" y="6"/>
                  </a:lnTo>
                  <a:lnTo>
                    <a:pt x="117" y="13"/>
                  </a:lnTo>
                  <a:lnTo>
                    <a:pt x="106" y="0"/>
                  </a:lnTo>
                  <a:lnTo>
                    <a:pt x="69" y="4"/>
                  </a:lnTo>
                  <a:lnTo>
                    <a:pt x="40" y="15"/>
                  </a:lnTo>
                  <a:lnTo>
                    <a:pt x="9" y="18"/>
                  </a:lnTo>
                  <a:lnTo>
                    <a:pt x="0" y="34"/>
                  </a:lnTo>
                  <a:lnTo>
                    <a:pt x="30" y="60"/>
                  </a:lnTo>
                  <a:lnTo>
                    <a:pt x="60" y="60"/>
                  </a:lnTo>
                  <a:lnTo>
                    <a:pt x="81" y="88"/>
                  </a:lnTo>
                  <a:lnTo>
                    <a:pt x="115" y="72"/>
                  </a:lnTo>
                  <a:lnTo>
                    <a:pt x="138" y="76"/>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95" name="Freeform 1762"/>
            <p:cNvSpPr>
              <a:spLocks/>
            </p:cNvSpPr>
            <p:nvPr/>
          </p:nvSpPr>
          <p:spPr bwMode="auto">
            <a:xfrm>
              <a:off x="3308350" y="2763916"/>
              <a:ext cx="90488" cy="104775"/>
            </a:xfrm>
            <a:custGeom>
              <a:avLst/>
              <a:gdLst>
                <a:gd name="T0" fmla="*/ 2147483647 w 57"/>
                <a:gd name="T1" fmla="*/ 2147483647 h 66"/>
                <a:gd name="T2" fmla="*/ 2147483647 w 57"/>
                <a:gd name="T3" fmla="*/ 2147483647 h 66"/>
                <a:gd name="T4" fmla="*/ 2147483647 w 57"/>
                <a:gd name="T5" fmla="*/ 0 h 66"/>
                <a:gd name="T6" fmla="*/ 0 w 57"/>
                <a:gd name="T7" fmla="*/ 2147483647 h 66"/>
                <a:gd name="T8" fmla="*/ 2147483647 w 57"/>
                <a:gd name="T9" fmla="*/ 2147483647 h 66"/>
                <a:gd name="T10" fmla="*/ 0 60000 65536"/>
                <a:gd name="T11" fmla="*/ 0 60000 65536"/>
                <a:gd name="T12" fmla="*/ 0 60000 65536"/>
                <a:gd name="T13" fmla="*/ 0 60000 65536"/>
                <a:gd name="T14" fmla="*/ 0 60000 65536"/>
                <a:gd name="T15" fmla="*/ 0 w 57"/>
                <a:gd name="T16" fmla="*/ 0 h 66"/>
                <a:gd name="T17" fmla="*/ 57 w 57"/>
                <a:gd name="T18" fmla="*/ 66 h 66"/>
              </a:gdLst>
              <a:ahLst/>
              <a:cxnLst>
                <a:cxn ang="T10">
                  <a:pos x="T0" y="T1"/>
                </a:cxn>
                <a:cxn ang="T11">
                  <a:pos x="T2" y="T3"/>
                </a:cxn>
                <a:cxn ang="T12">
                  <a:pos x="T4" y="T5"/>
                </a:cxn>
                <a:cxn ang="T13">
                  <a:pos x="T6" y="T7"/>
                </a:cxn>
                <a:cxn ang="T14">
                  <a:pos x="T8" y="T9"/>
                </a:cxn>
              </a:cxnLst>
              <a:rect l="T15" t="T16" r="T17" b="T18"/>
              <a:pathLst>
                <a:path w="57" h="66">
                  <a:moveTo>
                    <a:pt x="42" y="66"/>
                  </a:moveTo>
                  <a:lnTo>
                    <a:pt x="57" y="35"/>
                  </a:lnTo>
                  <a:lnTo>
                    <a:pt x="10" y="0"/>
                  </a:lnTo>
                  <a:lnTo>
                    <a:pt x="0" y="44"/>
                  </a:lnTo>
                  <a:lnTo>
                    <a:pt x="42" y="66"/>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96" name="Freeform 1763"/>
            <p:cNvSpPr>
              <a:spLocks/>
            </p:cNvSpPr>
            <p:nvPr/>
          </p:nvSpPr>
          <p:spPr bwMode="auto">
            <a:xfrm>
              <a:off x="3984625" y="3149678"/>
              <a:ext cx="34925" cy="36513"/>
            </a:xfrm>
            <a:custGeom>
              <a:avLst/>
              <a:gdLst>
                <a:gd name="T0" fmla="*/ 2147483647 w 22"/>
                <a:gd name="T1" fmla="*/ 2147483647 h 23"/>
                <a:gd name="T2" fmla="*/ 0 w 22"/>
                <a:gd name="T3" fmla="*/ 2147483647 h 23"/>
                <a:gd name="T4" fmla="*/ 2147483647 w 22"/>
                <a:gd name="T5" fmla="*/ 0 h 23"/>
                <a:gd name="T6" fmla="*/ 2147483647 w 22"/>
                <a:gd name="T7" fmla="*/ 2147483647 h 23"/>
                <a:gd name="T8" fmla="*/ 2147483647 w 22"/>
                <a:gd name="T9" fmla="*/ 2147483647 h 23"/>
                <a:gd name="T10" fmla="*/ 0 60000 65536"/>
                <a:gd name="T11" fmla="*/ 0 60000 65536"/>
                <a:gd name="T12" fmla="*/ 0 60000 65536"/>
                <a:gd name="T13" fmla="*/ 0 60000 65536"/>
                <a:gd name="T14" fmla="*/ 0 60000 65536"/>
                <a:gd name="T15" fmla="*/ 0 w 22"/>
                <a:gd name="T16" fmla="*/ 0 h 23"/>
                <a:gd name="T17" fmla="*/ 22 w 22"/>
                <a:gd name="T18" fmla="*/ 23 h 23"/>
              </a:gdLst>
              <a:ahLst/>
              <a:cxnLst>
                <a:cxn ang="T10">
                  <a:pos x="T0" y="T1"/>
                </a:cxn>
                <a:cxn ang="T11">
                  <a:pos x="T2" y="T3"/>
                </a:cxn>
                <a:cxn ang="T12">
                  <a:pos x="T4" y="T5"/>
                </a:cxn>
                <a:cxn ang="T13">
                  <a:pos x="T6" y="T7"/>
                </a:cxn>
                <a:cxn ang="T14">
                  <a:pos x="T8" y="T9"/>
                </a:cxn>
              </a:cxnLst>
              <a:rect l="T15" t="T16" r="T17" b="T18"/>
              <a:pathLst>
                <a:path w="22" h="23">
                  <a:moveTo>
                    <a:pt x="12" y="23"/>
                  </a:moveTo>
                  <a:lnTo>
                    <a:pt x="0" y="2"/>
                  </a:lnTo>
                  <a:lnTo>
                    <a:pt x="13" y="0"/>
                  </a:lnTo>
                  <a:lnTo>
                    <a:pt x="22" y="18"/>
                  </a:lnTo>
                  <a:lnTo>
                    <a:pt x="12" y="23"/>
                  </a:ln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97" name="Freeform 1764"/>
            <p:cNvSpPr>
              <a:spLocks/>
            </p:cNvSpPr>
            <p:nvPr/>
          </p:nvSpPr>
          <p:spPr bwMode="auto">
            <a:xfrm>
              <a:off x="4003675" y="3090941"/>
              <a:ext cx="69850" cy="57150"/>
            </a:xfrm>
            <a:custGeom>
              <a:avLst/>
              <a:gdLst>
                <a:gd name="T0" fmla="*/ 2147483647 w 44"/>
                <a:gd name="T1" fmla="*/ 2147483647 h 36"/>
                <a:gd name="T2" fmla="*/ 2147483647 w 44"/>
                <a:gd name="T3" fmla="*/ 2147483647 h 36"/>
                <a:gd name="T4" fmla="*/ 2147483647 w 44"/>
                <a:gd name="T5" fmla="*/ 0 h 36"/>
                <a:gd name="T6" fmla="*/ 2147483647 w 44"/>
                <a:gd name="T7" fmla="*/ 2147483647 h 36"/>
                <a:gd name="T8" fmla="*/ 0 w 44"/>
                <a:gd name="T9" fmla="*/ 2147483647 h 36"/>
                <a:gd name="T10" fmla="*/ 2147483647 w 44"/>
                <a:gd name="T11" fmla="*/ 2147483647 h 36"/>
                <a:gd name="T12" fmla="*/ 2147483647 w 44"/>
                <a:gd name="T13" fmla="*/ 2147483647 h 36"/>
                <a:gd name="T14" fmla="*/ 2147483647 w 44"/>
                <a:gd name="T15" fmla="*/ 2147483647 h 36"/>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36"/>
                <a:gd name="T26" fmla="*/ 44 w 44"/>
                <a:gd name="T27" fmla="*/ 36 h 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36">
                  <a:moveTo>
                    <a:pt x="40" y="27"/>
                  </a:moveTo>
                  <a:cubicBezTo>
                    <a:pt x="43" y="22"/>
                    <a:pt x="44" y="10"/>
                    <a:pt x="42" y="6"/>
                  </a:cubicBezTo>
                  <a:cubicBezTo>
                    <a:pt x="40" y="2"/>
                    <a:pt x="35" y="0"/>
                    <a:pt x="30" y="0"/>
                  </a:cubicBezTo>
                  <a:cubicBezTo>
                    <a:pt x="25" y="0"/>
                    <a:pt x="15" y="2"/>
                    <a:pt x="10" y="4"/>
                  </a:cubicBezTo>
                  <a:cubicBezTo>
                    <a:pt x="5" y="6"/>
                    <a:pt x="0" y="11"/>
                    <a:pt x="0" y="15"/>
                  </a:cubicBezTo>
                  <a:cubicBezTo>
                    <a:pt x="0" y="19"/>
                    <a:pt x="4" y="25"/>
                    <a:pt x="7" y="28"/>
                  </a:cubicBezTo>
                  <a:cubicBezTo>
                    <a:pt x="10" y="31"/>
                    <a:pt x="15" y="36"/>
                    <a:pt x="21" y="36"/>
                  </a:cubicBezTo>
                  <a:cubicBezTo>
                    <a:pt x="27" y="36"/>
                    <a:pt x="37" y="32"/>
                    <a:pt x="40" y="27"/>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598" name="Freeform 1765"/>
            <p:cNvSpPr>
              <a:spLocks/>
            </p:cNvSpPr>
            <p:nvPr/>
          </p:nvSpPr>
          <p:spPr bwMode="auto">
            <a:xfrm>
              <a:off x="4135438" y="2570241"/>
              <a:ext cx="68263" cy="44450"/>
            </a:xfrm>
            <a:custGeom>
              <a:avLst/>
              <a:gdLst>
                <a:gd name="T0" fmla="*/ 2147483647 w 43"/>
                <a:gd name="T1" fmla="*/ 2147483647 h 28"/>
                <a:gd name="T2" fmla="*/ 2147483647 w 43"/>
                <a:gd name="T3" fmla="*/ 2147483647 h 28"/>
                <a:gd name="T4" fmla="*/ 2147483647 w 43"/>
                <a:gd name="T5" fmla="*/ 2147483647 h 28"/>
                <a:gd name="T6" fmla="*/ 2147483647 w 43"/>
                <a:gd name="T7" fmla="*/ 2147483647 h 28"/>
                <a:gd name="T8" fmla="*/ 0 60000 65536"/>
                <a:gd name="T9" fmla="*/ 0 60000 65536"/>
                <a:gd name="T10" fmla="*/ 0 60000 65536"/>
                <a:gd name="T11" fmla="*/ 0 60000 65536"/>
                <a:gd name="T12" fmla="*/ 0 w 43"/>
                <a:gd name="T13" fmla="*/ 0 h 28"/>
                <a:gd name="T14" fmla="*/ 43 w 43"/>
                <a:gd name="T15" fmla="*/ 28 h 28"/>
              </a:gdLst>
              <a:ahLst/>
              <a:cxnLst>
                <a:cxn ang="T8">
                  <a:pos x="T0" y="T1"/>
                </a:cxn>
                <a:cxn ang="T9">
                  <a:pos x="T2" y="T3"/>
                </a:cxn>
                <a:cxn ang="T10">
                  <a:pos x="T4" y="T5"/>
                </a:cxn>
                <a:cxn ang="T11">
                  <a:pos x="T6" y="T7"/>
                </a:cxn>
              </a:cxnLst>
              <a:rect l="T12" t="T13" r="T14" b="T15"/>
              <a:pathLst>
                <a:path w="43" h="28">
                  <a:moveTo>
                    <a:pt x="38" y="28"/>
                  </a:moveTo>
                  <a:cubicBezTo>
                    <a:pt x="33" y="28"/>
                    <a:pt x="2" y="8"/>
                    <a:pt x="1" y="4"/>
                  </a:cubicBezTo>
                  <a:cubicBezTo>
                    <a:pt x="0" y="0"/>
                    <a:pt x="22" y="1"/>
                    <a:pt x="29" y="4"/>
                  </a:cubicBezTo>
                  <a:cubicBezTo>
                    <a:pt x="36" y="7"/>
                    <a:pt x="43" y="28"/>
                    <a:pt x="38" y="28"/>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599" name="Freeform 1766"/>
            <p:cNvSpPr>
              <a:spLocks/>
            </p:cNvSpPr>
            <p:nvPr/>
          </p:nvSpPr>
          <p:spPr bwMode="auto">
            <a:xfrm>
              <a:off x="3309938" y="2933778"/>
              <a:ext cx="1271588" cy="1849438"/>
            </a:xfrm>
            <a:custGeom>
              <a:avLst/>
              <a:gdLst>
                <a:gd name="T0" fmla="*/ 0 w 801"/>
                <a:gd name="T1" fmla="*/ 2147483647 h 1165"/>
                <a:gd name="T2" fmla="*/ 2147483647 w 801"/>
                <a:gd name="T3" fmla="*/ 2147483647 h 1165"/>
                <a:gd name="T4" fmla="*/ 2147483647 w 801"/>
                <a:gd name="T5" fmla="*/ 2147483647 h 1165"/>
                <a:gd name="T6" fmla="*/ 2147483647 w 801"/>
                <a:gd name="T7" fmla="*/ 2147483647 h 1165"/>
                <a:gd name="T8" fmla="*/ 2147483647 w 801"/>
                <a:gd name="T9" fmla="*/ 2147483647 h 1165"/>
                <a:gd name="T10" fmla="*/ 2147483647 w 801"/>
                <a:gd name="T11" fmla="*/ 2147483647 h 1165"/>
                <a:gd name="T12" fmla="*/ 2147483647 w 801"/>
                <a:gd name="T13" fmla="*/ 2147483647 h 1165"/>
                <a:gd name="T14" fmla="*/ 2147483647 w 801"/>
                <a:gd name="T15" fmla="*/ 2147483647 h 1165"/>
                <a:gd name="T16" fmla="*/ 2147483647 w 801"/>
                <a:gd name="T17" fmla="*/ 2147483647 h 1165"/>
                <a:gd name="T18" fmla="*/ 2147483647 w 801"/>
                <a:gd name="T19" fmla="*/ 2147483647 h 1165"/>
                <a:gd name="T20" fmla="*/ 2147483647 w 801"/>
                <a:gd name="T21" fmla="*/ 2147483647 h 1165"/>
                <a:gd name="T22" fmla="*/ 2147483647 w 801"/>
                <a:gd name="T23" fmla="*/ 2147483647 h 1165"/>
                <a:gd name="T24" fmla="*/ 2147483647 w 801"/>
                <a:gd name="T25" fmla="*/ 2147483647 h 1165"/>
                <a:gd name="T26" fmla="*/ 2147483647 w 801"/>
                <a:gd name="T27" fmla="*/ 2147483647 h 1165"/>
                <a:gd name="T28" fmla="*/ 2147483647 w 801"/>
                <a:gd name="T29" fmla="*/ 2147483647 h 1165"/>
                <a:gd name="T30" fmla="*/ 2147483647 w 801"/>
                <a:gd name="T31" fmla="*/ 2147483647 h 1165"/>
                <a:gd name="T32" fmla="*/ 2147483647 w 801"/>
                <a:gd name="T33" fmla="*/ 2147483647 h 1165"/>
                <a:gd name="T34" fmla="*/ 2147483647 w 801"/>
                <a:gd name="T35" fmla="*/ 2147483647 h 1165"/>
                <a:gd name="T36" fmla="*/ 2147483647 w 801"/>
                <a:gd name="T37" fmla="*/ 2147483647 h 1165"/>
                <a:gd name="T38" fmla="*/ 2147483647 w 801"/>
                <a:gd name="T39" fmla="*/ 2147483647 h 1165"/>
                <a:gd name="T40" fmla="*/ 2147483647 w 801"/>
                <a:gd name="T41" fmla="*/ 2147483647 h 1165"/>
                <a:gd name="T42" fmla="*/ 2147483647 w 801"/>
                <a:gd name="T43" fmla="*/ 2147483647 h 1165"/>
                <a:gd name="T44" fmla="*/ 2147483647 w 801"/>
                <a:gd name="T45" fmla="*/ 2147483647 h 1165"/>
                <a:gd name="T46" fmla="*/ 2147483647 w 801"/>
                <a:gd name="T47" fmla="*/ 2147483647 h 1165"/>
                <a:gd name="T48" fmla="*/ 2147483647 w 801"/>
                <a:gd name="T49" fmla="*/ 2147483647 h 1165"/>
                <a:gd name="T50" fmla="*/ 2147483647 w 801"/>
                <a:gd name="T51" fmla="*/ 2147483647 h 1165"/>
                <a:gd name="T52" fmla="*/ 2147483647 w 801"/>
                <a:gd name="T53" fmla="*/ 2147483647 h 1165"/>
                <a:gd name="T54" fmla="*/ 2147483647 w 801"/>
                <a:gd name="T55" fmla="*/ 2147483647 h 1165"/>
                <a:gd name="T56" fmla="*/ 2147483647 w 801"/>
                <a:gd name="T57" fmla="*/ 0 h 116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1"/>
                <a:gd name="T88" fmla="*/ 0 h 1165"/>
                <a:gd name="T89" fmla="*/ 801 w 801"/>
                <a:gd name="T90" fmla="*/ 1165 h 116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1" h="1165">
                  <a:moveTo>
                    <a:pt x="0" y="1165"/>
                  </a:moveTo>
                  <a:cubicBezTo>
                    <a:pt x="21" y="1153"/>
                    <a:pt x="69" y="1123"/>
                    <a:pt x="123" y="1094"/>
                  </a:cubicBezTo>
                  <a:cubicBezTo>
                    <a:pt x="177" y="1065"/>
                    <a:pt x="284" y="1015"/>
                    <a:pt x="325" y="992"/>
                  </a:cubicBezTo>
                  <a:cubicBezTo>
                    <a:pt x="366" y="969"/>
                    <a:pt x="356" y="966"/>
                    <a:pt x="370" y="956"/>
                  </a:cubicBezTo>
                  <a:cubicBezTo>
                    <a:pt x="384" y="946"/>
                    <a:pt x="394" y="942"/>
                    <a:pt x="411" y="932"/>
                  </a:cubicBezTo>
                  <a:cubicBezTo>
                    <a:pt x="428" y="922"/>
                    <a:pt x="453" y="908"/>
                    <a:pt x="469" y="899"/>
                  </a:cubicBezTo>
                  <a:cubicBezTo>
                    <a:pt x="485" y="890"/>
                    <a:pt x="497" y="888"/>
                    <a:pt x="508" y="878"/>
                  </a:cubicBezTo>
                  <a:cubicBezTo>
                    <a:pt x="519" y="868"/>
                    <a:pt x="530" y="856"/>
                    <a:pt x="537" y="837"/>
                  </a:cubicBezTo>
                  <a:cubicBezTo>
                    <a:pt x="544" y="818"/>
                    <a:pt x="548" y="794"/>
                    <a:pt x="549" y="766"/>
                  </a:cubicBezTo>
                  <a:lnTo>
                    <a:pt x="546" y="671"/>
                  </a:lnTo>
                  <a:lnTo>
                    <a:pt x="537" y="594"/>
                  </a:lnTo>
                  <a:cubicBezTo>
                    <a:pt x="535" y="577"/>
                    <a:pt x="535" y="577"/>
                    <a:pt x="533" y="568"/>
                  </a:cubicBezTo>
                  <a:cubicBezTo>
                    <a:pt x="531" y="559"/>
                    <a:pt x="529" y="548"/>
                    <a:pt x="527" y="540"/>
                  </a:cubicBezTo>
                  <a:cubicBezTo>
                    <a:pt x="525" y="532"/>
                    <a:pt x="520" y="527"/>
                    <a:pt x="518" y="519"/>
                  </a:cubicBezTo>
                  <a:cubicBezTo>
                    <a:pt x="516" y="511"/>
                    <a:pt x="513" y="503"/>
                    <a:pt x="515" y="490"/>
                  </a:cubicBezTo>
                  <a:cubicBezTo>
                    <a:pt x="517" y="477"/>
                    <a:pt x="515" y="462"/>
                    <a:pt x="527" y="439"/>
                  </a:cubicBezTo>
                  <a:cubicBezTo>
                    <a:pt x="539" y="416"/>
                    <a:pt x="569" y="374"/>
                    <a:pt x="589" y="353"/>
                  </a:cubicBezTo>
                  <a:cubicBezTo>
                    <a:pt x="609" y="332"/>
                    <a:pt x="632" y="325"/>
                    <a:pt x="647" y="314"/>
                  </a:cubicBezTo>
                  <a:cubicBezTo>
                    <a:pt x="662" y="303"/>
                    <a:pt x="665" y="294"/>
                    <a:pt x="678" y="285"/>
                  </a:cubicBezTo>
                  <a:cubicBezTo>
                    <a:pt x="691" y="276"/>
                    <a:pt x="707" y="265"/>
                    <a:pt x="724" y="257"/>
                  </a:cubicBezTo>
                  <a:cubicBezTo>
                    <a:pt x="741" y="249"/>
                    <a:pt x="766" y="243"/>
                    <a:pt x="778" y="236"/>
                  </a:cubicBezTo>
                  <a:cubicBezTo>
                    <a:pt x="790" y="229"/>
                    <a:pt x="795" y="226"/>
                    <a:pt x="798" y="217"/>
                  </a:cubicBezTo>
                  <a:cubicBezTo>
                    <a:pt x="801" y="208"/>
                    <a:pt x="801" y="197"/>
                    <a:pt x="796" y="184"/>
                  </a:cubicBezTo>
                  <a:cubicBezTo>
                    <a:pt x="791" y="171"/>
                    <a:pt x="780" y="154"/>
                    <a:pt x="770" y="137"/>
                  </a:cubicBezTo>
                  <a:cubicBezTo>
                    <a:pt x="760" y="120"/>
                    <a:pt x="746" y="97"/>
                    <a:pt x="739" y="84"/>
                  </a:cubicBezTo>
                  <a:cubicBezTo>
                    <a:pt x="732" y="71"/>
                    <a:pt x="726" y="67"/>
                    <a:pt x="726" y="60"/>
                  </a:cubicBezTo>
                  <a:cubicBezTo>
                    <a:pt x="726" y="53"/>
                    <a:pt x="731" y="49"/>
                    <a:pt x="739" y="43"/>
                  </a:cubicBezTo>
                  <a:cubicBezTo>
                    <a:pt x="747" y="37"/>
                    <a:pt x="768" y="30"/>
                    <a:pt x="774" y="23"/>
                  </a:cubicBezTo>
                  <a:cubicBezTo>
                    <a:pt x="780" y="16"/>
                    <a:pt x="777" y="8"/>
                    <a:pt x="775" y="0"/>
                  </a:cubicBezTo>
                </a:path>
              </a:pathLst>
            </a:custGeom>
            <a:noFill/>
            <a:ln w="9525" cap="flat"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00" name="Freeform 1767"/>
            <p:cNvSpPr>
              <a:spLocks/>
            </p:cNvSpPr>
            <p:nvPr/>
          </p:nvSpPr>
          <p:spPr bwMode="auto">
            <a:xfrm>
              <a:off x="4494213" y="2967116"/>
              <a:ext cx="314325" cy="320675"/>
            </a:xfrm>
            <a:custGeom>
              <a:avLst/>
              <a:gdLst>
                <a:gd name="T0" fmla="*/ 2147483647 w 198"/>
                <a:gd name="T1" fmla="*/ 2147483647 h 202"/>
                <a:gd name="T2" fmla="*/ 2147483647 w 198"/>
                <a:gd name="T3" fmla="*/ 2147483647 h 202"/>
                <a:gd name="T4" fmla="*/ 2147483647 w 198"/>
                <a:gd name="T5" fmla="*/ 2147483647 h 202"/>
                <a:gd name="T6" fmla="*/ 0 w 198"/>
                <a:gd name="T7" fmla="*/ 2147483647 h 202"/>
                <a:gd name="T8" fmla="*/ 2147483647 w 198"/>
                <a:gd name="T9" fmla="*/ 0 h 202"/>
                <a:gd name="T10" fmla="*/ 2147483647 w 198"/>
                <a:gd name="T11" fmla="*/ 2147483647 h 202"/>
                <a:gd name="T12" fmla="*/ 2147483647 w 198"/>
                <a:gd name="T13" fmla="*/ 2147483647 h 202"/>
                <a:gd name="T14" fmla="*/ 2147483647 w 198"/>
                <a:gd name="T15" fmla="*/ 2147483647 h 202"/>
                <a:gd name="T16" fmla="*/ 2147483647 w 198"/>
                <a:gd name="T17" fmla="*/ 2147483647 h 202"/>
                <a:gd name="T18" fmla="*/ 2147483647 w 198"/>
                <a:gd name="T19" fmla="*/ 2147483647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8"/>
                <a:gd name="T31" fmla="*/ 0 h 202"/>
                <a:gd name="T32" fmla="*/ 198 w 198"/>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8" h="202">
                  <a:moveTo>
                    <a:pt x="144" y="202"/>
                  </a:moveTo>
                  <a:lnTo>
                    <a:pt x="82" y="189"/>
                  </a:lnTo>
                  <a:lnTo>
                    <a:pt x="46" y="126"/>
                  </a:lnTo>
                  <a:lnTo>
                    <a:pt x="0" y="33"/>
                  </a:lnTo>
                  <a:lnTo>
                    <a:pt x="52" y="0"/>
                  </a:lnTo>
                  <a:lnTo>
                    <a:pt x="148" y="70"/>
                  </a:lnTo>
                  <a:lnTo>
                    <a:pt x="172" y="85"/>
                  </a:lnTo>
                  <a:lnTo>
                    <a:pt x="198" y="147"/>
                  </a:lnTo>
                  <a:lnTo>
                    <a:pt x="178" y="147"/>
                  </a:lnTo>
                  <a:lnTo>
                    <a:pt x="144" y="20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01" name="Freeform 1768"/>
            <p:cNvSpPr>
              <a:spLocks/>
            </p:cNvSpPr>
            <p:nvPr/>
          </p:nvSpPr>
          <p:spPr bwMode="auto">
            <a:xfrm>
              <a:off x="3128963" y="1468516"/>
              <a:ext cx="195263" cy="100013"/>
            </a:xfrm>
            <a:custGeom>
              <a:avLst/>
              <a:gdLst>
                <a:gd name="T0" fmla="*/ 2147483647 w 123"/>
                <a:gd name="T1" fmla="*/ 2147483647 h 63"/>
                <a:gd name="T2" fmla="*/ 2147483647 w 123"/>
                <a:gd name="T3" fmla="*/ 2147483647 h 63"/>
                <a:gd name="T4" fmla="*/ 0 w 123"/>
                <a:gd name="T5" fmla="*/ 2147483647 h 63"/>
                <a:gd name="T6" fmla="*/ 2147483647 w 123"/>
                <a:gd name="T7" fmla="*/ 0 h 63"/>
                <a:gd name="T8" fmla="*/ 2147483647 w 123"/>
                <a:gd name="T9" fmla="*/ 2147483647 h 63"/>
                <a:gd name="T10" fmla="*/ 2147483647 w 123"/>
                <a:gd name="T11" fmla="*/ 2147483647 h 63"/>
                <a:gd name="T12" fmla="*/ 2147483647 w 123"/>
                <a:gd name="T13" fmla="*/ 2147483647 h 63"/>
                <a:gd name="T14" fmla="*/ 2147483647 w 123"/>
                <a:gd name="T15" fmla="*/ 2147483647 h 63"/>
                <a:gd name="T16" fmla="*/ 2147483647 w 123"/>
                <a:gd name="T17" fmla="*/ 2147483647 h 63"/>
                <a:gd name="T18" fmla="*/ 2147483647 w 123"/>
                <a:gd name="T19" fmla="*/ 2147483647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3"/>
                <a:gd name="T31" fmla="*/ 0 h 63"/>
                <a:gd name="T32" fmla="*/ 123 w 123"/>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3" h="63">
                  <a:moveTo>
                    <a:pt x="123" y="63"/>
                  </a:moveTo>
                  <a:lnTo>
                    <a:pt x="11" y="63"/>
                  </a:lnTo>
                  <a:lnTo>
                    <a:pt x="0" y="38"/>
                  </a:lnTo>
                  <a:lnTo>
                    <a:pt x="26" y="0"/>
                  </a:lnTo>
                  <a:lnTo>
                    <a:pt x="60" y="14"/>
                  </a:lnTo>
                  <a:lnTo>
                    <a:pt x="87" y="2"/>
                  </a:lnTo>
                  <a:lnTo>
                    <a:pt x="102" y="15"/>
                  </a:lnTo>
                  <a:lnTo>
                    <a:pt x="89" y="30"/>
                  </a:lnTo>
                  <a:lnTo>
                    <a:pt x="123" y="47"/>
                  </a:lnTo>
                  <a:lnTo>
                    <a:pt x="123" y="63"/>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02" name="Freeform 1769"/>
            <p:cNvSpPr>
              <a:spLocks/>
            </p:cNvSpPr>
            <p:nvPr/>
          </p:nvSpPr>
          <p:spPr bwMode="auto">
            <a:xfrm>
              <a:off x="3203575" y="1401841"/>
              <a:ext cx="149225" cy="69850"/>
            </a:xfrm>
            <a:custGeom>
              <a:avLst/>
              <a:gdLst>
                <a:gd name="T0" fmla="*/ 0 w 94"/>
                <a:gd name="T1" fmla="*/ 2147483647 h 44"/>
                <a:gd name="T2" fmla="*/ 2147483647 w 94"/>
                <a:gd name="T3" fmla="*/ 0 h 44"/>
                <a:gd name="T4" fmla="*/ 2147483647 w 94"/>
                <a:gd name="T5" fmla="*/ 2147483647 h 44"/>
                <a:gd name="T6" fmla="*/ 2147483647 w 94"/>
                <a:gd name="T7" fmla="*/ 2147483647 h 44"/>
                <a:gd name="T8" fmla="*/ 2147483647 w 94"/>
                <a:gd name="T9" fmla="*/ 2147483647 h 44"/>
                <a:gd name="T10" fmla="*/ 2147483647 w 94"/>
                <a:gd name="T11" fmla="*/ 2147483647 h 44"/>
                <a:gd name="T12" fmla="*/ 0 w 94"/>
                <a:gd name="T13" fmla="*/ 2147483647 h 44"/>
                <a:gd name="T14" fmla="*/ 0 60000 65536"/>
                <a:gd name="T15" fmla="*/ 0 60000 65536"/>
                <a:gd name="T16" fmla="*/ 0 60000 65536"/>
                <a:gd name="T17" fmla="*/ 0 60000 65536"/>
                <a:gd name="T18" fmla="*/ 0 60000 65536"/>
                <a:gd name="T19" fmla="*/ 0 60000 65536"/>
                <a:gd name="T20" fmla="*/ 0 60000 65536"/>
                <a:gd name="T21" fmla="*/ 0 w 94"/>
                <a:gd name="T22" fmla="*/ 0 h 44"/>
                <a:gd name="T23" fmla="*/ 94 w 94"/>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 h="44">
                  <a:moveTo>
                    <a:pt x="0" y="9"/>
                  </a:moveTo>
                  <a:lnTo>
                    <a:pt x="67" y="0"/>
                  </a:lnTo>
                  <a:lnTo>
                    <a:pt x="76" y="11"/>
                  </a:lnTo>
                  <a:lnTo>
                    <a:pt x="94" y="11"/>
                  </a:lnTo>
                  <a:lnTo>
                    <a:pt x="93" y="27"/>
                  </a:lnTo>
                  <a:lnTo>
                    <a:pt x="4" y="44"/>
                  </a:lnTo>
                  <a:lnTo>
                    <a:pt x="0" y="9"/>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03" name="Freeform 1770"/>
            <p:cNvSpPr>
              <a:spLocks/>
            </p:cNvSpPr>
            <p:nvPr/>
          </p:nvSpPr>
          <p:spPr bwMode="auto">
            <a:xfrm>
              <a:off x="1295400" y="1065521"/>
              <a:ext cx="2606675" cy="1993670"/>
            </a:xfrm>
            <a:custGeom>
              <a:avLst/>
              <a:gdLst>
                <a:gd name="T0" fmla="*/ 0 w 10000"/>
                <a:gd name="T1" fmla="*/ 2147483647 h 10589"/>
                <a:gd name="T2" fmla="*/ 2147483647 w 10000"/>
                <a:gd name="T3" fmla="*/ 2147483647 h 10589"/>
                <a:gd name="T4" fmla="*/ 2147483647 w 10000"/>
                <a:gd name="T5" fmla="*/ 2147483647 h 10589"/>
                <a:gd name="T6" fmla="*/ 2147483647 w 10000"/>
                <a:gd name="T7" fmla="*/ 2147483647 h 10589"/>
                <a:gd name="T8" fmla="*/ 2147483647 w 10000"/>
                <a:gd name="T9" fmla="*/ 2147483647 h 10589"/>
                <a:gd name="T10" fmla="*/ 2147483647 w 10000"/>
                <a:gd name="T11" fmla="*/ 2147483647 h 10589"/>
                <a:gd name="T12" fmla="*/ 2147483647 w 10000"/>
                <a:gd name="T13" fmla="*/ 2147483647 h 10589"/>
                <a:gd name="T14" fmla="*/ 2147483647 w 10000"/>
                <a:gd name="T15" fmla="*/ 2147483647 h 10589"/>
                <a:gd name="T16" fmla="*/ 2147483647 w 10000"/>
                <a:gd name="T17" fmla="*/ 2147483647 h 10589"/>
                <a:gd name="T18" fmla="*/ 2147483647 w 10000"/>
                <a:gd name="T19" fmla="*/ 2147483647 h 10589"/>
                <a:gd name="T20" fmla="*/ 2147483647 w 10000"/>
                <a:gd name="T21" fmla="*/ 2147483647 h 10589"/>
                <a:gd name="T22" fmla="*/ 2147483647 w 10000"/>
                <a:gd name="T23" fmla="*/ 2147483647 h 10589"/>
                <a:gd name="T24" fmla="*/ 2147483647 w 10000"/>
                <a:gd name="T25" fmla="*/ 2147483647 h 10589"/>
                <a:gd name="T26" fmla="*/ 2147483647 w 10000"/>
                <a:gd name="T27" fmla="*/ 2147483647 h 10589"/>
                <a:gd name="T28" fmla="*/ 2147483647 w 10000"/>
                <a:gd name="T29" fmla="*/ 2147483647 h 10589"/>
                <a:gd name="T30" fmla="*/ 2147483647 w 10000"/>
                <a:gd name="T31" fmla="*/ 2147483647 h 10589"/>
                <a:gd name="T32" fmla="*/ 2147483647 w 10000"/>
                <a:gd name="T33" fmla="*/ 2147483647 h 10589"/>
                <a:gd name="T34" fmla="*/ 2147483647 w 10000"/>
                <a:gd name="T35" fmla="*/ 2147483647 h 10589"/>
                <a:gd name="T36" fmla="*/ 2147483647 w 10000"/>
                <a:gd name="T37" fmla="*/ 2147483647 h 10589"/>
                <a:gd name="T38" fmla="*/ 2147483647 w 10000"/>
                <a:gd name="T39" fmla="*/ 2147483647 h 10589"/>
                <a:gd name="T40" fmla="*/ 2147483647 w 10000"/>
                <a:gd name="T41" fmla="*/ 2147483647 h 10589"/>
                <a:gd name="T42" fmla="*/ 2147483647 w 10000"/>
                <a:gd name="T43" fmla="*/ 2147483647 h 10589"/>
                <a:gd name="T44" fmla="*/ 2147483647 w 10000"/>
                <a:gd name="T45" fmla="*/ 2147483647 h 10589"/>
                <a:gd name="T46" fmla="*/ 2147483647 w 10000"/>
                <a:gd name="T47" fmla="*/ 2147483647 h 10589"/>
                <a:gd name="T48" fmla="*/ 2147483647 w 10000"/>
                <a:gd name="T49" fmla="*/ 2147483647 h 10589"/>
                <a:gd name="T50" fmla="*/ 2147483647 w 10000"/>
                <a:gd name="T51" fmla="*/ 2147483647 h 10589"/>
                <a:gd name="T52" fmla="*/ 2147483647 w 10000"/>
                <a:gd name="T53" fmla="*/ 2147483647 h 10589"/>
                <a:gd name="T54" fmla="*/ 2147483647 w 10000"/>
                <a:gd name="T55" fmla="*/ 2147483647 h 10589"/>
                <a:gd name="T56" fmla="*/ 2147483647 w 10000"/>
                <a:gd name="T57" fmla="*/ 2147483647 h 10589"/>
                <a:gd name="T58" fmla="*/ 2147483647 w 10000"/>
                <a:gd name="T59" fmla="*/ 2147483647 h 10589"/>
                <a:gd name="T60" fmla="*/ 2147483647 w 10000"/>
                <a:gd name="T61" fmla="*/ 2147483647 h 10589"/>
                <a:gd name="T62" fmla="*/ 2147483647 w 10000"/>
                <a:gd name="T63" fmla="*/ 2147483647 h 10589"/>
                <a:gd name="T64" fmla="*/ 2147483647 w 10000"/>
                <a:gd name="T65" fmla="*/ 2147483647 h 10589"/>
                <a:gd name="T66" fmla="*/ 2147483647 w 10000"/>
                <a:gd name="T67" fmla="*/ 2147483647 h 10589"/>
                <a:gd name="T68" fmla="*/ 2147483647 w 10000"/>
                <a:gd name="T69" fmla="*/ 2147483647 h 10589"/>
                <a:gd name="T70" fmla="*/ 2147483647 w 10000"/>
                <a:gd name="T71" fmla="*/ 2147483647 h 10589"/>
                <a:gd name="T72" fmla="*/ 2147483647 w 10000"/>
                <a:gd name="T73" fmla="*/ 2147483647 h 10589"/>
                <a:gd name="T74" fmla="*/ 2147483647 w 10000"/>
                <a:gd name="T75" fmla="*/ 2147483647 h 10589"/>
                <a:gd name="T76" fmla="*/ 2147483647 w 10000"/>
                <a:gd name="T77" fmla="*/ 2147483647 h 10589"/>
                <a:gd name="T78" fmla="*/ 2147483647 w 10000"/>
                <a:gd name="T79" fmla="*/ 2147483647 h 10589"/>
                <a:gd name="T80" fmla="*/ 2147483647 w 10000"/>
                <a:gd name="T81" fmla="*/ 2147483647 h 10589"/>
                <a:gd name="T82" fmla="*/ 2147483647 w 10000"/>
                <a:gd name="T83" fmla="*/ 2147483647 h 10589"/>
                <a:gd name="T84" fmla="*/ 2147483647 w 10000"/>
                <a:gd name="T85" fmla="*/ 2147483647 h 10589"/>
                <a:gd name="T86" fmla="*/ 2147483647 w 10000"/>
                <a:gd name="T87" fmla="*/ 2147483647 h 10589"/>
                <a:gd name="T88" fmla="*/ 2147483647 w 10000"/>
                <a:gd name="T89" fmla="*/ 2147483647 h 10589"/>
                <a:gd name="T90" fmla="*/ 2147483647 w 10000"/>
                <a:gd name="T91" fmla="*/ 2147483647 h 10589"/>
                <a:gd name="T92" fmla="*/ 2147483647 w 10000"/>
                <a:gd name="T93" fmla="*/ 2147483647 h 10589"/>
                <a:gd name="T94" fmla="*/ 2147483647 w 10000"/>
                <a:gd name="T95" fmla="*/ 2147483647 h 10589"/>
                <a:gd name="T96" fmla="*/ 2147483647 w 10000"/>
                <a:gd name="T97" fmla="*/ 2147483647 h 10589"/>
                <a:gd name="T98" fmla="*/ 2147483647 w 10000"/>
                <a:gd name="T99" fmla="*/ 2147483647 h 10589"/>
                <a:gd name="T100" fmla="*/ 2147483647 w 10000"/>
                <a:gd name="T101" fmla="*/ 2147483647 h 10589"/>
                <a:gd name="T102" fmla="*/ 2147483647 w 10000"/>
                <a:gd name="T103" fmla="*/ 2147483647 h 10589"/>
                <a:gd name="T104" fmla="*/ 2147483647 w 10000"/>
                <a:gd name="T105" fmla="*/ 2147483647 h 10589"/>
                <a:gd name="T106" fmla="*/ 2147483647 w 10000"/>
                <a:gd name="T107" fmla="*/ 2147483647 h 10589"/>
                <a:gd name="T108" fmla="*/ 2147483647 w 10000"/>
                <a:gd name="T109" fmla="*/ 2147483647 h 10589"/>
                <a:gd name="T110" fmla="*/ 2147483647 w 10000"/>
                <a:gd name="T111" fmla="*/ 2147483647 h 10589"/>
                <a:gd name="T112" fmla="*/ 2147483647 w 10000"/>
                <a:gd name="T113" fmla="*/ 2147483647 h 10589"/>
                <a:gd name="T114" fmla="*/ 2147483647 w 10000"/>
                <a:gd name="T115" fmla="*/ 0 h 10589"/>
                <a:gd name="T116" fmla="*/ 2147483647 w 10000"/>
                <a:gd name="T117" fmla="*/ 2147483647 h 105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0000" h="10589">
                  <a:moveTo>
                    <a:pt x="0" y="589"/>
                  </a:moveTo>
                  <a:cubicBezTo>
                    <a:pt x="37" y="673"/>
                    <a:pt x="79" y="758"/>
                    <a:pt x="122" y="876"/>
                  </a:cubicBezTo>
                  <a:cubicBezTo>
                    <a:pt x="164" y="994"/>
                    <a:pt x="244" y="1154"/>
                    <a:pt x="268" y="1280"/>
                  </a:cubicBezTo>
                  <a:cubicBezTo>
                    <a:pt x="292" y="1407"/>
                    <a:pt x="262" y="1533"/>
                    <a:pt x="268" y="1651"/>
                  </a:cubicBezTo>
                  <a:cubicBezTo>
                    <a:pt x="274" y="1769"/>
                    <a:pt x="286" y="1845"/>
                    <a:pt x="317" y="1989"/>
                  </a:cubicBezTo>
                  <a:cubicBezTo>
                    <a:pt x="347" y="2132"/>
                    <a:pt x="402" y="2334"/>
                    <a:pt x="451" y="2495"/>
                  </a:cubicBezTo>
                  <a:cubicBezTo>
                    <a:pt x="499" y="2655"/>
                    <a:pt x="566" y="2764"/>
                    <a:pt x="609" y="2933"/>
                  </a:cubicBezTo>
                  <a:cubicBezTo>
                    <a:pt x="652" y="3102"/>
                    <a:pt x="615" y="3279"/>
                    <a:pt x="694" y="3506"/>
                  </a:cubicBezTo>
                  <a:cubicBezTo>
                    <a:pt x="773" y="3734"/>
                    <a:pt x="938" y="4063"/>
                    <a:pt x="1084" y="4282"/>
                  </a:cubicBezTo>
                  <a:cubicBezTo>
                    <a:pt x="1230" y="4501"/>
                    <a:pt x="1431" y="4678"/>
                    <a:pt x="1559" y="4822"/>
                  </a:cubicBezTo>
                  <a:cubicBezTo>
                    <a:pt x="1687" y="4965"/>
                    <a:pt x="1724" y="5041"/>
                    <a:pt x="1839" y="5125"/>
                  </a:cubicBezTo>
                  <a:cubicBezTo>
                    <a:pt x="1955" y="5210"/>
                    <a:pt x="2144" y="5235"/>
                    <a:pt x="2241" y="5311"/>
                  </a:cubicBezTo>
                  <a:cubicBezTo>
                    <a:pt x="2339" y="5387"/>
                    <a:pt x="2357" y="5488"/>
                    <a:pt x="2424" y="5581"/>
                  </a:cubicBezTo>
                  <a:cubicBezTo>
                    <a:pt x="2491" y="5673"/>
                    <a:pt x="2552" y="5808"/>
                    <a:pt x="2631" y="5867"/>
                  </a:cubicBezTo>
                  <a:cubicBezTo>
                    <a:pt x="2710" y="5926"/>
                    <a:pt x="2783" y="5884"/>
                    <a:pt x="2899" y="5918"/>
                  </a:cubicBezTo>
                  <a:cubicBezTo>
                    <a:pt x="3015" y="5952"/>
                    <a:pt x="3203" y="5985"/>
                    <a:pt x="3313" y="6070"/>
                  </a:cubicBezTo>
                  <a:cubicBezTo>
                    <a:pt x="3423" y="6154"/>
                    <a:pt x="3496" y="6297"/>
                    <a:pt x="3557" y="6407"/>
                  </a:cubicBezTo>
                  <a:cubicBezTo>
                    <a:pt x="3618" y="6516"/>
                    <a:pt x="3648" y="6609"/>
                    <a:pt x="3691" y="6710"/>
                  </a:cubicBezTo>
                  <a:cubicBezTo>
                    <a:pt x="3733" y="6812"/>
                    <a:pt x="3758" y="6938"/>
                    <a:pt x="3800" y="6997"/>
                  </a:cubicBezTo>
                  <a:cubicBezTo>
                    <a:pt x="3843" y="7056"/>
                    <a:pt x="3873" y="7056"/>
                    <a:pt x="3959" y="7081"/>
                  </a:cubicBezTo>
                  <a:cubicBezTo>
                    <a:pt x="4044" y="7107"/>
                    <a:pt x="4196" y="7157"/>
                    <a:pt x="4300" y="7149"/>
                  </a:cubicBezTo>
                  <a:cubicBezTo>
                    <a:pt x="4403" y="7140"/>
                    <a:pt x="4458" y="7065"/>
                    <a:pt x="4568" y="7031"/>
                  </a:cubicBezTo>
                  <a:cubicBezTo>
                    <a:pt x="4677" y="6997"/>
                    <a:pt x="4829" y="6938"/>
                    <a:pt x="4957" y="6930"/>
                  </a:cubicBezTo>
                  <a:cubicBezTo>
                    <a:pt x="5085" y="6921"/>
                    <a:pt x="5256" y="6963"/>
                    <a:pt x="5347" y="6997"/>
                  </a:cubicBezTo>
                  <a:cubicBezTo>
                    <a:pt x="5438" y="7031"/>
                    <a:pt x="5457" y="7031"/>
                    <a:pt x="5518" y="7132"/>
                  </a:cubicBezTo>
                  <a:cubicBezTo>
                    <a:pt x="5579" y="7233"/>
                    <a:pt x="5646" y="7469"/>
                    <a:pt x="5713" y="7604"/>
                  </a:cubicBezTo>
                  <a:cubicBezTo>
                    <a:pt x="5780" y="7739"/>
                    <a:pt x="5834" y="7823"/>
                    <a:pt x="5907" y="7941"/>
                  </a:cubicBezTo>
                  <a:cubicBezTo>
                    <a:pt x="5981" y="8059"/>
                    <a:pt x="6072" y="8161"/>
                    <a:pt x="6151" y="8296"/>
                  </a:cubicBezTo>
                  <a:cubicBezTo>
                    <a:pt x="6230" y="8430"/>
                    <a:pt x="6309" y="8616"/>
                    <a:pt x="6370" y="8751"/>
                  </a:cubicBezTo>
                  <a:cubicBezTo>
                    <a:pt x="6431" y="8886"/>
                    <a:pt x="6492" y="9012"/>
                    <a:pt x="6529" y="9122"/>
                  </a:cubicBezTo>
                  <a:cubicBezTo>
                    <a:pt x="6565" y="9231"/>
                    <a:pt x="6529" y="9291"/>
                    <a:pt x="6602" y="9392"/>
                  </a:cubicBezTo>
                  <a:cubicBezTo>
                    <a:pt x="6675" y="9493"/>
                    <a:pt x="6833" y="9611"/>
                    <a:pt x="6967" y="9712"/>
                  </a:cubicBezTo>
                  <a:cubicBezTo>
                    <a:pt x="7101" y="9813"/>
                    <a:pt x="7272" y="9889"/>
                    <a:pt x="7406" y="9999"/>
                  </a:cubicBezTo>
                  <a:cubicBezTo>
                    <a:pt x="7540" y="10108"/>
                    <a:pt x="7661" y="10277"/>
                    <a:pt x="7783" y="10370"/>
                  </a:cubicBezTo>
                  <a:cubicBezTo>
                    <a:pt x="7905" y="10463"/>
                    <a:pt x="8009" y="10505"/>
                    <a:pt x="8149" y="10538"/>
                  </a:cubicBezTo>
                  <a:cubicBezTo>
                    <a:pt x="8289" y="10572"/>
                    <a:pt x="8490" y="10564"/>
                    <a:pt x="8624" y="10572"/>
                  </a:cubicBezTo>
                  <a:cubicBezTo>
                    <a:pt x="8758" y="10581"/>
                    <a:pt x="8849" y="10589"/>
                    <a:pt x="8940" y="10572"/>
                  </a:cubicBezTo>
                  <a:cubicBezTo>
                    <a:pt x="9032" y="10555"/>
                    <a:pt x="9105" y="10547"/>
                    <a:pt x="9184" y="10471"/>
                  </a:cubicBezTo>
                  <a:cubicBezTo>
                    <a:pt x="9263" y="10395"/>
                    <a:pt x="9324" y="10210"/>
                    <a:pt x="9403" y="10100"/>
                  </a:cubicBezTo>
                  <a:cubicBezTo>
                    <a:pt x="9482" y="9990"/>
                    <a:pt x="9562" y="9965"/>
                    <a:pt x="9647" y="9796"/>
                  </a:cubicBezTo>
                  <a:cubicBezTo>
                    <a:pt x="9732" y="9628"/>
                    <a:pt x="9866" y="9316"/>
                    <a:pt x="9921" y="9097"/>
                  </a:cubicBezTo>
                  <a:cubicBezTo>
                    <a:pt x="9976" y="8877"/>
                    <a:pt x="10000" y="8675"/>
                    <a:pt x="9970" y="8481"/>
                  </a:cubicBezTo>
                  <a:cubicBezTo>
                    <a:pt x="9939" y="8287"/>
                    <a:pt x="9799" y="8110"/>
                    <a:pt x="9732" y="7950"/>
                  </a:cubicBezTo>
                  <a:cubicBezTo>
                    <a:pt x="9665" y="7790"/>
                    <a:pt x="9604" y="7646"/>
                    <a:pt x="9568" y="7520"/>
                  </a:cubicBezTo>
                  <a:cubicBezTo>
                    <a:pt x="9531" y="7393"/>
                    <a:pt x="9513" y="7309"/>
                    <a:pt x="9495" y="7174"/>
                  </a:cubicBezTo>
                  <a:cubicBezTo>
                    <a:pt x="9476" y="7039"/>
                    <a:pt x="9446" y="6904"/>
                    <a:pt x="9440" y="6719"/>
                  </a:cubicBezTo>
                  <a:cubicBezTo>
                    <a:pt x="9434" y="6533"/>
                    <a:pt x="9452" y="6247"/>
                    <a:pt x="9458" y="6061"/>
                  </a:cubicBezTo>
                  <a:cubicBezTo>
                    <a:pt x="9464" y="5876"/>
                    <a:pt x="9482" y="5909"/>
                    <a:pt x="9458" y="5623"/>
                  </a:cubicBezTo>
                  <a:cubicBezTo>
                    <a:pt x="9434" y="5336"/>
                    <a:pt x="9361" y="4687"/>
                    <a:pt x="9294" y="4316"/>
                  </a:cubicBezTo>
                  <a:cubicBezTo>
                    <a:pt x="9227" y="3945"/>
                    <a:pt x="9056" y="3658"/>
                    <a:pt x="9044" y="3380"/>
                  </a:cubicBezTo>
                  <a:cubicBezTo>
                    <a:pt x="9032" y="3102"/>
                    <a:pt x="9184" y="2815"/>
                    <a:pt x="9227" y="2646"/>
                  </a:cubicBezTo>
                  <a:cubicBezTo>
                    <a:pt x="9269" y="2478"/>
                    <a:pt x="9318" y="2495"/>
                    <a:pt x="9312" y="2368"/>
                  </a:cubicBezTo>
                  <a:cubicBezTo>
                    <a:pt x="9306" y="2242"/>
                    <a:pt x="9286" y="2102"/>
                    <a:pt x="9172" y="1904"/>
                  </a:cubicBezTo>
                  <a:cubicBezTo>
                    <a:pt x="9058" y="1706"/>
                    <a:pt x="8789" y="1364"/>
                    <a:pt x="8630" y="1181"/>
                  </a:cubicBezTo>
                  <a:cubicBezTo>
                    <a:pt x="8472" y="999"/>
                    <a:pt x="8313" y="911"/>
                    <a:pt x="8221" y="809"/>
                  </a:cubicBezTo>
                  <a:cubicBezTo>
                    <a:pt x="8129" y="707"/>
                    <a:pt x="8115" y="639"/>
                    <a:pt x="8077" y="568"/>
                  </a:cubicBezTo>
                  <a:cubicBezTo>
                    <a:pt x="8039" y="497"/>
                    <a:pt x="8133" y="478"/>
                    <a:pt x="7995" y="383"/>
                  </a:cubicBezTo>
                  <a:cubicBezTo>
                    <a:pt x="7857" y="288"/>
                    <a:pt x="7552" y="34"/>
                    <a:pt x="7247" y="0"/>
                  </a:cubicBezTo>
                  <a:lnTo>
                    <a:pt x="6166" y="177"/>
                  </a:ln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04" name="Freeform 1771"/>
            <p:cNvSpPr>
              <a:spLocks/>
            </p:cNvSpPr>
            <p:nvPr/>
          </p:nvSpPr>
          <p:spPr bwMode="auto">
            <a:xfrm>
              <a:off x="1760538" y="2052716"/>
              <a:ext cx="155575" cy="104775"/>
            </a:xfrm>
            <a:custGeom>
              <a:avLst/>
              <a:gdLst>
                <a:gd name="T0" fmla="*/ 2147483647 w 296"/>
                <a:gd name="T1" fmla="*/ 2147483647 h 200"/>
                <a:gd name="T2" fmla="*/ 2147483647 w 296"/>
                <a:gd name="T3" fmla="*/ 2147483647 h 200"/>
                <a:gd name="T4" fmla="*/ 2147483647 w 296"/>
                <a:gd name="T5" fmla="*/ 2147483647 h 200"/>
                <a:gd name="T6" fmla="*/ 0 w 296"/>
                <a:gd name="T7" fmla="*/ 2147483647 h 200"/>
                <a:gd name="T8" fmla="*/ 2147483647 w 296"/>
                <a:gd name="T9" fmla="*/ 2147483647 h 200"/>
                <a:gd name="T10" fmla="*/ 2147483647 w 296"/>
                <a:gd name="T11" fmla="*/ 0 h 200"/>
                <a:gd name="T12" fmla="*/ 2147483647 w 296"/>
                <a:gd name="T13" fmla="*/ 2147483647 h 200"/>
                <a:gd name="T14" fmla="*/ 0 60000 65536"/>
                <a:gd name="T15" fmla="*/ 0 60000 65536"/>
                <a:gd name="T16" fmla="*/ 0 60000 65536"/>
                <a:gd name="T17" fmla="*/ 0 60000 65536"/>
                <a:gd name="T18" fmla="*/ 0 60000 65536"/>
                <a:gd name="T19" fmla="*/ 0 60000 65536"/>
                <a:gd name="T20" fmla="*/ 0 60000 65536"/>
                <a:gd name="T21" fmla="*/ 0 w 296"/>
                <a:gd name="T22" fmla="*/ 0 h 200"/>
                <a:gd name="T23" fmla="*/ 296 w 296"/>
                <a:gd name="T24" fmla="*/ 200 h 2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6" h="200">
                  <a:moveTo>
                    <a:pt x="296" y="89"/>
                  </a:moveTo>
                  <a:lnTo>
                    <a:pt x="290" y="200"/>
                  </a:lnTo>
                  <a:lnTo>
                    <a:pt x="74" y="138"/>
                  </a:lnTo>
                  <a:lnTo>
                    <a:pt x="0" y="51"/>
                  </a:lnTo>
                  <a:lnTo>
                    <a:pt x="17" y="2"/>
                  </a:lnTo>
                  <a:lnTo>
                    <a:pt x="188" y="0"/>
                  </a:lnTo>
                  <a:lnTo>
                    <a:pt x="296" y="89"/>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05" name="Freeform 1772"/>
            <p:cNvSpPr>
              <a:spLocks/>
            </p:cNvSpPr>
            <p:nvPr/>
          </p:nvSpPr>
          <p:spPr bwMode="auto">
            <a:xfrm>
              <a:off x="2697163" y="2425778"/>
              <a:ext cx="104775" cy="114300"/>
            </a:xfrm>
            <a:custGeom>
              <a:avLst/>
              <a:gdLst>
                <a:gd name="T0" fmla="*/ 2147483647 w 200"/>
                <a:gd name="T1" fmla="*/ 0 h 216"/>
                <a:gd name="T2" fmla="*/ 2147483647 w 200"/>
                <a:gd name="T3" fmla="*/ 2147483647 h 216"/>
                <a:gd name="T4" fmla="*/ 2147483647 w 200"/>
                <a:gd name="T5" fmla="*/ 2147483647 h 216"/>
                <a:gd name="T6" fmla="*/ 2147483647 w 200"/>
                <a:gd name="T7" fmla="*/ 2147483647 h 216"/>
                <a:gd name="T8" fmla="*/ 2147483647 w 200"/>
                <a:gd name="T9" fmla="*/ 2147483647 h 216"/>
                <a:gd name="T10" fmla="*/ 2147483647 w 200"/>
                <a:gd name="T11" fmla="*/ 2147483647 h 216"/>
                <a:gd name="T12" fmla="*/ 2147483647 w 200"/>
                <a:gd name="T13" fmla="*/ 2147483647 h 216"/>
                <a:gd name="T14" fmla="*/ 2147483647 w 200"/>
                <a:gd name="T15" fmla="*/ 2147483647 h 216"/>
                <a:gd name="T16" fmla="*/ 0 w 200"/>
                <a:gd name="T17" fmla="*/ 2147483647 h 216"/>
                <a:gd name="T18" fmla="*/ 2147483647 w 200"/>
                <a:gd name="T19" fmla="*/ 2147483647 h 216"/>
                <a:gd name="T20" fmla="*/ 2147483647 w 200"/>
                <a:gd name="T21" fmla="*/ 2147483647 h 216"/>
                <a:gd name="T22" fmla="*/ 2147483647 w 200"/>
                <a:gd name="T23" fmla="*/ 2147483647 h 216"/>
                <a:gd name="T24" fmla="*/ 2147483647 w 200"/>
                <a:gd name="T25" fmla="*/ 2147483647 h 216"/>
                <a:gd name="T26" fmla="*/ 2147483647 w 200"/>
                <a:gd name="T27" fmla="*/ 0 h 2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
                <a:gd name="T43" fmla="*/ 0 h 216"/>
                <a:gd name="T44" fmla="*/ 200 w 200"/>
                <a:gd name="T45" fmla="*/ 216 h 2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 h="216">
                  <a:moveTo>
                    <a:pt x="146" y="0"/>
                  </a:moveTo>
                  <a:lnTo>
                    <a:pt x="200" y="128"/>
                  </a:lnTo>
                  <a:lnTo>
                    <a:pt x="152" y="146"/>
                  </a:lnTo>
                  <a:lnTo>
                    <a:pt x="156" y="170"/>
                  </a:lnTo>
                  <a:lnTo>
                    <a:pt x="113" y="179"/>
                  </a:lnTo>
                  <a:lnTo>
                    <a:pt x="87" y="216"/>
                  </a:lnTo>
                  <a:lnTo>
                    <a:pt x="63" y="95"/>
                  </a:lnTo>
                  <a:lnTo>
                    <a:pt x="24" y="95"/>
                  </a:lnTo>
                  <a:lnTo>
                    <a:pt x="0" y="75"/>
                  </a:lnTo>
                  <a:lnTo>
                    <a:pt x="12" y="50"/>
                  </a:lnTo>
                  <a:lnTo>
                    <a:pt x="51" y="63"/>
                  </a:lnTo>
                  <a:lnTo>
                    <a:pt x="92" y="51"/>
                  </a:lnTo>
                  <a:lnTo>
                    <a:pt x="95" y="32"/>
                  </a:lnTo>
                  <a:lnTo>
                    <a:pt x="146" y="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06" name="Freeform 1773"/>
            <p:cNvSpPr>
              <a:spLocks/>
            </p:cNvSpPr>
            <p:nvPr/>
          </p:nvSpPr>
          <p:spPr bwMode="auto">
            <a:xfrm rot="6613945">
              <a:off x="2687638" y="2382916"/>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607" name="Freeform 1774"/>
            <p:cNvSpPr>
              <a:spLocks/>
            </p:cNvSpPr>
            <p:nvPr/>
          </p:nvSpPr>
          <p:spPr bwMode="auto">
            <a:xfrm>
              <a:off x="1928813" y="1497091"/>
              <a:ext cx="2093913" cy="1416050"/>
            </a:xfrm>
            <a:custGeom>
              <a:avLst/>
              <a:gdLst>
                <a:gd name="T0" fmla="*/ 2147483647 w 1319"/>
                <a:gd name="T1" fmla="*/ 2147483647 h 892"/>
                <a:gd name="T2" fmla="*/ 2147483647 w 1319"/>
                <a:gd name="T3" fmla="*/ 2147483647 h 892"/>
                <a:gd name="T4" fmla="*/ 2147483647 w 1319"/>
                <a:gd name="T5" fmla="*/ 2147483647 h 892"/>
                <a:gd name="T6" fmla="*/ 2147483647 w 1319"/>
                <a:gd name="T7" fmla="*/ 2147483647 h 892"/>
                <a:gd name="T8" fmla="*/ 2147483647 w 1319"/>
                <a:gd name="T9" fmla="*/ 2147483647 h 892"/>
                <a:gd name="T10" fmla="*/ 2147483647 w 1319"/>
                <a:gd name="T11" fmla="*/ 2147483647 h 892"/>
                <a:gd name="T12" fmla="*/ 2147483647 w 1319"/>
                <a:gd name="T13" fmla="*/ 2147483647 h 892"/>
                <a:gd name="T14" fmla="*/ 2147483647 w 1319"/>
                <a:gd name="T15" fmla="*/ 2147483647 h 892"/>
                <a:gd name="T16" fmla="*/ 2147483647 w 1319"/>
                <a:gd name="T17" fmla="*/ 2147483647 h 892"/>
                <a:gd name="T18" fmla="*/ 2147483647 w 1319"/>
                <a:gd name="T19" fmla="*/ 2147483647 h 892"/>
                <a:gd name="T20" fmla="*/ 2147483647 w 1319"/>
                <a:gd name="T21" fmla="*/ 2147483647 h 892"/>
                <a:gd name="T22" fmla="*/ 2147483647 w 1319"/>
                <a:gd name="T23" fmla="*/ 2147483647 h 892"/>
                <a:gd name="T24" fmla="*/ 2147483647 w 1319"/>
                <a:gd name="T25" fmla="*/ 2147483647 h 892"/>
                <a:gd name="T26" fmla="*/ 2147483647 w 1319"/>
                <a:gd name="T27" fmla="*/ 2147483647 h 892"/>
                <a:gd name="T28" fmla="*/ 2147483647 w 1319"/>
                <a:gd name="T29" fmla="*/ 2147483647 h 892"/>
                <a:gd name="T30" fmla="*/ 2147483647 w 1319"/>
                <a:gd name="T31" fmla="*/ 2147483647 h 892"/>
                <a:gd name="T32" fmla="*/ 2147483647 w 1319"/>
                <a:gd name="T33" fmla="*/ 2147483647 h 892"/>
                <a:gd name="T34" fmla="*/ 2147483647 w 1319"/>
                <a:gd name="T35" fmla="*/ 2147483647 h 892"/>
                <a:gd name="T36" fmla="*/ 2147483647 w 1319"/>
                <a:gd name="T37" fmla="*/ 2147483647 h 892"/>
                <a:gd name="T38" fmla="*/ 2147483647 w 1319"/>
                <a:gd name="T39" fmla="*/ 2147483647 h 892"/>
                <a:gd name="T40" fmla="*/ 2147483647 w 1319"/>
                <a:gd name="T41" fmla="*/ 2147483647 h 892"/>
                <a:gd name="T42" fmla="*/ 2147483647 w 1319"/>
                <a:gd name="T43" fmla="*/ 2147483647 h 892"/>
                <a:gd name="T44" fmla="*/ 2147483647 w 1319"/>
                <a:gd name="T45" fmla="*/ 2147483647 h 892"/>
                <a:gd name="T46" fmla="*/ 2147483647 w 1319"/>
                <a:gd name="T47" fmla="*/ 2147483647 h 892"/>
                <a:gd name="T48" fmla="*/ 2147483647 w 1319"/>
                <a:gd name="T49" fmla="*/ 2147483647 h 892"/>
                <a:gd name="T50" fmla="*/ 2147483647 w 1319"/>
                <a:gd name="T51" fmla="*/ 2147483647 h 892"/>
                <a:gd name="T52" fmla="*/ 2147483647 w 1319"/>
                <a:gd name="T53" fmla="*/ 2147483647 h 892"/>
                <a:gd name="T54" fmla="*/ 2147483647 w 1319"/>
                <a:gd name="T55" fmla="*/ 2147483647 h 892"/>
                <a:gd name="T56" fmla="*/ 2147483647 w 1319"/>
                <a:gd name="T57" fmla="*/ 2147483647 h 892"/>
                <a:gd name="T58" fmla="*/ 2147483647 w 1319"/>
                <a:gd name="T59" fmla="*/ 2147483647 h 892"/>
                <a:gd name="T60" fmla="*/ 2147483647 w 1319"/>
                <a:gd name="T61" fmla="*/ 2147483647 h 892"/>
                <a:gd name="T62" fmla="*/ 2147483647 w 1319"/>
                <a:gd name="T63" fmla="*/ 2147483647 h 892"/>
                <a:gd name="T64" fmla="*/ 2147483647 w 1319"/>
                <a:gd name="T65" fmla="*/ 2147483647 h 892"/>
                <a:gd name="T66" fmla="*/ 2147483647 w 1319"/>
                <a:gd name="T67" fmla="*/ 2147483647 h 892"/>
                <a:gd name="T68" fmla="*/ 2147483647 w 1319"/>
                <a:gd name="T69" fmla="*/ 2147483647 h 892"/>
                <a:gd name="T70" fmla="*/ 2147483647 w 1319"/>
                <a:gd name="T71" fmla="*/ 2147483647 h 892"/>
                <a:gd name="T72" fmla="*/ 2147483647 w 1319"/>
                <a:gd name="T73" fmla="*/ 2147483647 h 892"/>
                <a:gd name="T74" fmla="*/ 2147483647 w 1319"/>
                <a:gd name="T75" fmla="*/ 2147483647 h 892"/>
                <a:gd name="T76" fmla="*/ 2147483647 w 1319"/>
                <a:gd name="T77" fmla="*/ 2147483647 h 892"/>
                <a:gd name="T78" fmla="*/ 2147483647 w 1319"/>
                <a:gd name="T79" fmla="*/ 2147483647 h 892"/>
                <a:gd name="T80" fmla="*/ 2147483647 w 1319"/>
                <a:gd name="T81" fmla="*/ 2147483647 h 892"/>
                <a:gd name="T82" fmla="*/ 2147483647 w 1319"/>
                <a:gd name="T83" fmla="*/ 2147483647 h 892"/>
                <a:gd name="T84" fmla="*/ 2147483647 w 1319"/>
                <a:gd name="T85" fmla="*/ 2147483647 h 892"/>
                <a:gd name="T86" fmla="*/ 2147483647 w 1319"/>
                <a:gd name="T87" fmla="*/ 2147483647 h 892"/>
                <a:gd name="T88" fmla="*/ 2147483647 w 1319"/>
                <a:gd name="T89" fmla="*/ 2147483647 h 892"/>
                <a:gd name="T90" fmla="*/ 2147483647 w 1319"/>
                <a:gd name="T91" fmla="*/ 2147483647 h 892"/>
                <a:gd name="T92" fmla="*/ 2147483647 w 1319"/>
                <a:gd name="T93" fmla="*/ 2147483647 h 892"/>
                <a:gd name="T94" fmla="*/ 2147483647 w 1319"/>
                <a:gd name="T95" fmla="*/ 2147483647 h 892"/>
                <a:gd name="T96" fmla="*/ 2147483647 w 1319"/>
                <a:gd name="T97" fmla="*/ 2147483647 h 892"/>
                <a:gd name="T98" fmla="*/ 2147483647 w 1319"/>
                <a:gd name="T99" fmla="*/ 2147483647 h 892"/>
                <a:gd name="T100" fmla="*/ 2147483647 w 1319"/>
                <a:gd name="T101" fmla="*/ 2147483647 h 8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19"/>
                <a:gd name="T154" fmla="*/ 0 h 892"/>
                <a:gd name="T155" fmla="*/ 1319 w 1319"/>
                <a:gd name="T156" fmla="*/ 892 h 89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19" h="892">
                  <a:moveTo>
                    <a:pt x="1243" y="884"/>
                  </a:moveTo>
                  <a:cubicBezTo>
                    <a:pt x="1240" y="884"/>
                    <a:pt x="1234" y="883"/>
                    <a:pt x="1227" y="884"/>
                  </a:cubicBezTo>
                  <a:cubicBezTo>
                    <a:pt x="1220" y="885"/>
                    <a:pt x="1210" y="887"/>
                    <a:pt x="1201" y="888"/>
                  </a:cubicBezTo>
                  <a:cubicBezTo>
                    <a:pt x="1192" y="889"/>
                    <a:pt x="1183" y="890"/>
                    <a:pt x="1175" y="890"/>
                  </a:cubicBezTo>
                  <a:cubicBezTo>
                    <a:pt x="1167" y="890"/>
                    <a:pt x="1161" y="892"/>
                    <a:pt x="1155" y="890"/>
                  </a:cubicBezTo>
                  <a:cubicBezTo>
                    <a:pt x="1149" y="888"/>
                    <a:pt x="1146" y="886"/>
                    <a:pt x="1139" y="878"/>
                  </a:cubicBezTo>
                  <a:cubicBezTo>
                    <a:pt x="1132" y="870"/>
                    <a:pt x="1121" y="849"/>
                    <a:pt x="1115" y="840"/>
                  </a:cubicBezTo>
                  <a:cubicBezTo>
                    <a:pt x="1109" y="831"/>
                    <a:pt x="1109" y="826"/>
                    <a:pt x="1103" y="824"/>
                  </a:cubicBezTo>
                  <a:cubicBezTo>
                    <a:pt x="1097" y="822"/>
                    <a:pt x="1083" y="827"/>
                    <a:pt x="1078" y="828"/>
                  </a:cubicBezTo>
                  <a:cubicBezTo>
                    <a:pt x="1073" y="829"/>
                    <a:pt x="1076" y="831"/>
                    <a:pt x="1071" y="832"/>
                  </a:cubicBezTo>
                  <a:cubicBezTo>
                    <a:pt x="1066" y="834"/>
                    <a:pt x="1056" y="837"/>
                    <a:pt x="1048" y="838"/>
                  </a:cubicBezTo>
                  <a:cubicBezTo>
                    <a:pt x="1041" y="840"/>
                    <a:pt x="1033" y="840"/>
                    <a:pt x="1024" y="840"/>
                  </a:cubicBezTo>
                  <a:cubicBezTo>
                    <a:pt x="1016" y="840"/>
                    <a:pt x="1005" y="840"/>
                    <a:pt x="998" y="839"/>
                  </a:cubicBezTo>
                  <a:cubicBezTo>
                    <a:pt x="990" y="839"/>
                    <a:pt x="985" y="838"/>
                    <a:pt x="978" y="836"/>
                  </a:cubicBezTo>
                  <a:cubicBezTo>
                    <a:pt x="970" y="834"/>
                    <a:pt x="963" y="832"/>
                    <a:pt x="954" y="827"/>
                  </a:cubicBezTo>
                  <a:cubicBezTo>
                    <a:pt x="945" y="823"/>
                    <a:pt x="933" y="814"/>
                    <a:pt x="924" y="808"/>
                  </a:cubicBezTo>
                  <a:cubicBezTo>
                    <a:pt x="916" y="802"/>
                    <a:pt x="912" y="798"/>
                    <a:pt x="903" y="790"/>
                  </a:cubicBezTo>
                  <a:cubicBezTo>
                    <a:pt x="894" y="783"/>
                    <a:pt x="880" y="772"/>
                    <a:pt x="872" y="764"/>
                  </a:cubicBezTo>
                  <a:cubicBezTo>
                    <a:pt x="863" y="756"/>
                    <a:pt x="857" y="749"/>
                    <a:pt x="852" y="744"/>
                  </a:cubicBezTo>
                  <a:cubicBezTo>
                    <a:pt x="847" y="739"/>
                    <a:pt x="845" y="738"/>
                    <a:pt x="840" y="734"/>
                  </a:cubicBezTo>
                  <a:cubicBezTo>
                    <a:pt x="835" y="731"/>
                    <a:pt x="829" y="726"/>
                    <a:pt x="824" y="722"/>
                  </a:cubicBezTo>
                  <a:cubicBezTo>
                    <a:pt x="818" y="719"/>
                    <a:pt x="813" y="716"/>
                    <a:pt x="808" y="713"/>
                  </a:cubicBezTo>
                  <a:cubicBezTo>
                    <a:pt x="803" y="710"/>
                    <a:pt x="798" y="707"/>
                    <a:pt x="793" y="703"/>
                  </a:cubicBezTo>
                  <a:cubicBezTo>
                    <a:pt x="788" y="700"/>
                    <a:pt x="780" y="695"/>
                    <a:pt x="777" y="692"/>
                  </a:cubicBezTo>
                  <a:cubicBezTo>
                    <a:pt x="774" y="690"/>
                    <a:pt x="775" y="692"/>
                    <a:pt x="773" y="687"/>
                  </a:cubicBezTo>
                  <a:cubicBezTo>
                    <a:pt x="770" y="683"/>
                    <a:pt x="766" y="672"/>
                    <a:pt x="764" y="667"/>
                  </a:cubicBezTo>
                  <a:cubicBezTo>
                    <a:pt x="762" y="661"/>
                    <a:pt x="761" y="659"/>
                    <a:pt x="758" y="656"/>
                  </a:cubicBezTo>
                  <a:cubicBezTo>
                    <a:pt x="755" y="653"/>
                    <a:pt x="753" y="653"/>
                    <a:pt x="748" y="649"/>
                  </a:cubicBezTo>
                  <a:cubicBezTo>
                    <a:pt x="743" y="646"/>
                    <a:pt x="733" y="638"/>
                    <a:pt x="728" y="633"/>
                  </a:cubicBezTo>
                  <a:cubicBezTo>
                    <a:pt x="722" y="628"/>
                    <a:pt x="719" y="625"/>
                    <a:pt x="713" y="619"/>
                  </a:cubicBezTo>
                  <a:cubicBezTo>
                    <a:pt x="707" y="613"/>
                    <a:pt x="699" y="602"/>
                    <a:pt x="692" y="598"/>
                  </a:cubicBezTo>
                  <a:cubicBezTo>
                    <a:pt x="686" y="594"/>
                    <a:pt x="685" y="599"/>
                    <a:pt x="672" y="596"/>
                  </a:cubicBezTo>
                  <a:cubicBezTo>
                    <a:pt x="660" y="594"/>
                    <a:pt x="639" y="586"/>
                    <a:pt x="619" y="581"/>
                  </a:cubicBezTo>
                  <a:lnTo>
                    <a:pt x="552" y="566"/>
                  </a:lnTo>
                  <a:cubicBezTo>
                    <a:pt x="535" y="563"/>
                    <a:pt x="527" y="559"/>
                    <a:pt x="515" y="559"/>
                  </a:cubicBezTo>
                  <a:cubicBezTo>
                    <a:pt x="504" y="558"/>
                    <a:pt x="506" y="557"/>
                    <a:pt x="484" y="565"/>
                  </a:cubicBezTo>
                  <a:cubicBezTo>
                    <a:pt x="462" y="574"/>
                    <a:pt x="423" y="594"/>
                    <a:pt x="383" y="611"/>
                  </a:cubicBezTo>
                  <a:lnTo>
                    <a:pt x="243" y="666"/>
                  </a:lnTo>
                  <a:cubicBezTo>
                    <a:pt x="206" y="675"/>
                    <a:pt x="188" y="668"/>
                    <a:pt x="161" y="669"/>
                  </a:cubicBezTo>
                  <a:cubicBezTo>
                    <a:pt x="134" y="669"/>
                    <a:pt x="98" y="669"/>
                    <a:pt x="80" y="669"/>
                  </a:cubicBezTo>
                  <a:cubicBezTo>
                    <a:pt x="62" y="668"/>
                    <a:pt x="60" y="670"/>
                    <a:pt x="53" y="665"/>
                  </a:cubicBezTo>
                  <a:cubicBezTo>
                    <a:pt x="46" y="661"/>
                    <a:pt x="45" y="653"/>
                    <a:pt x="39" y="641"/>
                  </a:cubicBezTo>
                  <a:cubicBezTo>
                    <a:pt x="33" y="628"/>
                    <a:pt x="20" y="607"/>
                    <a:pt x="14" y="589"/>
                  </a:cubicBezTo>
                  <a:cubicBezTo>
                    <a:pt x="8" y="572"/>
                    <a:pt x="4" y="557"/>
                    <a:pt x="2" y="536"/>
                  </a:cubicBezTo>
                  <a:cubicBezTo>
                    <a:pt x="0" y="515"/>
                    <a:pt x="1" y="487"/>
                    <a:pt x="1" y="461"/>
                  </a:cubicBezTo>
                  <a:cubicBezTo>
                    <a:pt x="2" y="435"/>
                    <a:pt x="5" y="408"/>
                    <a:pt x="6" y="380"/>
                  </a:cubicBezTo>
                  <a:cubicBezTo>
                    <a:pt x="7" y="351"/>
                    <a:pt x="6" y="313"/>
                    <a:pt x="10" y="290"/>
                  </a:cubicBezTo>
                  <a:cubicBezTo>
                    <a:pt x="14" y="267"/>
                    <a:pt x="16" y="257"/>
                    <a:pt x="28" y="242"/>
                  </a:cubicBezTo>
                  <a:cubicBezTo>
                    <a:pt x="41" y="226"/>
                    <a:pt x="69" y="212"/>
                    <a:pt x="86" y="199"/>
                  </a:cubicBezTo>
                  <a:cubicBezTo>
                    <a:pt x="103" y="186"/>
                    <a:pt x="117" y="171"/>
                    <a:pt x="131" y="162"/>
                  </a:cubicBezTo>
                  <a:cubicBezTo>
                    <a:pt x="145" y="153"/>
                    <a:pt x="152" y="148"/>
                    <a:pt x="171" y="144"/>
                  </a:cubicBezTo>
                  <a:cubicBezTo>
                    <a:pt x="190" y="139"/>
                    <a:pt x="216" y="138"/>
                    <a:pt x="245" y="134"/>
                  </a:cubicBezTo>
                  <a:cubicBezTo>
                    <a:pt x="274" y="129"/>
                    <a:pt x="310" y="123"/>
                    <a:pt x="343" y="116"/>
                  </a:cubicBezTo>
                  <a:cubicBezTo>
                    <a:pt x="377" y="110"/>
                    <a:pt x="421" y="97"/>
                    <a:pt x="447" y="93"/>
                  </a:cubicBezTo>
                  <a:cubicBezTo>
                    <a:pt x="472" y="89"/>
                    <a:pt x="482" y="92"/>
                    <a:pt x="495" y="93"/>
                  </a:cubicBezTo>
                  <a:cubicBezTo>
                    <a:pt x="507" y="94"/>
                    <a:pt x="510" y="98"/>
                    <a:pt x="521" y="100"/>
                  </a:cubicBezTo>
                  <a:cubicBezTo>
                    <a:pt x="533" y="102"/>
                    <a:pt x="547" y="104"/>
                    <a:pt x="564" y="104"/>
                  </a:cubicBezTo>
                  <a:cubicBezTo>
                    <a:pt x="582" y="104"/>
                    <a:pt x="610" y="102"/>
                    <a:pt x="626" y="103"/>
                  </a:cubicBezTo>
                  <a:cubicBezTo>
                    <a:pt x="642" y="103"/>
                    <a:pt x="651" y="107"/>
                    <a:pt x="660" y="108"/>
                  </a:cubicBezTo>
                  <a:cubicBezTo>
                    <a:pt x="669" y="109"/>
                    <a:pt x="674" y="110"/>
                    <a:pt x="680" y="109"/>
                  </a:cubicBezTo>
                  <a:cubicBezTo>
                    <a:pt x="686" y="108"/>
                    <a:pt x="690" y="102"/>
                    <a:pt x="695" y="99"/>
                  </a:cubicBezTo>
                  <a:cubicBezTo>
                    <a:pt x="700" y="96"/>
                    <a:pt x="704" y="94"/>
                    <a:pt x="712" y="92"/>
                  </a:cubicBezTo>
                  <a:cubicBezTo>
                    <a:pt x="719" y="90"/>
                    <a:pt x="733" y="88"/>
                    <a:pt x="739" y="87"/>
                  </a:cubicBezTo>
                  <a:cubicBezTo>
                    <a:pt x="745" y="85"/>
                    <a:pt x="746" y="84"/>
                    <a:pt x="751" y="82"/>
                  </a:cubicBezTo>
                  <a:cubicBezTo>
                    <a:pt x="756" y="80"/>
                    <a:pt x="762" y="78"/>
                    <a:pt x="770" y="77"/>
                  </a:cubicBezTo>
                  <a:cubicBezTo>
                    <a:pt x="778" y="76"/>
                    <a:pt x="790" y="76"/>
                    <a:pt x="798" y="75"/>
                  </a:cubicBezTo>
                  <a:cubicBezTo>
                    <a:pt x="806" y="74"/>
                    <a:pt x="811" y="73"/>
                    <a:pt x="819" y="72"/>
                  </a:cubicBezTo>
                  <a:cubicBezTo>
                    <a:pt x="826" y="71"/>
                    <a:pt x="832" y="70"/>
                    <a:pt x="842" y="71"/>
                  </a:cubicBezTo>
                  <a:cubicBezTo>
                    <a:pt x="851" y="71"/>
                    <a:pt x="869" y="75"/>
                    <a:pt x="878" y="76"/>
                  </a:cubicBezTo>
                  <a:lnTo>
                    <a:pt x="896" y="75"/>
                  </a:lnTo>
                  <a:cubicBezTo>
                    <a:pt x="913" y="70"/>
                    <a:pt x="961" y="54"/>
                    <a:pt x="980" y="48"/>
                  </a:cubicBezTo>
                  <a:cubicBezTo>
                    <a:pt x="1000" y="43"/>
                    <a:pt x="1002" y="44"/>
                    <a:pt x="1012" y="40"/>
                  </a:cubicBezTo>
                  <a:cubicBezTo>
                    <a:pt x="1023" y="37"/>
                    <a:pt x="1034" y="30"/>
                    <a:pt x="1043" y="26"/>
                  </a:cubicBezTo>
                  <a:cubicBezTo>
                    <a:pt x="1052" y="22"/>
                    <a:pt x="1054" y="19"/>
                    <a:pt x="1066" y="15"/>
                  </a:cubicBezTo>
                  <a:cubicBezTo>
                    <a:pt x="1078" y="12"/>
                    <a:pt x="1109" y="0"/>
                    <a:pt x="1114" y="5"/>
                  </a:cubicBezTo>
                  <a:cubicBezTo>
                    <a:pt x="1119" y="9"/>
                    <a:pt x="1102" y="34"/>
                    <a:pt x="1098" y="43"/>
                  </a:cubicBezTo>
                  <a:cubicBezTo>
                    <a:pt x="1094" y="53"/>
                    <a:pt x="1095" y="50"/>
                    <a:pt x="1092" y="60"/>
                  </a:cubicBezTo>
                  <a:cubicBezTo>
                    <a:pt x="1089" y="70"/>
                    <a:pt x="1082" y="93"/>
                    <a:pt x="1079" y="105"/>
                  </a:cubicBezTo>
                  <a:cubicBezTo>
                    <a:pt x="1076" y="116"/>
                    <a:pt x="1075" y="123"/>
                    <a:pt x="1075" y="132"/>
                  </a:cubicBezTo>
                  <a:cubicBezTo>
                    <a:pt x="1076" y="140"/>
                    <a:pt x="1077" y="144"/>
                    <a:pt x="1082" y="157"/>
                  </a:cubicBezTo>
                  <a:cubicBezTo>
                    <a:pt x="1088" y="169"/>
                    <a:pt x="1102" y="192"/>
                    <a:pt x="1107" y="206"/>
                  </a:cubicBezTo>
                  <a:cubicBezTo>
                    <a:pt x="1113" y="220"/>
                    <a:pt x="1113" y="232"/>
                    <a:pt x="1116" y="241"/>
                  </a:cubicBezTo>
                  <a:cubicBezTo>
                    <a:pt x="1119" y="249"/>
                    <a:pt x="1124" y="253"/>
                    <a:pt x="1125" y="259"/>
                  </a:cubicBezTo>
                  <a:cubicBezTo>
                    <a:pt x="1126" y="265"/>
                    <a:pt x="1122" y="265"/>
                    <a:pt x="1121" y="277"/>
                  </a:cubicBezTo>
                  <a:cubicBezTo>
                    <a:pt x="1120" y="290"/>
                    <a:pt x="1119" y="319"/>
                    <a:pt x="1119" y="333"/>
                  </a:cubicBezTo>
                  <a:cubicBezTo>
                    <a:pt x="1120" y="347"/>
                    <a:pt x="1123" y="355"/>
                    <a:pt x="1125" y="363"/>
                  </a:cubicBezTo>
                  <a:cubicBezTo>
                    <a:pt x="1127" y="370"/>
                    <a:pt x="1127" y="371"/>
                    <a:pt x="1130" y="377"/>
                  </a:cubicBezTo>
                  <a:cubicBezTo>
                    <a:pt x="1133" y="383"/>
                    <a:pt x="1141" y="393"/>
                    <a:pt x="1144" y="399"/>
                  </a:cubicBezTo>
                  <a:cubicBezTo>
                    <a:pt x="1147" y="406"/>
                    <a:pt x="1148" y="411"/>
                    <a:pt x="1148" y="415"/>
                  </a:cubicBezTo>
                  <a:cubicBezTo>
                    <a:pt x="1149" y="419"/>
                    <a:pt x="1147" y="421"/>
                    <a:pt x="1146" y="424"/>
                  </a:cubicBezTo>
                  <a:cubicBezTo>
                    <a:pt x="1145" y="427"/>
                    <a:pt x="1144" y="432"/>
                    <a:pt x="1144" y="435"/>
                  </a:cubicBezTo>
                  <a:cubicBezTo>
                    <a:pt x="1144" y="439"/>
                    <a:pt x="1146" y="444"/>
                    <a:pt x="1146" y="447"/>
                  </a:cubicBezTo>
                  <a:cubicBezTo>
                    <a:pt x="1146" y="450"/>
                    <a:pt x="1143" y="450"/>
                    <a:pt x="1142" y="452"/>
                  </a:cubicBezTo>
                  <a:cubicBezTo>
                    <a:pt x="1142" y="454"/>
                    <a:pt x="1141" y="455"/>
                    <a:pt x="1143" y="458"/>
                  </a:cubicBezTo>
                  <a:cubicBezTo>
                    <a:pt x="1146" y="462"/>
                    <a:pt x="1155" y="467"/>
                    <a:pt x="1157" y="471"/>
                  </a:cubicBezTo>
                  <a:cubicBezTo>
                    <a:pt x="1160" y="475"/>
                    <a:pt x="1160" y="480"/>
                    <a:pt x="1159" y="485"/>
                  </a:cubicBezTo>
                  <a:cubicBezTo>
                    <a:pt x="1159" y="490"/>
                    <a:pt x="1157" y="493"/>
                    <a:pt x="1155" y="499"/>
                  </a:cubicBezTo>
                  <a:cubicBezTo>
                    <a:pt x="1153" y="505"/>
                    <a:pt x="1144" y="518"/>
                    <a:pt x="1145" y="522"/>
                  </a:cubicBezTo>
                  <a:lnTo>
                    <a:pt x="1165" y="524"/>
                  </a:lnTo>
                  <a:cubicBezTo>
                    <a:pt x="1168" y="528"/>
                    <a:pt x="1157" y="540"/>
                    <a:pt x="1162" y="547"/>
                  </a:cubicBezTo>
                  <a:cubicBezTo>
                    <a:pt x="1167" y="554"/>
                    <a:pt x="1180" y="562"/>
                    <a:pt x="1196" y="566"/>
                  </a:cubicBezTo>
                  <a:cubicBezTo>
                    <a:pt x="1212" y="570"/>
                    <a:pt x="1236" y="562"/>
                    <a:pt x="1256" y="573"/>
                  </a:cubicBezTo>
                  <a:cubicBezTo>
                    <a:pt x="1276" y="584"/>
                    <a:pt x="1306" y="622"/>
                    <a:pt x="1319" y="635"/>
                  </a:cubicBezTo>
                </a:path>
              </a:pathLst>
            </a:custGeom>
            <a:noFill/>
            <a:ln w="9525" cap="flat"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08" name="Freeform 1775"/>
            <p:cNvSpPr>
              <a:spLocks/>
            </p:cNvSpPr>
            <p:nvPr/>
          </p:nvSpPr>
          <p:spPr bwMode="auto">
            <a:xfrm>
              <a:off x="3892550" y="1947941"/>
              <a:ext cx="366713" cy="274638"/>
            </a:xfrm>
            <a:custGeom>
              <a:avLst/>
              <a:gdLst>
                <a:gd name="T0" fmla="*/ 2147483647 w 231"/>
                <a:gd name="T1" fmla="*/ 2147483647 h 173"/>
                <a:gd name="T2" fmla="*/ 2147483647 w 231"/>
                <a:gd name="T3" fmla="*/ 2147483647 h 173"/>
                <a:gd name="T4" fmla="*/ 2147483647 w 231"/>
                <a:gd name="T5" fmla="*/ 2147483647 h 173"/>
                <a:gd name="T6" fmla="*/ 2147483647 w 231"/>
                <a:gd name="T7" fmla="*/ 2147483647 h 173"/>
                <a:gd name="T8" fmla="*/ 2147483647 w 231"/>
                <a:gd name="T9" fmla="*/ 2147483647 h 173"/>
                <a:gd name="T10" fmla="*/ 2147483647 w 231"/>
                <a:gd name="T11" fmla="*/ 2147483647 h 173"/>
                <a:gd name="T12" fmla="*/ 2147483647 w 231"/>
                <a:gd name="T13" fmla="*/ 2147483647 h 173"/>
                <a:gd name="T14" fmla="*/ 2147483647 w 231"/>
                <a:gd name="T15" fmla="*/ 2147483647 h 173"/>
                <a:gd name="T16" fmla="*/ 2147483647 w 231"/>
                <a:gd name="T17" fmla="*/ 2147483647 h 173"/>
                <a:gd name="T18" fmla="*/ 2147483647 w 231"/>
                <a:gd name="T19" fmla="*/ 2147483647 h 173"/>
                <a:gd name="T20" fmla="*/ 2147483647 w 231"/>
                <a:gd name="T21" fmla="*/ 2147483647 h 173"/>
                <a:gd name="T22" fmla="*/ 2147483647 w 231"/>
                <a:gd name="T23" fmla="*/ 2147483647 h 173"/>
                <a:gd name="T24" fmla="*/ 2147483647 w 231"/>
                <a:gd name="T25" fmla="*/ 2147483647 h 173"/>
                <a:gd name="T26" fmla="*/ 2147483647 w 231"/>
                <a:gd name="T27" fmla="*/ 2147483647 h 173"/>
                <a:gd name="T28" fmla="*/ 2147483647 w 231"/>
                <a:gd name="T29" fmla="*/ 2147483647 h 173"/>
                <a:gd name="T30" fmla="*/ 2147483647 w 231"/>
                <a:gd name="T31" fmla="*/ 2147483647 h 17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31"/>
                <a:gd name="T49" fmla="*/ 0 h 173"/>
                <a:gd name="T50" fmla="*/ 231 w 231"/>
                <a:gd name="T51" fmla="*/ 173 h 17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31" h="173">
                  <a:moveTo>
                    <a:pt x="223" y="130"/>
                  </a:moveTo>
                  <a:cubicBezTo>
                    <a:pt x="217" y="136"/>
                    <a:pt x="205" y="142"/>
                    <a:pt x="193" y="144"/>
                  </a:cubicBezTo>
                  <a:cubicBezTo>
                    <a:pt x="181" y="146"/>
                    <a:pt x="168" y="141"/>
                    <a:pt x="152" y="145"/>
                  </a:cubicBezTo>
                  <a:cubicBezTo>
                    <a:pt x="136" y="149"/>
                    <a:pt x="116" y="165"/>
                    <a:pt x="95" y="169"/>
                  </a:cubicBezTo>
                  <a:cubicBezTo>
                    <a:pt x="74" y="173"/>
                    <a:pt x="43" y="173"/>
                    <a:pt x="28" y="172"/>
                  </a:cubicBezTo>
                  <a:cubicBezTo>
                    <a:pt x="13" y="171"/>
                    <a:pt x="4" y="164"/>
                    <a:pt x="2" y="160"/>
                  </a:cubicBezTo>
                  <a:cubicBezTo>
                    <a:pt x="0" y="156"/>
                    <a:pt x="11" y="151"/>
                    <a:pt x="16" y="145"/>
                  </a:cubicBezTo>
                  <a:cubicBezTo>
                    <a:pt x="21" y="139"/>
                    <a:pt x="25" y="133"/>
                    <a:pt x="31" y="121"/>
                  </a:cubicBezTo>
                  <a:cubicBezTo>
                    <a:pt x="37" y="109"/>
                    <a:pt x="44" y="88"/>
                    <a:pt x="52" y="73"/>
                  </a:cubicBezTo>
                  <a:cubicBezTo>
                    <a:pt x="60" y="58"/>
                    <a:pt x="66" y="45"/>
                    <a:pt x="77" y="34"/>
                  </a:cubicBezTo>
                  <a:cubicBezTo>
                    <a:pt x="88" y="23"/>
                    <a:pt x="106" y="8"/>
                    <a:pt x="121" y="4"/>
                  </a:cubicBezTo>
                  <a:cubicBezTo>
                    <a:pt x="136" y="0"/>
                    <a:pt x="155" y="3"/>
                    <a:pt x="170" y="7"/>
                  </a:cubicBezTo>
                  <a:cubicBezTo>
                    <a:pt x="185" y="11"/>
                    <a:pt x="203" y="18"/>
                    <a:pt x="212" y="28"/>
                  </a:cubicBezTo>
                  <a:cubicBezTo>
                    <a:pt x="221" y="38"/>
                    <a:pt x="224" y="54"/>
                    <a:pt x="227" y="67"/>
                  </a:cubicBezTo>
                  <a:cubicBezTo>
                    <a:pt x="230" y="80"/>
                    <a:pt x="231" y="95"/>
                    <a:pt x="230" y="106"/>
                  </a:cubicBezTo>
                  <a:cubicBezTo>
                    <a:pt x="229" y="117"/>
                    <a:pt x="229" y="124"/>
                    <a:pt x="223" y="130"/>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609" name="Freeform 1776"/>
            <p:cNvSpPr>
              <a:spLocks/>
            </p:cNvSpPr>
            <p:nvPr/>
          </p:nvSpPr>
          <p:spPr bwMode="auto">
            <a:xfrm>
              <a:off x="3998913" y="1984453"/>
              <a:ext cx="193675" cy="198438"/>
            </a:xfrm>
            <a:custGeom>
              <a:avLst/>
              <a:gdLst>
                <a:gd name="T0" fmla="*/ 2147483647 w 122"/>
                <a:gd name="T1" fmla="*/ 2147483647 h 125"/>
                <a:gd name="T2" fmla="*/ 2147483647 w 122"/>
                <a:gd name="T3" fmla="*/ 2147483647 h 125"/>
                <a:gd name="T4" fmla="*/ 2147483647 w 122"/>
                <a:gd name="T5" fmla="*/ 2147483647 h 125"/>
                <a:gd name="T6" fmla="*/ 2147483647 w 122"/>
                <a:gd name="T7" fmla="*/ 2147483647 h 125"/>
                <a:gd name="T8" fmla="*/ 2147483647 w 122"/>
                <a:gd name="T9" fmla="*/ 2147483647 h 125"/>
                <a:gd name="T10" fmla="*/ 0 w 122"/>
                <a:gd name="T11" fmla="*/ 2147483647 h 125"/>
                <a:gd name="T12" fmla="*/ 2147483647 w 122"/>
                <a:gd name="T13" fmla="*/ 2147483647 h 125"/>
                <a:gd name="T14" fmla="*/ 2147483647 w 122"/>
                <a:gd name="T15" fmla="*/ 2147483647 h 125"/>
                <a:gd name="T16" fmla="*/ 2147483647 w 122"/>
                <a:gd name="T17" fmla="*/ 2147483647 h 125"/>
                <a:gd name="T18" fmla="*/ 2147483647 w 122"/>
                <a:gd name="T19" fmla="*/ 2147483647 h 125"/>
                <a:gd name="T20" fmla="*/ 2147483647 w 122"/>
                <a:gd name="T21" fmla="*/ 2147483647 h 125"/>
                <a:gd name="T22" fmla="*/ 2147483647 w 122"/>
                <a:gd name="T23" fmla="*/ 2147483647 h 1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2"/>
                <a:gd name="T37" fmla="*/ 0 h 125"/>
                <a:gd name="T38" fmla="*/ 122 w 122"/>
                <a:gd name="T39" fmla="*/ 125 h 1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2" h="125">
                  <a:moveTo>
                    <a:pt x="120" y="64"/>
                  </a:moveTo>
                  <a:cubicBezTo>
                    <a:pt x="122" y="77"/>
                    <a:pt x="118" y="82"/>
                    <a:pt x="109" y="88"/>
                  </a:cubicBezTo>
                  <a:cubicBezTo>
                    <a:pt x="100" y="94"/>
                    <a:pt x="77" y="94"/>
                    <a:pt x="66" y="98"/>
                  </a:cubicBezTo>
                  <a:cubicBezTo>
                    <a:pt x="55" y="102"/>
                    <a:pt x="50" y="106"/>
                    <a:pt x="42" y="110"/>
                  </a:cubicBezTo>
                  <a:cubicBezTo>
                    <a:pt x="34" y="114"/>
                    <a:pt x="25" y="123"/>
                    <a:pt x="18" y="124"/>
                  </a:cubicBezTo>
                  <a:cubicBezTo>
                    <a:pt x="11" y="125"/>
                    <a:pt x="0" y="120"/>
                    <a:pt x="0" y="116"/>
                  </a:cubicBezTo>
                  <a:cubicBezTo>
                    <a:pt x="0" y="112"/>
                    <a:pt x="16" y="105"/>
                    <a:pt x="18" y="100"/>
                  </a:cubicBezTo>
                  <a:cubicBezTo>
                    <a:pt x="20" y="95"/>
                    <a:pt x="11" y="94"/>
                    <a:pt x="13" y="86"/>
                  </a:cubicBezTo>
                  <a:cubicBezTo>
                    <a:pt x="15" y="78"/>
                    <a:pt x="25" y="61"/>
                    <a:pt x="33" y="49"/>
                  </a:cubicBezTo>
                  <a:cubicBezTo>
                    <a:pt x="41" y="37"/>
                    <a:pt x="50" y="21"/>
                    <a:pt x="60" y="14"/>
                  </a:cubicBezTo>
                  <a:cubicBezTo>
                    <a:pt x="70" y="7"/>
                    <a:pt x="84" y="0"/>
                    <a:pt x="94" y="8"/>
                  </a:cubicBezTo>
                  <a:cubicBezTo>
                    <a:pt x="104" y="16"/>
                    <a:pt x="118" y="51"/>
                    <a:pt x="120" y="64"/>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10" name="Freeform 1777"/>
            <p:cNvSpPr>
              <a:spLocks/>
            </p:cNvSpPr>
            <p:nvPr/>
          </p:nvSpPr>
          <p:spPr bwMode="auto">
            <a:xfrm>
              <a:off x="2724150" y="1430416"/>
              <a:ext cx="71438" cy="52388"/>
            </a:xfrm>
            <a:custGeom>
              <a:avLst/>
              <a:gdLst>
                <a:gd name="T0" fmla="*/ 2147483647 w 45"/>
                <a:gd name="T1" fmla="*/ 2147483647 h 33"/>
                <a:gd name="T2" fmla="*/ 0 w 45"/>
                <a:gd name="T3" fmla="*/ 2147483647 h 33"/>
                <a:gd name="T4" fmla="*/ 2147483647 w 45"/>
                <a:gd name="T5" fmla="*/ 0 h 33"/>
                <a:gd name="T6" fmla="*/ 2147483647 w 45"/>
                <a:gd name="T7" fmla="*/ 0 h 33"/>
                <a:gd name="T8" fmla="*/ 2147483647 w 45"/>
                <a:gd name="T9" fmla="*/ 2147483647 h 33"/>
                <a:gd name="T10" fmla="*/ 0 60000 65536"/>
                <a:gd name="T11" fmla="*/ 0 60000 65536"/>
                <a:gd name="T12" fmla="*/ 0 60000 65536"/>
                <a:gd name="T13" fmla="*/ 0 60000 65536"/>
                <a:gd name="T14" fmla="*/ 0 60000 65536"/>
                <a:gd name="T15" fmla="*/ 0 w 45"/>
                <a:gd name="T16" fmla="*/ 0 h 33"/>
                <a:gd name="T17" fmla="*/ 45 w 45"/>
                <a:gd name="T18" fmla="*/ 33 h 33"/>
              </a:gdLst>
              <a:ahLst/>
              <a:cxnLst>
                <a:cxn ang="T10">
                  <a:pos x="T0" y="T1"/>
                </a:cxn>
                <a:cxn ang="T11">
                  <a:pos x="T2" y="T3"/>
                </a:cxn>
                <a:cxn ang="T12">
                  <a:pos x="T4" y="T5"/>
                </a:cxn>
                <a:cxn ang="T13">
                  <a:pos x="T6" y="T7"/>
                </a:cxn>
                <a:cxn ang="T14">
                  <a:pos x="T8" y="T9"/>
                </a:cxn>
              </a:cxnLst>
              <a:rect l="T15" t="T16" r="T17" b="T18"/>
              <a:pathLst>
                <a:path w="45" h="33">
                  <a:moveTo>
                    <a:pt x="45" y="32"/>
                  </a:moveTo>
                  <a:lnTo>
                    <a:pt x="0" y="33"/>
                  </a:lnTo>
                  <a:lnTo>
                    <a:pt x="2" y="0"/>
                  </a:lnTo>
                  <a:lnTo>
                    <a:pt x="42" y="0"/>
                  </a:lnTo>
                  <a:lnTo>
                    <a:pt x="45" y="32"/>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11" name="Freeform 1778"/>
            <p:cNvSpPr>
              <a:spLocks/>
            </p:cNvSpPr>
            <p:nvPr/>
          </p:nvSpPr>
          <p:spPr bwMode="auto">
            <a:xfrm>
              <a:off x="2579688" y="2205116"/>
              <a:ext cx="119063" cy="104775"/>
            </a:xfrm>
            <a:custGeom>
              <a:avLst/>
              <a:gdLst>
                <a:gd name="T0" fmla="*/ 2147483647 w 75"/>
                <a:gd name="T1" fmla="*/ 2147483647 h 66"/>
                <a:gd name="T2" fmla="*/ 2147483647 w 75"/>
                <a:gd name="T3" fmla="*/ 2147483647 h 66"/>
                <a:gd name="T4" fmla="*/ 0 w 75"/>
                <a:gd name="T5" fmla="*/ 2147483647 h 66"/>
                <a:gd name="T6" fmla="*/ 2147483647 w 75"/>
                <a:gd name="T7" fmla="*/ 0 h 66"/>
                <a:gd name="T8" fmla="*/ 2147483647 w 75"/>
                <a:gd name="T9" fmla="*/ 0 h 66"/>
                <a:gd name="T10" fmla="*/ 2147483647 w 75"/>
                <a:gd name="T11" fmla="*/ 2147483647 h 66"/>
                <a:gd name="T12" fmla="*/ 2147483647 w 75"/>
                <a:gd name="T13" fmla="*/ 2147483647 h 66"/>
                <a:gd name="T14" fmla="*/ 2147483647 w 75"/>
                <a:gd name="T15" fmla="*/ 2147483647 h 66"/>
                <a:gd name="T16" fmla="*/ 2147483647 w 75"/>
                <a:gd name="T17" fmla="*/ 2147483647 h 66"/>
                <a:gd name="T18" fmla="*/ 2147483647 w 75"/>
                <a:gd name="T19" fmla="*/ 2147483647 h 66"/>
                <a:gd name="T20" fmla="*/ 2147483647 w 75"/>
                <a:gd name="T21" fmla="*/ 2147483647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
                <a:gd name="T34" fmla="*/ 0 h 66"/>
                <a:gd name="T35" fmla="*/ 75 w 75"/>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 h="66">
                  <a:moveTo>
                    <a:pt x="49" y="66"/>
                  </a:moveTo>
                  <a:lnTo>
                    <a:pt x="3" y="63"/>
                  </a:lnTo>
                  <a:lnTo>
                    <a:pt x="0" y="42"/>
                  </a:lnTo>
                  <a:lnTo>
                    <a:pt x="3" y="0"/>
                  </a:lnTo>
                  <a:lnTo>
                    <a:pt x="36" y="0"/>
                  </a:lnTo>
                  <a:lnTo>
                    <a:pt x="40" y="15"/>
                  </a:lnTo>
                  <a:lnTo>
                    <a:pt x="49" y="6"/>
                  </a:lnTo>
                  <a:lnTo>
                    <a:pt x="64" y="6"/>
                  </a:lnTo>
                  <a:lnTo>
                    <a:pt x="75" y="19"/>
                  </a:lnTo>
                  <a:lnTo>
                    <a:pt x="52" y="37"/>
                  </a:lnTo>
                  <a:lnTo>
                    <a:pt x="49" y="66"/>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12" name="Freeform 1779"/>
            <p:cNvSpPr>
              <a:spLocks/>
            </p:cNvSpPr>
            <p:nvPr/>
          </p:nvSpPr>
          <p:spPr bwMode="auto">
            <a:xfrm>
              <a:off x="2360613" y="1792366"/>
              <a:ext cx="61913" cy="88900"/>
            </a:xfrm>
            <a:custGeom>
              <a:avLst/>
              <a:gdLst>
                <a:gd name="T0" fmla="*/ 2147483647 w 39"/>
                <a:gd name="T1" fmla="*/ 2147483647 h 56"/>
                <a:gd name="T2" fmla="*/ 2147483647 w 39"/>
                <a:gd name="T3" fmla="*/ 0 h 56"/>
                <a:gd name="T4" fmla="*/ 2147483647 w 39"/>
                <a:gd name="T5" fmla="*/ 2147483647 h 56"/>
                <a:gd name="T6" fmla="*/ 0 w 39"/>
                <a:gd name="T7" fmla="*/ 2147483647 h 56"/>
                <a:gd name="T8" fmla="*/ 2147483647 w 39"/>
                <a:gd name="T9" fmla="*/ 2147483647 h 56"/>
                <a:gd name="T10" fmla="*/ 0 60000 65536"/>
                <a:gd name="T11" fmla="*/ 0 60000 65536"/>
                <a:gd name="T12" fmla="*/ 0 60000 65536"/>
                <a:gd name="T13" fmla="*/ 0 60000 65536"/>
                <a:gd name="T14" fmla="*/ 0 60000 65536"/>
                <a:gd name="T15" fmla="*/ 0 w 39"/>
                <a:gd name="T16" fmla="*/ 0 h 56"/>
                <a:gd name="T17" fmla="*/ 39 w 39"/>
                <a:gd name="T18" fmla="*/ 56 h 56"/>
              </a:gdLst>
              <a:ahLst/>
              <a:cxnLst>
                <a:cxn ang="T10">
                  <a:pos x="T0" y="T1"/>
                </a:cxn>
                <a:cxn ang="T11">
                  <a:pos x="T2" y="T3"/>
                </a:cxn>
                <a:cxn ang="T12">
                  <a:pos x="T4" y="T5"/>
                </a:cxn>
                <a:cxn ang="T13">
                  <a:pos x="T6" y="T7"/>
                </a:cxn>
                <a:cxn ang="T14">
                  <a:pos x="T8" y="T9"/>
                </a:cxn>
              </a:cxnLst>
              <a:rect l="T15" t="T16" r="T17" b="T18"/>
              <a:pathLst>
                <a:path w="39" h="56">
                  <a:moveTo>
                    <a:pt x="39" y="56"/>
                  </a:moveTo>
                  <a:lnTo>
                    <a:pt x="33" y="0"/>
                  </a:lnTo>
                  <a:lnTo>
                    <a:pt x="18" y="2"/>
                  </a:lnTo>
                  <a:lnTo>
                    <a:pt x="0" y="38"/>
                  </a:lnTo>
                  <a:lnTo>
                    <a:pt x="39" y="56"/>
                  </a:lnTo>
                  <a:close/>
                </a:path>
              </a:pathLst>
            </a:custGeom>
            <a:solidFill>
              <a:srgbClr val="FF8000"/>
            </a:solidFill>
            <a:ln w="6350" cap="flat" cmpd="sng">
              <a:solidFill>
                <a:srgbClr val="000000"/>
              </a:solidFill>
              <a:prstDash val="solid"/>
              <a:round/>
              <a:headEnd type="none" w="med" len="med"/>
              <a:tailEnd type="none" w="med" len="med"/>
            </a:ln>
          </p:spPr>
          <p:txBody>
            <a:bodyPr lIns="0" tIns="0" rIns="0" bIns="0">
              <a:spAutoFit/>
            </a:bodyPr>
            <a:lstStyle/>
            <a:p>
              <a:endParaRPr lang="de-DE"/>
            </a:p>
          </p:txBody>
        </p:sp>
        <p:sp>
          <p:nvSpPr>
            <p:cNvPr id="613" name="Freeform 1781"/>
            <p:cNvSpPr>
              <a:spLocks/>
            </p:cNvSpPr>
            <p:nvPr/>
          </p:nvSpPr>
          <p:spPr bwMode="auto">
            <a:xfrm>
              <a:off x="2166938" y="1906666"/>
              <a:ext cx="41275" cy="28575"/>
            </a:xfrm>
            <a:custGeom>
              <a:avLst/>
              <a:gdLst>
                <a:gd name="T0" fmla="*/ 2147483647 w 26"/>
                <a:gd name="T1" fmla="*/ 0 h 18"/>
                <a:gd name="T2" fmla="*/ 2147483647 w 26"/>
                <a:gd name="T3" fmla="*/ 0 h 18"/>
                <a:gd name="T4" fmla="*/ 2147483647 w 26"/>
                <a:gd name="T5" fmla="*/ 2147483647 h 18"/>
                <a:gd name="T6" fmla="*/ 0 w 26"/>
                <a:gd name="T7" fmla="*/ 2147483647 h 18"/>
                <a:gd name="T8" fmla="*/ 2147483647 w 26"/>
                <a:gd name="T9" fmla="*/ 0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3" y="0"/>
                  </a:moveTo>
                  <a:lnTo>
                    <a:pt x="26" y="0"/>
                  </a:lnTo>
                  <a:lnTo>
                    <a:pt x="24" y="18"/>
                  </a:lnTo>
                  <a:lnTo>
                    <a:pt x="0" y="15"/>
                  </a:lnTo>
                  <a:lnTo>
                    <a:pt x="3" y="0"/>
                  </a:lnTo>
                  <a:close/>
                </a:path>
              </a:pathLst>
            </a:custGeom>
            <a:solidFill>
              <a:srgbClr val="FF8000"/>
            </a:solidFill>
            <a:ln w="6350" cap="flat" cmpd="sng">
              <a:solidFill>
                <a:srgbClr val="000000"/>
              </a:solidFill>
              <a:prstDash val="solid"/>
              <a:round/>
              <a:headEnd type="none" w="med" len="med"/>
              <a:tailEnd type="none" w="med" len="med"/>
            </a:ln>
          </p:spPr>
          <p:txBody>
            <a:bodyPr lIns="0" tIns="0" rIns="0" bIns="0">
              <a:spAutoFit/>
            </a:bodyPr>
            <a:lstStyle/>
            <a:p>
              <a:endParaRPr lang="de-DE"/>
            </a:p>
          </p:txBody>
        </p:sp>
        <p:sp>
          <p:nvSpPr>
            <p:cNvPr id="614" name="Freeform 1782"/>
            <p:cNvSpPr>
              <a:spLocks/>
            </p:cNvSpPr>
            <p:nvPr/>
          </p:nvSpPr>
          <p:spPr bwMode="auto">
            <a:xfrm>
              <a:off x="2255838" y="1825703"/>
              <a:ext cx="53975" cy="36513"/>
            </a:xfrm>
            <a:custGeom>
              <a:avLst/>
              <a:gdLst>
                <a:gd name="T0" fmla="*/ 2147483647 w 34"/>
                <a:gd name="T1" fmla="*/ 2147483647 h 23"/>
                <a:gd name="T2" fmla="*/ 0 w 34"/>
                <a:gd name="T3" fmla="*/ 2147483647 h 23"/>
                <a:gd name="T4" fmla="*/ 0 w 34"/>
                <a:gd name="T5" fmla="*/ 2147483647 h 23"/>
                <a:gd name="T6" fmla="*/ 2147483647 w 34"/>
                <a:gd name="T7" fmla="*/ 0 h 23"/>
                <a:gd name="T8" fmla="*/ 2147483647 w 34"/>
                <a:gd name="T9" fmla="*/ 2147483647 h 23"/>
                <a:gd name="T10" fmla="*/ 0 60000 65536"/>
                <a:gd name="T11" fmla="*/ 0 60000 65536"/>
                <a:gd name="T12" fmla="*/ 0 60000 65536"/>
                <a:gd name="T13" fmla="*/ 0 60000 65536"/>
                <a:gd name="T14" fmla="*/ 0 60000 65536"/>
                <a:gd name="T15" fmla="*/ 0 w 34"/>
                <a:gd name="T16" fmla="*/ 0 h 23"/>
                <a:gd name="T17" fmla="*/ 34 w 34"/>
                <a:gd name="T18" fmla="*/ 23 h 23"/>
              </a:gdLst>
              <a:ahLst/>
              <a:cxnLst>
                <a:cxn ang="T10">
                  <a:pos x="T0" y="T1"/>
                </a:cxn>
                <a:cxn ang="T11">
                  <a:pos x="T2" y="T3"/>
                </a:cxn>
                <a:cxn ang="T12">
                  <a:pos x="T4" y="T5"/>
                </a:cxn>
                <a:cxn ang="T13">
                  <a:pos x="T6" y="T7"/>
                </a:cxn>
                <a:cxn ang="T14">
                  <a:pos x="T8" y="T9"/>
                </a:cxn>
              </a:cxnLst>
              <a:rect l="T15" t="T16" r="T17" b="T18"/>
              <a:pathLst>
                <a:path w="34" h="23">
                  <a:moveTo>
                    <a:pt x="34" y="18"/>
                  </a:moveTo>
                  <a:lnTo>
                    <a:pt x="0" y="23"/>
                  </a:lnTo>
                  <a:lnTo>
                    <a:pt x="0" y="8"/>
                  </a:lnTo>
                  <a:lnTo>
                    <a:pt x="25" y="0"/>
                  </a:lnTo>
                  <a:lnTo>
                    <a:pt x="34" y="18"/>
                  </a:lnTo>
                  <a:close/>
                </a:path>
              </a:pathLst>
            </a:custGeom>
            <a:solidFill>
              <a:srgbClr val="FF8000"/>
            </a:solidFill>
            <a:ln w="6350" cap="flat" cmpd="sng">
              <a:solidFill>
                <a:srgbClr val="000000"/>
              </a:solidFill>
              <a:prstDash val="solid"/>
              <a:round/>
              <a:headEnd type="none" w="med" len="med"/>
              <a:tailEnd type="none" w="med" len="med"/>
            </a:ln>
          </p:spPr>
          <p:txBody>
            <a:bodyPr lIns="0" tIns="0" rIns="0" bIns="0">
              <a:spAutoFit/>
            </a:bodyPr>
            <a:lstStyle/>
            <a:p>
              <a:endParaRPr lang="de-DE"/>
            </a:p>
          </p:txBody>
        </p:sp>
        <p:sp>
          <p:nvSpPr>
            <p:cNvPr id="615" name="Freeform 1783"/>
            <p:cNvSpPr>
              <a:spLocks/>
            </p:cNvSpPr>
            <p:nvPr/>
          </p:nvSpPr>
          <p:spPr bwMode="auto">
            <a:xfrm>
              <a:off x="2171700" y="1766966"/>
              <a:ext cx="107950" cy="30163"/>
            </a:xfrm>
            <a:custGeom>
              <a:avLst/>
              <a:gdLst>
                <a:gd name="T0" fmla="*/ 2147483647 w 68"/>
                <a:gd name="T1" fmla="*/ 0 h 19"/>
                <a:gd name="T2" fmla="*/ 2147483647 w 68"/>
                <a:gd name="T3" fmla="*/ 0 h 19"/>
                <a:gd name="T4" fmla="*/ 2147483647 w 68"/>
                <a:gd name="T5" fmla="*/ 2147483647 h 19"/>
                <a:gd name="T6" fmla="*/ 0 w 68"/>
                <a:gd name="T7" fmla="*/ 2147483647 h 19"/>
                <a:gd name="T8" fmla="*/ 2147483647 w 68"/>
                <a:gd name="T9" fmla="*/ 0 h 19"/>
                <a:gd name="T10" fmla="*/ 0 60000 65536"/>
                <a:gd name="T11" fmla="*/ 0 60000 65536"/>
                <a:gd name="T12" fmla="*/ 0 60000 65536"/>
                <a:gd name="T13" fmla="*/ 0 60000 65536"/>
                <a:gd name="T14" fmla="*/ 0 60000 65536"/>
                <a:gd name="T15" fmla="*/ 0 w 68"/>
                <a:gd name="T16" fmla="*/ 0 h 19"/>
                <a:gd name="T17" fmla="*/ 68 w 68"/>
                <a:gd name="T18" fmla="*/ 19 h 19"/>
              </a:gdLst>
              <a:ahLst/>
              <a:cxnLst>
                <a:cxn ang="T10">
                  <a:pos x="T0" y="T1"/>
                </a:cxn>
                <a:cxn ang="T11">
                  <a:pos x="T2" y="T3"/>
                </a:cxn>
                <a:cxn ang="T12">
                  <a:pos x="T4" y="T5"/>
                </a:cxn>
                <a:cxn ang="T13">
                  <a:pos x="T6" y="T7"/>
                </a:cxn>
                <a:cxn ang="T14">
                  <a:pos x="T8" y="T9"/>
                </a:cxn>
              </a:cxnLst>
              <a:rect l="T15" t="T16" r="T17" b="T18"/>
              <a:pathLst>
                <a:path w="68" h="19">
                  <a:moveTo>
                    <a:pt x="2" y="0"/>
                  </a:moveTo>
                  <a:lnTo>
                    <a:pt x="68" y="0"/>
                  </a:lnTo>
                  <a:lnTo>
                    <a:pt x="66" y="16"/>
                  </a:lnTo>
                  <a:lnTo>
                    <a:pt x="0" y="19"/>
                  </a:lnTo>
                  <a:lnTo>
                    <a:pt x="2" y="0"/>
                  </a:lnTo>
                  <a:close/>
                </a:path>
              </a:pathLst>
            </a:custGeom>
            <a:solidFill>
              <a:srgbClr val="FF8000"/>
            </a:solidFill>
            <a:ln w="6350" cap="flat" cmpd="sng">
              <a:solidFill>
                <a:srgbClr val="000000"/>
              </a:solidFill>
              <a:prstDash val="solid"/>
              <a:round/>
              <a:headEnd type="none" w="med" len="med"/>
              <a:tailEnd type="none" w="med" len="med"/>
            </a:ln>
          </p:spPr>
          <p:txBody>
            <a:bodyPr lIns="0" tIns="0" rIns="0" bIns="0">
              <a:spAutoFit/>
            </a:bodyPr>
            <a:lstStyle/>
            <a:p>
              <a:endParaRPr lang="de-DE"/>
            </a:p>
          </p:txBody>
        </p:sp>
        <p:sp>
          <p:nvSpPr>
            <p:cNvPr id="616" name="Freeform 1784"/>
            <p:cNvSpPr>
              <a:spLocks/>
            </p:cNvSpPr>
            <p:nvPr/>
          </p:nvSpPr>
          <p:spPr bwMode="auto">
            <a:xfrm>
              <a:off x="1827213" y="2462291"/>
              <a:ext cx="128588" cy="80963"/>
            </a:xfrm>
            <a:custGeom>
              <a:avLst/>
              <a:gdLst>
                <a:gd name="T0" fmla="*/ 2147483647 w 81"/>
                <a:gd name="T1" fmla="*/ 2147483647 h 51"/>
                <a:gd name="T2" fmla="*/ 2147483647 w 81"/>
                <a:gd name="T3" fmla="*/ 2147483647 h 51"/>
                <a:gd name="T4" fmla="*/ 2147483647 w 81"/>
                <a:gd name="T5" fmla="*/ 0 h 51"/>
                <a:gd name="T6" fmla="*/ 2147483647 w 81"/>
                <a:gd name="T7" fmla="*/ 2147483647 h 51"/>
                <a:gd name="T8" fmla="*/ 0 w 81"/>
                <a:gd name="T9" fmla="*/ 2147483647 h 51"/>
                <a:gd name="T10" fmla="*/ 2147483647 w 81"/>
                <a:gd name="T11" fmla="*/ 2147483647 h 51"/>
                <a:gd name="T12" fmla="*/ 2147483647 w 81"/>
                <a:gd name="T13" fmla="*/ 2147483647 h 51"/>
                <a:gd name="T14" fmla="*/ 2147483647 w 81"/>
                <a:gd name="T15" fmla="*/ 2147483647 h 51"/>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51"/>
                <a:gd name="T26" fmla="*/ 81 w 81"/>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51">
                  <a:moveTo>
                    <a:pt x="61" y="51"/>
                  </a:moveTo>
                  <a:lnTo>
                    <a:pt x="81" y="31"/>
                  </a:lnTo>
                  <a:lnTo>
                    <a:pt x="55" y="0"/>
                  </a:lnTo>
                  <a:lnTo>
                    <a:pt x="4" y="7"/>
                  </a:lnTo>
                  <a:lnTo>
                    <a:pt x="0" y="19"/>
                  </a:lnTo>
                  <a:lnTo>
                    <a:pt x="27" y="22"/>
                  </a:lnTo>
                  <a:lnTo>
                    <a:pt x="45" y="48"/>
                  </a:lnTo>
                  <a:lnTo>
                    <a:pt x="61" y="51"/>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17" name="Freeform 1785"/>
            <p:cNvSpPr>
              <a:spLocks/>
            </p:cNvSpPr>
            <p:nvPr/>
          </p:nvSpPr>
          <p:spPr bwMode="auto">
            <a:xfrm>
              <a:off x="1431925" y="1719341"/>
              <a:ext cx="276225" cy="271463"/>
            </a:xfrm>
            <a:custGeom>
              <a:avLst/>
              <a:gdLst>
                <a:gd name="T0" fmla="*/ 2147483647 w 174"/>
                <a:gd name="T1" fmla="*/ 2147483647 h 171"/>
                <a:gd name="T2" fmla="*/ 2147483647 w 174"/>
                <a:gd name="T3" fmla="*/ 2147483647 h 171"/>
                <a:gd name="T4" fmla="*/ 2147483647 w 174"/>
                <a:gd name="T5" fmla="*/ 2147483647 h 171"/>
                <a:gd name="T6" fmla="*/ 2147483647 w 174"/>
                <a:gd name="T7" fmla="*/ 2147483647 h 171"/>
                <a:gd name="T8" fmla="*/ 2147483647 w 174"/>
                <a:gd name="T9" fmla="*/ 2147483647 h 171"/>
                <a:gd name="T10" fmla="*/ 2147483647 w 174"/>
                <a:gd name="T11" fmla="*/ 0 h 171"/>
                <a:gd name="T12" fmla="*/ 2147483647 w 174"/>
                <a:gd name="T13" fmla="*/ 2147483647 h 171"/>
                <a:gd name="T14" fmla="*/ 0 w 174"/>
                <a:gd name="T15" fmla="*/ 2147483647 h 171"/>
                <a:gd name="T16" fmla="*/ 2147483647 w 174"/>
                <a:gd name="T17" fmla="*/ 2147483647 h 171"/>
                <a:gd name="T18" fmla="*/ 2147483647 w 174"/>
                <a:gd name="T19" fmla="*/ 2147483647 h 171"/>
                <a:gd name="T20" fmla="*/ 2147483647 w 174"/>
                <a:gd name="T21" fmla="*/ 2147483647 h 171"/>
                <a:gd name="T22" fmla="*/ 2147483647 w 174"/>
                <a:gd name="T23" fmla="*/ 2147483647 h 171"/>
                <a:gd name="T24" fmla="*/ 2147483647 w 174"/>
                <a:gd name="T25" fmla="*/ 2147483647 h 171"/>
                <a:gd name="T26" fmla="*/ 2147483647 w 174"/>
                <a:gd name="T27" fmla="*/ 2147483647 h 171"/>
                <a:gd name="T28" fmla="*/ 2147483647 w 174"/>
                <a:gd name="T29" fmla="*/ 2147483647 h 171"/>
                <a:gd name="T30" fmla="*/ 2147483647 w 174"/>
                <a:gd name="T31" fmla="*/ 2147483647 h 171"/>
                <a:gd name="T32" fmla="*/ 2147483647 w 174"/>
                <a:gd name="T33" fmla="*/ 2147483647 h 1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4"/>
                <a:gd name="T52" fmla="*/ 0 h 171"/>
                <a:gd name="T53" fmla="*/ 174 w 174"/>
                <a:gd name="T54" fmla="*/ 171 h 17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4" h="171">
                  <a:moveTo>
                    <a:pt x="103" y="162"/>
                  </a:moveTo>
                  <a:lnTo>
                    <a:pt x="162" y="94"/>
                  </a:lnTo>
                  <a:lnTo>
                    <a:pt x="174" y="31"/>
                  </a:lnTo>
                  <a:lnTo>
                    <a:pt x="124" y="13"/>
                  </a:lnTo>
                  <a:lnTo>
                    <a:pt x="81" y="13"/>
                  </a:lnTo>
                  <a:lnTo>
                    <a:pt x="64" y="0"/>
                  </a:lnTo>
                  <a:lnTo>
                    <a:pt x="6" y="42"/>
                  </a:lnTo>
                  <a:lnTo>
                    <a:pt x="0" y="99"/>
                  </a:lnTo>
                  <a:lnTo>
                    <a:pt x="25" y="82"/>
                  </a:lnTo>
                  <a:lnTo>
                    <a:pt x="27" y="109"/>
                  </a:lnTo>
                  <a:lnTo>
                    <a:pt x="15" y="118"/>
                  </a:lnTo>
                  <a:lnTo>
                    <a:pt x="25" y="144"/>
                  </a:lnTo>
                  <a:lnTo>
                    <a:pt x="13" y="154"/>
                  </a:lnTo>
                  <a:lnTo>
                    <a:pt x="40" y="168"/>
                  </a:lnTo>
                  <a:lnTo>
                    <a:pt x="61" y="133"/>
                  </a:lnTo>
                  <a:lnTo>
                    <a:pt x="75" y="171"/>
                  </a:lnTo>
                  <a:lnTo>
                    <a:pt x="103" y="16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18" name="Freeform 1786"/>
            <p:cNvSpPr>
              <a:spLocks/>
            </p:cNvSpPr>
            <p:nvPr/>
          </p:nvSpPr>
          <p:spPr bwMode="auto">
            <a:xfrm>
              <a:off x="671513" y="2049541"/>
              <a:ext cx="198438" cy="298450"/>
            </a:xfrm>
            <a:custGeom>
              <a:avLst/>
              <a:gdLst>
                <a:gd name="T0" fmla="*/ 2147483647 w 125"/>
                <a:gd name="T1" fmla="*/ 2147483647 h 188"/>
                <a:gd name="T2" fmla="*/ 2147483647 w 125"/>
                <a:gd name="T3" fmla="*/ 2147483647 h 188"/>
                <a:gd name="T4" fmla="*/ 2147483647 w 125"/>
                <a:gd name="T5" fmla="*/ 2147483647 h 188"/>
                <a:gd name="T6" fmla="*/ 2147483647 w 125"/>
                <a:gd name="T7" fmla="*/ 2147483647 h 188"/>
                <a:gd name="T8" fmla="*/ 2147483647 w 125"/>
                <a:gd name="T9" fmla="*/ 0 h 188"/>
                <a:gd name="T10" fmla="*/ 2147483647 w 125"/>
                <a:gd name="T11" fmla="*/ 2147483647 h 188"/>
                <a:gd name="T12" fmla="*/ 2147483647 w 125"/>
                <a:gd name="T13" fmla="*/ 2147483647 h 188"/>
                <a:gd name="T14" fmla="*/ 2147483647 w 125"/>
                <a:gd name="T15" fmla="*/ 2147483647 h 188"/>
                <a:gd name="T16" fmla="*/ 2147483647 w 125"/>
                <a:gd name="T17" fmla="*/ 2147483647 h 188"/>
                <a:gd name="T18" fmla="*/ 2147483647 w 125"/>
                <a:gd name="T19" fmla="*/ 2147483647 h 188"/>
                <a:gd name="T20" fmla="*/ 2147483647 w 125"/>
                <a:gd name="T21" fmla="*/ 2147483647 h 188"/>
                <a:gd name="T22" fmla="*/ 0 w 125"/>
                <a:gd name="T23" fmla="*/ 2147483647 h 188"/>
                <a:gd name="T24" fmla="*/ 2147483647 w 125"/>
                <a:gd name="T25" fmla="*/ 2147483647 h 188"/>
                <a:gd name="T26" fmla="*/ 2147483647 w 125"/>
                <a:gd name="T27" fmla="*/ 2147483647 h 188"/>
                <a:gd name="T28" fmla="*/ 2147483647 w 125"/>
                <a:gd name="T29" fmla="*/ 2147483647 h 188"/>
                <a:gd name="T30" fmla="*/ 2147483647 w 125"/>
                <a:gd name="T31" fmla="*/ 2147483647 h 18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5"/>
                <a:gd name="T49" fmla="*/ 0 h 188"/>
                <a:gd name="T50" fmla="*/ 125 w 125"/>
                <a:gd name="T51" fmla="*/ 188 h 18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5" h="188">
                  <a:moveTo>
                    <a:pt x="113" y="153"/>
                  </a:moveTo>
                  <a:lnTo>
                    <a:pt x="125" y="114"/>
                  </a:lnTo>
                  <a:lnTo>
                    <a:pt x="101" y="87"/>
                  </a:lnTo>
                  <a:lnTo>
                    <a:pt x="105" y="51"/>
                  </a:lnTo>
                  <a:lnTo>
                    <a:pt x="72" y="0"/>
                  </a:lnTo>
                  <a:lnTo>
                    <a:pt x="6" y="45"/>
                  </a:lnTo>
                  <a:lnTo>
                    <a:pt x="26" y="83"/>
                  </a:lnTo>
                  <a:lnTo>
                    <a:pt x="36" y="78"/>
                  </a:lnTo>
                  <a:lnTo>
                    <a:pt x="57" y="108"/>
                  </a:lnTo>
                  <a:lnTo>
                    <a:pt x="42" y="122"/>
                  </a:lnTo>
                  <a:lnTo>
                    <a:pt x="6" y="116"/>
                  </a:lnTo>
                  <a:lnTo>
                    <a:pt x="0" y="171"/>
                  </a:lnTo>
                  <a:lnTo>
                    <a:pt x="35" y="168"/>
                  </a:lnTo>
                  <a:lnTo>
                    <a:pt x="77" y="188"/>
                  </a:lnTo>
                  <a:lnTo>
                    <a:pt x="86" y="156"/>
                  </a:lnTo>
                  <a:lnTo>
                    <a:pt x="113" y="153"/>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19" name="Freeform 1787"/>
            <p:cNvSpPr>
              <a:spLocks/>
            </p:cNvSpPr>
            <p:nvPr/>
          </p:nvSpPr>
          <p:spPr bwMode="auto">
            <a:xfrm>
              <a:off x="6489700" y="5086428"/>
              <a:ext cx="415925" cy="381000"/>
            </a:xfrm>
            <a:custGeom>
              <a:avLst/>
              <a:gdLst>
                <a:gd name="T0" fmla="*/ 2147483647 w 262"/>
                <a:gd name="T1" fmla="*/ 2147483647 h 240"/>
                <a:gd name="T2" fmla="*/ 2147483647 w 262"/>
                <a:gd name="T3" fmla="*/ 2147483647 h 240"/>
                <a:gd name="T4" fmla="*/ 2147483647 w 262"/>
                <a:gd name="T5" fmla="*/ 2147483647 h 240"/>
                <a:gd name="T6" fmla="*/ 2147483647 w 262"/>
                <a:gd name="T7" fmla="*/ 2147483647 h 240"/>
                <a:gd name="T8" fmla="*/ 2147483647 w 262"/>
                <a:gd name="T9" fmla="*/ 2147483647 h 240"/>
                <a:gd name="T10" fmla="*/ 2147483647 w 262"/>
                <a:gd name="T11" fmla="*/ 2147483647 h 240"/>
                <a:gd name="T12" fmla="*/ 2147483647 w 262"/>
                <a:gd name="T13" fmla="*/ 2147483647 h 240"/>
                <a:gd name="T14" fmla="*/ 2147483647 w 262"/>
                <a:gd name="T15" fmla="*/ 2147483647 h 240"/>
                <a:gd name="T16" fmla="*/ 2147483647 w 262"/>
                <a:gd name="T17" fmla="*/ 2147483647 h 240"/>
                <a:gd name="T18" fmla="*/ 0 w 262"/>
                <a:gd name="T19" fmla="*/ 2147483647 h 240"/>
                <a:gd name="T20" fmla="*/ 0 w 262"/>
                <a:gd name="T21" fmla="*/ 2147483647 h 240"/>
                <a:gd name="T22" fmla="*/ 2147483647 w 262"/>
                <a:gd name="T23" fmla="*/ 2147483647 h 240"/>
                <a:gd name="T24" fmla="*/ 2147483647 w 262"/>
                <a:gd name="T25" fmla="*/ 2147483647 h 240"/>
                <a:gd name="T26" fmla="*/ 2147483647 w 262"/>
                <a:gd name="T27" fmla="*/ 2147483647 h 240"/>
                <a:gd name="T28" fmla="*/ 2147483647 w 262"/>
                <a:gd name="T29" fmla="*/ 2147483647 h 240"/>
                <a:gd name="T30" fmla="*/ 2147483647 w 262"/>
                <a:gd name="T31" fmla="*/ 2147483647 h 240"/>
                <a:gd name="T32" fmla="*/ 2147483647 w 262"/>
                <a:gd name="T33" fmla="*/ 2147483647 h 240"/>
                <a:gd name="T34" fmla="*/ 2147483647 w 262"/>
                <a:gd name="T35" fmla="*/ 2147483647 h 240"/>
                <a:gd name="T36" fmla="*/ 2147483647 w 262"/>
                <a:gd name="T37" fmla="*/ 2147483647 h 240"/>
                <a:gd name="T38" fmla="*/ 2147483647 w 262"/>
                <a:gd name="T39" fmla="*/ 2147483647 h 240"/>
                <a:gd name="T40" fmla="*/ 2147483647 w 262"/>
                <a:gd name="T41" fmla="*/ 2147483647 h 240"/>
                <a:gd name="T42" fmla="*/ 2147483647 w 262"/>
                <a:gd name="T43" fmla="*/ 2147483647 h 240"/>
                <a:gd name="T44" fmla="*/ 2147483647 w 262"/>
                <a:gd name="T45" fmla="*/ 0 h 240"/>
                <a:gd name="T46" fmla="*/ 2147483647 w 262"/>
                <a:gd name="T47" fmla="*/ 2147483647 h 240"/>
                <a:gd name="T48" fmla="*/ 2147483647 w 262"/>
                <a:gd name="T49" fmla="*/ 2147483647 h 240"/>
                <a:gd name="T50" fmla="*/ 2147483647 w 262"/>
                <a:gd name="T51" fmla="*/ 2147483647 h 240"/>
                <a:gd name="T52" fmla="*/ 2147483647 w 262"/>
                <a:gd name="T53" fmla="*/ 2147483647 h 240"/>
                <a:gd name="T54" fmla="*/ 2147483647 w 262"/>
                <a:gd name="T55" fmla="*/ 2147483647 h 240"/>
                <a:gd name="T56" fmla="*/ 2147483647 w 262"/>
                <a:gd name="T57" fmla="*/ 2147483647 h 240"/>
                <a:gd name="T58" fmla="*/ 2147483647 w 262"/>
                <a:gd name="T59" fmla="*/ 2147483647 h 240"/>
                <a:gd name="T60" fmla="*/ 2147483647 w 262"/>
                <a:gd name="T61" fmla="*/ 2147483647 h 240"/>
                <a:gd name="T62" fmla="*/ 2147483647 w 262"/>
                <a:gd name="T63" fmla="*/ 2147483647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2"/>
                <a:gd name="T97" fmla="*/ 0 h 240"/>
                <a:gd name="T98" fmla="*/ 262 w 262"/>
                <a:gd name="T99" fmla="*/ 240 h 2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2" h="240">
                  <a:moveTo>
                    <a:pt x="169" y="174"/>
                  </a:moveTo>
                  <a:lnTo>
                    <a:pt x="144" y="208"/>
                  </a:lnTo>
                  <a:lnTo>
                    <a:pt x="148" y="240"/>
                  </a:lnTo>
                  <a:lnTo>
                    <a:pt x="87" y="240"/>
                  </a:lnTo>
                  <a:lnTo>
                    <a:pt x="79" y="226"/>
                  </a:lnTo>
                  <a:lnTo>
                    <a:pt x="58" y="226"/>
                  </a:lnTo>
                  <a:lnTo>
                    <a:pt x="48" y="237"/>
                  </a:lnTo>
                  <a:lnTo>
                    <a:pt x="21" y="235"/>
                  </a:lnTo>
                  <a:lnTo>
                    <a:pt x="22" y="211"/>
                  </a:lnTo>
                  <a:lnTo>
                    <a:pt x="0" y="211"/>
                  </a:lnTo>
                  <a:lnTo>
                    <a:pt x="0" y="199"/>
                  </a:lnTo>
                  <a:lnTo>
                    <a:pt x="28" y="184"/>
                  </a:lnTo>
                  <a:lnTo>
                    <a:pt x="28" y="141"/>
                  </a:lnTo>
                  <a:lnTo>
                    <a:pt x="10" y="115"/>
                  </a:lnTo>
                  <a:lnTo>
                    <a:pt x="22" y="109"/>
                  </a:lnTo>
                  <a:lnTo>
                    <a:pt x="22" y="90"/>
                  </a:lnTo>
                  <a:lnTo>
                    <a:pt x="34" y="82"/>
                  </a:lnTo>
                  <a:lnTo>
                    <a:pt x="57" y="94"/>
                  </a:lnTo>
                  <a:lnTo>
                    <a:pt x="75" y="49"/>
                  </a:lnTo>
                  <a:lnTo>
                    <a:pt x="58" y="48"/>
                  </a:lnTo>
                  <a:lnTo>
                    <a:pt x="58" y="25"/>
                  </a:lnTo>
                  <a:lnTo>
                    <a:pt x="84" y="25"/>
                  </a:lnTo>
                  <a:lnTo>
                    <a:pt x="108" y="0"/>
                  </a:lnTo>
                  <a:lnTo>
                    <a:pt x="124" y="1"/>
                  </a:lnTo>
                  <a:lnTo>
                    <a:pt x="124" y="67"/>
                  </a:lnTo>
                  <a:lnTo>
                    <a:pt x="135" y="76"/>
                  </a:lnTo>
                  <a:lnTo>
                    <a:pt x="168" y="42"/>
                  </a:lnTo>
                  <a:lnTo>
                    <a:pt x="190" y="42"/>
                  </a:lnTo>
                  <a:lnTo>
                    <a:pt x="234" y="69"/>
                  </a:lnTo>
                  <a:lnTo>
                    <a:pt x="256" y="114"/>
                  </a:lnTo>
                  <a:lnTo>
                    <a:pt x="262" y="171"/>
                  </a:lnTo>
                  <a:lnTo>
                    <a:pt x="169" y="174"/>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20" name="Freeform 1788"/>
            <p:cNvSpPr>
              <a:spLocks/>
            </p:cNvSpPr>
            <p:nvPr/>
          </p:nvSpPr>
          <p:spPr bwMode="auto">
            <a:xfrm>
              <a:off x="4365625" y="5607128"/>
              <a:ext cx="115888" cy="142875"/>
            </a:xfrm>
            <a:custGeom>
              <a:avLst/>
              <a:gdLst>
                <a:gd name="T0" fmla="*/ 2147483647 w 73"/>
                <a:gd name="T1" fmla="*/ 2147483647 h 90"/>
                <a:gd name="T2" fmla="*/ 2147483647 w 73"/>
                <a:gd name="T3" fmla="*/ 2147483647 h 90"/>
                <a:gd name="T4" fmla="*/ 2147483647 w 73"/>
                <a:gd name="T5" fmla="*/ 2147483647 h 90"/>
                <a:gd name="T6" fmla="*/ 2147483647 w 73"/>
                <a:gd name="T7" fmla="*/ 2147483647 h 90"/>
                <a:gd name="T8" fmla="*/ 2147483647 w 73"/>
                <a:gd name="T9" fmla="*/ 0 h 90"/>
                <a:gd name="T10" fmla="*/ 0 w 73"/>
                <a:gd name="T11" fmla="*/ 2147483647 h 90"/>
                <a:gd name="T12" fmla="*/ 2147483647 w 73"/>
                <a:gd name="T13" fmla="*/ 2147483647 h 90"/>
                <a:gd name="T14" fmla="*/ 2147483647 w 73"/>
                <a:gd name="T15" fmla="*/ 2147483647 h 90"/>
                <a:gd name="T16" fmla="*/ 2147483647 w 73"/>
                <a:gd name="T17" fmla="*/ 2147483647 h 90"/>
                <a:gd name="T18" fmla="*/ 2147483647 w 73"/>
                <a:gd name="T19" fmla="*/ 2147483647 h 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90"/>
                <a:gd name="T32" fmla="*/ 73 w 73"/>
                <a:gd name="T33" fmla="*/ 90 h 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90">
                  <a:moveTo>
                    <a:pt x="40" y="90"/>
                  </a:moveTo>
                  <a:lnTo>
                    <a:pt x="73" y="39"/>
                  </a:lnTo>
                  <a:lnTo>
                    <a:pt x="67" y="15"/>
                  </a:lnTo>
                  <a:lnTo>
                    <a:pt x="46" y="20"/>
                  </a:lnTo>
                  <a:lnTo>
                    <a:pt x="18" y="0"/>
                  </a:lnTo>
                  <a:lnTo>
                    <a:pt x="0" y="15"/>
                  </a:lnTo>
                  <a:lnTo>
                    <a:pt x="6" y="51"/>
                  </a:lnTo>
                  <a:lnTo>
                    <a:pt x="21" y="62"/>
                  </a:lnTo>
                  <a:lnTo>
                    <a:pt x="25" y="87"/>
                  </a:lnTo>
                  <a:lnTo>
                    <a:pt x="40" y="9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21" name="Freeform 1789"/>
            <p:cNvSpPr>
              <a:spLocks/>
            </p:cNvSpPr>
            <p:nvPr/>
          </p:nvSpPr>
          <p:spPr bwMode="auto">
            <a:xfrm>
              <a:off x="3956050" y="4553028"/>
              <a:ext cx="133350" cy="115888"/>
            </a:xfrm>
            <a:custGeom>
              <a:avLst/>
              <a:gdLst>
                <a:gd name="T0" fmla="*/ 2147483647 w 84"/>
                <a:gd name="T1" fmla="*/ 2147483647 h 73"/>
                <a:gd name="T2" fmla="*/ 2147483647 w 84"/>
                <a:gd name="T3" fmla="*/ 2147483647 h 73"/>
                <a:gd name="T4" fmla="*/ 2147483647 w 84"/>
                <a:gd name="T5" fmla="*/ 2147483647 h 73"/>
                <a:gd name="T6" fmla="*/ 2147483647 w 84"/>
                <a:gd name="T7" fmla="*/ 0 h 73"/>
                <a:gd name="T8" fmla="*/ 2147483647 w 84"/>
                <a:gd name="T9" fmla="*/ 0 h 73"/>
                <a:gd name="T10" fmla="*/ 0 w 84"/>
                <a:gd name="T11" fmla="*/ 2147483647 h 73"/>
                <a:gd name="T12" fmla="*/ 0 w 84"/>
                <a:gd name="T13" fmla="*/ 2147483647 h 73"/>
                <a:gd name="T14" fmla="*/ 2147483647 w 84"/>
                <a:gd name="T15" fmla="*/ 2147483647 h 73"/>
                <a:gd name="T16" fmla="*/ 2147483647 w 84"/>
                <a:gd name="T17" fmla="*/ 2147483647 h 73"/>
                <a:gd name="T18" fmla="*/ 2147483647 w 84"/>
                <a:gd name="T19" fmla="*/ 2147483647 h 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4"/>
                <a:gd name="T31" fmla="*/ 0 h 73"/>
                <a:gd name="T32" fmla="*/ 84 w 84"/>
                <a:gd name="T33" fmla="*/ 73 h 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4" h="73">
                  <a:moveTo>
                    <a:pt x="70" y="73"/>
                  </a:moveTo>
                  <a:lnTo>
                    <a:pt x="84" y="54"/>
                  </a:lnTo>
                  <a:lnTo>
                    <a:pt x="57" y="13"/>
                  </a:lnTo>
                  <a:lnTo>
                    <a:pt x="52" y="0"/>
                  </a:lnTo>
                  <a:lnTo>
                    <a:pt x="40" y="0"/>
                  </a:lnTo>
                  <a:lnTo>
                    <a:pt x="0" y="15"/>
                  </a:lnTo>
                  <a:lnTo>
                    <a:pt x="0" y="33"/>
                  </a:lnTo>
                  <a:lnTo>
                    <a:pt x="19" y="37"/>
                  </a:lnTo>
                  <a:lnTo>
                    <a:pt x="48" y="58"/>
                  </a:lnTo>
                  <a:lnTo>
                    <a:pt x="70" y="73"/>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grpSp>
          <p:nvGrpSpPr>
            <p:cNvPr id="622" name="Group 1790"/>
            <p:cNvGrpSpPr>
              <a:grpSpLocks/>
            </p:cNvGrpSpPr>
            <p:nvPr/>
          </p:nvGrpSpPr>
          <p:grpSpPr bwMode="auto">
            <a:xfrm>
              <a:off x="3900488" y="2195591"/>
              <a:ext cx="547688" cy="228600"/>
              <a:chOff x="2525" y="1583"/>
              <a:chExt cx="345" cy="144"/>
            </a:xfrm>
          </p:grpSpPr>
          <p:sp>
            <p:nvSpPr>
              <p:cNvPr id="928" name="Freeform 1791"/>
              <p:cNvSpPr>
                <a:spLocks/>
              </p:cNvSpPr>
              <p:nvPr/>
            </p:nvSpPr>
            <p:spPr bwMode="auto">
              <a:xfrm>
                <a:off x="2525" y="1583"/>
                <a:ext cx="345" cy="144"/>
              </a:xfrm>
              <a:custGeom>
                <a:avLst/>
                <a:gdLst>
                  <a:gd name="T0" fmla="*/ 345 w 345"/>
                  <a:gd name="T1" fmla="*/ 144 h 144"/>
                  <a:gd name="T2" fmla="*/ 324 w 345"/>
                  <a:gd name="T3" fmla="*/ 90 h 144"/>
                  <a:gd name="T4" fmla="*/ 305 w 345"/>
                  <a:gd name="T5" fmla="*/ 63 h 144"/>
                  <a:gd name="T6" fmla="*/ 272 w 345"/>
                  <a:gd name="T7" fmla="*/ 20 h 144"/>
                  <a:gd name="T8" fmla="*/ 219 w 345"/>
                  <a:gd name="T9" fmla="*/ 2 h 144"/>
                  <a:gd name="T10" fmla="*/ 152 w 345"/>
                  <a:gd name="T11" fmla="*/ 6 h 144"/>
                  <a:gd name="T12" fmla="*/ 90 w 345"/>
                  <a:gd name="T13" fmla="*/ 20 h 144"/>
                  <a:gd name="T14" fmla="*/ 53 w 345"/>
                  <a:gd name="T15" fmla="*/ 32 h 144"/>
                  <a:gd name="T16" fmla="*/ 0 w 345"/>
                  <a:gd name="T17" fmla="*/ 32 h 1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5"/>
                  <a:gd name="T28" fmla="*/ 0 h 144"/>
                  <a:gd name="T29" fmla="*/ 345 w 345"/>
                  <a:gd name="T30" fmla="*/ 144 h 1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5" h="144">
                    <a:moveTo>
                      <a:pt x="345" y="144"/>
                    </a:moveTo>
                    <a:cubicBezTo>
                      <a:pt x="338" y="123"/>
                      <a:pt x="331" y="103"/>
                      <a:pt x="324" y="90"/>
                    </a:cubicBezTo>
                    <a:cubicBezTo>
                      <a:pt x="317" y="77"/>
                      <a:pt x="314" y="75"/>
                      <a:pt x="305" y="63"/>
                    </a:cubicBezTo>
                    <a:cubicBezTo>
                      <a:pt x="296" y="51"/>
                      <a:pt x="286" y="30"/>
                      <a:pt x="272" y="20"/>
                    </a:cubicBezTo>
                    <a:cubicBezTo>
                      <a:pt x="258" y="10"/>
                      <a:pt x="239" y="4"/>
                      <a:pt x="219" y="2"/>
                    </a:cubicBezTo>
                    <a:cubicBezTo>
                      <a:pt x="199" y="0"/>
                      <a:pt x="173" y="3"/>
                      <a:pt x="152" y="6"/>
                    </a:cubicBezTo>
                    <a:cubicBezTo>
                      <a:pt x="131" y="9"/>
                      <a:pt x="106" y="16"/>
                      <a:pt x="90" y="20"/>
                    </a:cubicBezTo>
                    <a:cubicBezTo>
                      <a:pt x="74" y="24"/>
                      <a:pt x="68" y="30"/>
                      <a:pt x="53" y="32"/>
                    </a:cubicBezTo>
                    <a:cubicBezTo>
                      <a:pt x="38" y="34"/>
                      <a:pt x="19" y="33"/>
                      <a:pt x="0" y="32"/>
                    </a:cubicBezTo>
                  </a:path>
                </a:pathLst>
              </a:custGeom>
              <a:noFill/>
              <a:ln w="9525" cap="flat"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929" name="Freeform 1792"/>
              <p:cNvSpPr>
                <a:spLocks/>
              </p:cNvSpPr>
              <p:nvPr/>
            </p:nvSpPr>
            <p:spPr bwMode="auto">
              <a:xfrm>
                <a:off x="2525" y="1583"/>
                <a:ext cx="345" cy="144"/>
              </a:xfrm>
              <a:custGeom>
                <a:avLst/>
                <a:gdLst>
                  <a:gd name="T0" fmla="*/ 345 w 345"/>
                  <a:gd name="T1" fmla="*/ 144 h 144"/>
                  <a:gd name="T2" fmla="*/ 324 w 345"/>
                  <a:gd name="T3" fmla="*/ 90 h 144"/>
                  <a:gd name="T4" fmla="*/ 305 w 345"/>
                  <a:gd name="T5" fmla="*/ 63 h 144"/>
                  <a:gd name="T6" fmla="*/ 272 w 345"/>
                  <a:gd name="T7" fmla="*/ 20 h 144"/>
                  <a:gd name="T8" fmla="*/ 219 w 345"/>
                  <a:gd name="T9" fmla="*/ 2 h 144"/>
                  <a:gd name="T10" fmla="*/ 152 w 345"/>
                  <a:gd name="T11" fmla="*/ 6 h 144"/>
                  <a:gd name="T12" fmla="*/ 90 w 345"/>
                  <a:gd name="T13" fmla="*/ 20 h 144"/>
                  <a:gd name="T14" fmla="*/ 53 w 345"/>
                  <a:gd name="T15" fmla="*/ 32 h 144"/>
                  <a:gd name="T16" fmla="*/ 0 w 345"/>
                  <a:gd name="T17" fmla="*/ 32 h 1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5"/>
                  <a:gd name="T28" fmla="*/ 0 h 144"/>
                  <a:gd name="T29" fmla="*/ 345 w 345"/>
                  <a:gd name="T30" fmla="*/ 144 h 1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5" h="144">
                    <a:moveTo>
                      <a:pt x="345" y="144"/>
                    </a:moveTo>
                    <a:cubicBezTo>
                      <a:pt x="338" y="123"/>
                      <a:pt x="331" y="103"/>
                      <a:pt x="324" y="90"/>
                    </a:cubicBezTo>
                    <a:cubicBezTo>
                      <a:pt x="317" y="77"/>
                      <a:pt x="314" y="75"/>
                      <a:pt x="305" y="63"/>
                    </a:cubicBezTo>
                    <a:cubicBezTo>
                      <a:pt x="296" y="51"/>
                      <a:pt x="286" y="30"/>
                      <a:pt x="272" y="20"/>
                    </a:cubicBezTo>
                    <a:cubicBezTo>
                      <a:pt x="258" y="10"/>
                      <a:pt x="239" y="4"/>
                      <a:pt x="219" y="2"/>
                    </a:cubicBezTo>
                    <a:cubicBezTo>
                      <a:pt x="199" y="0"/>
                      <a:pt x="173" y="3"/>
                      <a:pt x="152" y="6"/>
                    </a:cubicBezTo>
                    <a:cubicBezTo>
                      <a:pt x="131" y="9"/>
                      <a:pt x="106" y="16"/>
                      <a:pt x="90" y="20"/>
                    </a:cubicBezTo>
                    <a:cubicBezTo>
                      <a:pt x="74" y="24"/>
                      <a:pt x="68" y="30"/>
                      <a:pt x="53" y="32"/>
                    </a:cubicBezTo>
                    <a:cubicBezTo>
                      <a:pt x="38" y="34"/>
                      <a:pt x="19" y="33"/>
                      <a:pt x="0" y="32"/>
                    </a:cubicBezTo>
                  </a:path>
                </a:pathLst>
              </a:custGeom>
              <a:noFill/>
              <a:ln w="9525" cap="flat" cmpd="sng">
                <a:solidFill>
                  <a:srgbClr val="CC00FF"/>
                </a:solidFill>
                <a:prstDash val="lg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grpSp>
        <p:sp>
          <p:nvSpPr>
            <p:cNvPr id="623" name="Freeform 1793"/>
            <p:cNvSpPr>
              <a:spLocks/>
            </p:cNvSpPr>
            <p:nvPr/>
          </p:nvSpPr>
          <p:spPr bwMode="auto">
            <a:xfrm>
              <a:off x="6061075" y="5130878"/>
              <a:ext cx="923925" cy="1009650"/>
            </a:xfrm>
            <a:custGeom>
              <a:avLst/>
              <a:gdLst>
                <a:gd name="T0" fmla="*/ 0 w 582"/>
                <a:gd name="T1" fmla="*/ 2147483647 h 636"/>
                <a:gd name="T2" fmla="*/ 2147483647 w 582"/>
                <a:gd name="T3" fmla="*/ 2147483647 h 636"/>
                <a:gd name="T4" fmla="*/ 2147483647 w 582"/>
                <a:gd name="T5" fmla="*/ 2147483647 h 636"/>
                <a:gd name="T6" fmla="*/ 2147483647 w 582"/>
                <a:gd name="T7" fmla="*/ 2147483647 h 636"/>
                <a:gd name="T8" fmla="*/ 2147483647 w 582"/>
                <a:gd name="T9" fmla="*/ 2147483647 h 636"/>
                <a:gd name="T10" fmla="*/ 2147483647 w 582"/>
                <a:gd name="T11" fmla="*/ 2147483647 h 636"/>
                <a:gd name="T12" fmla="*/ 2147483647 w 582"/>
                <a:gd name="T13" fmla="*/ 2147483647 h 636"/>
                <a:gd name="T14" fmla="*/ 2147483647 w 582"/>
                <a:gd name="T15" fmla="*/ 2147483647 h 636"/>
                <a:gd name="T16" fmla="*/ 2147483647 w 582"/>
                <a:gd name="T17" fmla="*/ 2147483647 h 636"/>
                <a:gd name="T18" fmla="*/ 2147483647 w 582"/>
                <a:gd name="T19" fmla="*/ 2147483647 h 636"/>
                <a:gd name="T20" fmla="*/ 2147483647 w 582"/>
                <a:gd name="T21" fmla="*/ 2147483647 h 636"/>
                <a:gd name="T22" fmla="*/ 2147483647 w 582"/>
                <a:gd name="T23" fmla="*/ 2147483647 h 636"/>
                <a:gd name="T24" fmla="*/ 2147483647 w 582"/>
                <a:gd name="T25" fmla="*/ 2147483647 h 636"/>
                <a:gd name="T26" fmla="*/ 2147483647 w 582"/>
                <a:gd name="T27" fmla="*/ 2147483647 h 636"/>
                <a:gd name="T28" fmla="*/ 2147483647 w 582"/>
                <a:gd name="T29" fmla="*/ 2147483647 h 636"/>
                <a:gd name="T30" fmla="*/ 2147483647 w 582"/>
                <a:gd name="T31" fmla="*/ 2147483647 h 636"/>
                <a:gd name="T32" fmla="*/ 2147483647 w 582"/>
                <a:gd name="T33" fmla="*/ 0 h 6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2"/>
                <a:gd name="T52" fmla="*/ 0 h 636"/>
                <a:gd name="T53" fmla="*/ 582 w 582"/>
                <a:gd name="T54" fmla="*/ 636 h 6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2" h="636">
                  <a:moveTo>
                    <a:pt x="0" y="636"/>
                  </a:moveTo>
                  <a:cubicBezTo>
                    <a:pt x="11" y="620"/>
                    <a:pt x="22" y="604"/>
                    <a:pt x="36" y="585"/>
                  </a:cubicBezTo>
                  <a:cubicBezTo>
                    <a:pt x="50" y="566"/>
                    <a:pt x="70" y="537"/>
                    <a:pt x="82" y="522"/>
                  </a:cubicBezTo>
                  <a:cubicBezTo>
                    <a:pt x="94" y="507"/>
                    <a:pt x="98" y="503"/>
                    <a:pt x="108" y="494"/>
                  </a:cubicBezTo>
                  <a:cubicBezTo>
                    <a:pt x="118" y="485"/>
                    <a:pt x="126" y="476"/>
                    <a:pt x="141" y="467"/>
                  </a:cubicBezTo>
                  <a:cubicBezTo>
                    <a:pt x="156" y="458"/>
                    <a:pt x="179" y="446"/>
                    <a:pt x="198" y="440"/>
                  </a:cubicBezTo>
                  <a:cubicBezTo>
                    <a:pt x="217" y="434"/>
                    <a:pt x="236" y="435"/>
                    <a:pt x="255" y="431"/>
                  </a:cubicBezTo>
                  <a:cubicBezTo>
                    <a:pt x="274" y="427"/>
                    <a:pt x="292" y="422"/>
                    <a:pt x="313" y="416"/>
                  </a:cubicBezTo>
                  <a:cubicBezTo>
                    <a:pt x="334" y="410"/>
                    <a:pt x="362" y="404"/>
                    <a:pt x="382" y="392"/>
                  </a:cubicBezTo>
                  <a:cubicBezTo>
                    <a:pt x="402" y="380"/>
                    <a:pt x="417" y="359"/>
                    <a:pt x="435" y="342"/>
                  </a:cubicBezTo>
                  <a:cubicBezTo>
                    <a:pt x="453" y="325"/>
                    <a:pt x="475" y="306"/>
                    <a:pt x="493" y="291"/>
                  </a:cubicBezTo>
                  <a:cubicBezTo>
                    <a:pt x="511" y="276"/>
                    <a:pt x="527" y="268"/>
                    <a:pt x="541" y="254"/>
                  </a:cubicBezTo>
                  <a:cubicBezTo>
                    <a:pt x="555" y="240"/>
                    <a:pt x="572" y="224"/>
                    <a:pt x="577" y="206"/>
                  </a:cubicBezTo>
                  <a:cubicBezTo>
                    <a:pt x="582" y="188"/>
                    <a:pt x="576" y="166"/>
                    <a:pt x="571" y="146"/>
                  </a:cubicBezTo>
                  <a:cubicBezTo>
                    <a:pt x="566" y="126"/>
                    <a:pt x="556" y="100"/>
                    <a:pt x="549" y="83"/>
                  </a:cubicBezTo>
                  <a:cubicBezTo>
                    <a:pt x="542" y="66"/>
                    <a:pt x="536" y="59"/>
                    <a:pt x="529" y="45"/>
                  </a:cubicBezTo>
                  <a:cubicBezTo>
                    <a:pt x="522" y="31"/>
                    <a:pt x="513" y="15"/>
                    <a:pt x="504"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24" name="Freeform 1794"/>
            <p:cNvSpPr>
              <a:spLocks/>
            </p:cNvSpPr>
            <p:nvPr/>
          </p:nvSpPr>
          <p:spPr bwMode="auto">
            <a:xfrm>
              <a:off x="7275513" y="4402216"/>
              <a:ext cx="373063" cy="1462088"/>
            </a:xfrm>
            <a:custGeom>
              <a:avLst/>
              <a:gdLst>
                <a:gd name="T0" fmla="*/ 2147483647 w 235"/>
                <a:gd name="T1" fmla="*/ 2147483647 h 921"/>
                <a:gd name="T2" fmla="*/ 2147483647 w 235"/>
                <a:gd name="T3" fmla="*/ 2147483647 h 921"/>
                <a:gd name="T4" fmla="*/ 2147483647 w 235"/>
                <a:gd name="T5" fmla="*/ 2147483647 h 921"/>
                <a:gd name="T6" fmla="*/ 2147483647 w 235"/>
                <a:gd name="T7" fmla="*/ 2147483647 h 921"/>
                <a:gd name="T8" fmla="*/ 2147483647 w 235"/>
                <a:gd name="T9" fmla="*/ 2147483647 h 921"/>
                <a:gd name="T10" fmla="*/ 2147483647 w 235"/>
                <a:gd name="T11" fmla="*/ 2147483647 h 921"/>
                <a:gd name="T12" fmla="*/ 2147483647 w 235"/>
                <a:gd name="T13" fmla="*/ 2147483647 h 921"/>
                <a:gd name="T14" fmla="*/ 2147483647 w 235"/>
                <a:gd name="T15" fmla="*/ 2147483647 h 921"/>
                <a:gd name="T16" fmla="*/ 2147483647 w 235"/>
                <a:gd name="T17" fmla="*/ 2147483647 h 921"/>
                <a:gd name="T18" fmla="*/ 2147483647 w 235"/>
                <a:gd name="T19" fmla="*/ 2147483647 h 921"/>
                <a:gd name="T20" fmla="*/ 0 w 235"/>
                <a:gd name="T21" fmla="*/ 0 h 9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5"/>
                <a:gd name="T34" fmla="*/ 0 h 921"/>
                <a:gd name="T35" fmla="*/ 235 w 235"/>
                <a:gd name="T36" fmla="*/ 921 h 9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5" h="921">
                  <a:moveTo>
                    <a:pt x="235" y="921"/>
                  </a:moveTo>
                  <a:cubicBezTo>
                    <a:pt x="216" y="891"/>
                    <a:pt x="197" y="861"/>
                    <a:pt x="180" y="837"/>
                  </a:cubicBezTo>
                  <a:cubicBezTo>
                    <a:pt x="163" y="813"/>
                    <a:pt x="155" y="797"/>
                    <a:pt x="135" y="776"/>
                  </a:cubicBezTo>
                  <a:cubicBezTo>
                    <a:pt x="115" y="755"/>
                    <a:pt x="81" y="735"/>
                    <a:pt x="63" y="711"/>
                  </a:cubicBezTo>
                  <a:cubicBezTo>
                    <a:pt x="45" y="687"/>
                    <a:pt x="33" y="665"/>
                    <a:pt x="25" y="630"/>
                  </a:cubicBezTo>
                  <a:cubicBezTo>
                    <a:pt x="17" y="595"/>
                    <a:pt x="14" y="537"/>
                    <a:pt x="12" y="498"/>
                  </a:cubicBezTo>
                  <a:cubicBezTo>
                    <a:pt x="10" y="459"/>
                    <a:pt x="12" y="435"/>
                    <a:pt x="12" y="396"/>
                  </a:cubicBezTo>
                  <a:cubicBezTo>
                    <a:pt x="12" y="357"/>
                    <a:pt x="14" y="309"/>
                    <a:pt x="13" y="266"/>
                  </a:cubicBezTo>
                  <a:cubicBezTo>
                    <a:pt x="12" y="223"/>
                    <a:pt x="8" y="171"/>
                    <a:pt x="7" y="137"/>
                  </a:cubicBezTo>
                  <a:cubicBezTo>
                    <a:pt x="6" y="103"/>
                    <a:pt x="8" y="83"/>
                    <a:pt x="7" y="60"/>
                  </a:cubicBezTo>
                  <a:cubicBezTo>
                    <a:pt x="6" y="37"/>
                    <a:pt x="3" y="18"/>
                    <a:pt x="0"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25" name="Freeform 1795"/>
            <p:cNvSpPr>
              <a:spLocks/>
            </p:cNvSpPr>
            <p:nvPr/>
          </p:nvSpPr>
          <p:spPr bwMode="auto">
            <a:xfrm>
              <a:off x="5367338" y="4276803"/>
              <a:ext cx="147638" cy="95250"/>
            </a:xfrm>
            <a:custGeom>
              <a:avLst/>
              <a:gdLst>
                <a:gd name="T0" fmla="*/ 2147483647 w 93"/>
                <a:gd name="T1" fmla="*/ 2147483647 h 60"/>
                <a:gd name="T2" fmla="*/ 2147483647 w 93"/>
                <a:gd name="T3" fmla="*/ 2147483647 h 60"/>
                <a:gd name="T4" fmla="*/ 2147483647 w 93"/>
                <a:gd name="T5" fmla="*/ 0 h 60"/>
                <a:gd name="T6" fmla="*/ 0 w 93"/>
                <a:gd name="T7" fmla="*/ 2147483647 h 60"/>
                <a:gd name="T8" fmla="*/ 2147483647 w 93"/>
                <a:gd name="T9" fmla="*/ 2147483647 h 60"/>
                <a:gd name="T10" fmla="*/ 0 60000 65536"/>
                <a:gd name="T11" fmla="*/ 0 60000 65536"/>
                <a:gd name="T12" fmla="*/ 0 60000 65536"/>
                <a:gd name="T13" fmla="*/ 0 60000 65536"/>
                <a:gd name="T14" fmla="*/ 0 60000 65536"/>
                <a:gd name="T15" fmla="*/ 0 w 93"/>
                <a:gd name="T16" fmla="*/ 0 h 60"/>
                <a:gd name="T17" fmla="*/ 93 w 93"/>
                <a:gd name="T18" fmla="*/ 60 h 60"/>
              </a:gdLst>
              <a:ahLst/>
              <a:cxnLst>
                <a:cxn ang="T10">
                  <a:pos x="T0" y="T1"/>
                </a:cxn>
                <a:cxn ang="T11">
                  <a:pos x="T2" y="T3"/>
                </a:cxn>
                <a:cxn ang="T12">
                  <a:pos x="T4" y="T5"/>
                </a:cxn>
                <a:cxn ang="T13">
                  <a:pos x="T6" y="T7"/>
                </a:cxn>
                <a:cxn ang="T14">
                  <a:pos x="T8" y="T9"/>
                </a:cxn>
              </a:cxnLst>
              <a:rect l="T15" t="T16" r="T17" b="T18"/>
              <a:pathLst>
                <a:path w="93" h="60">
                  <a:moveTo>
                    <a:pt x="18" y="60"/>
                  </a:moveTo>
                  <a:lnTo>
                    <a:pt x="93" y="7"/>
                  </a:lnTo>
                  <a:lnTo>
                    <a:pt x="83" y="0"/>
                  </a:lnTo>
                  <a:lnTo>
                    <a:pt x="0" y="42"/>
                  </a:lnTo>
                  <a:lnTo>
                    <a:pt x="18" y="60"/>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26" name="Freeform 1796"/>
            <p:cNvSpPr>
              <a:spLocks/>
            </p:cNvSpPr>
            <p:nvPr/>
          </p:nvSpPr>
          <p:spPr bwMode="auto">
            <a:xfrm>
              <a:off x="5332413" y="4259341"/>
              <a:ext cx="168275" cy="84138"/>
            </a:xfrm>
            <a:custGeom>
              <a:avLst/>
              <a:gdLst>
                <a:gd name="T0" fmla="*/ 2147483647 w 106"/>
                <a:gd name="T1" fmla="*/ 2147483647 h 53"/>
                <a:gd name="T2" fmla="*/ 2147483647 w 106"/>
                <a:gd name="T3" fmla="*/ 2147483647 h 53"/>
                <a:gd name="T4" fmla="*/ 0 w 106"/>
                <a:gd name="T5" fmla="*/ 2147483647 h 53"/>
                <a:gd name="T6" fmla="*/ 2147483647 w 106"/>
                <a:gd name="T7" fmla="*/ 2147483647 h 53"/>
                <a:gd name="T8" fmla="*/ 2147483647 w 106"/>
                <a:gd name="T9" fmla="*/ 2147483647 h 53"/>
                <a:gd name="T10" fmla="*/ 2147483647 w 106"/>
                <a:gd name="T11" fmla="*/ 0 h 53"/>
                <a:gd name="T12" fmla="*/ 2147483647 w 106"/>
                <a:gd name="T13" fmla="*/ 2147483647 h 53"/>
                <a:gd name="T14" fmla="*/ 2147483647 w 106"/>
                <a:gd name="T15" fmla="*/ 2147483647 h 53"/>
                <a:gd name="T16" fmla="*/ 0 60000 65536"/>
                <a:gd name="T17" fmla="*/ 0 60000 65536"/>
                <a:gd name="T18" fmla="*/ 0 60000 65536"/>
                <a:gd name="T19" fmla="*/ 0 60000 65536"/>
                <a:gd name="T20" fmla="*/ 0 60000 65536"/>
                <a:gd name="T21" fmla="*/ 0 60000 65536"/>
                <a:gd name="T22" fmla="*/ 0 60000 65536"/>
                <a:gd name="T23" fmla="*/ 0 60000 65536"/>
                <a:gd name="T24" fmla="*/ 0 w 106"/>
                <a:gd name="T25" fmla="*/ 0 h 53"/>
                <a:gd name="T26" fmla="*/ 106 w 106"/>
                <a:gd name="T27" fmla="*/ 53 h 5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6" h="53">
                  <a:moveTo>
                    <a:pt x="106" y="8"/>
                  </a:moveTo>
                  <a:lnTo>
                    <a:pt x="21" y="53"/>
                  </a:lnTo>
                  <a:lnTo>
                    <a:pt x="0" y="39"/>
                  </a:lnTo>
                  <a:lnTo>
                    <a:pt x="25" y="24"/>
                  </a:lnTo>
                  <a:lnTo>
                    <a:pt x="30" y="8"/>
                  </a:lnTo>
                  <a:lnTo>
                    <a:pt x="60" y="0"/>
                  </a:lnTo>
                  <a:lnTo>
                    <a:pt x="72" y="8"/>
                  </a:lnTo>
                  <a:lnTo>
                    <a:pt x="106" y="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27" name="Freeform 1797"/>
            <p:cNvSpPr>
              <a:spLocks/>
            </p:cNvSpPr>
            <p:nvPr/>
          </p:nvSpPr>
          <p:spPr bwMode="auto">
            <a:xfrm>
              <a:off x="5486400" y="4292678"/>
              <a:ext cx="55563" cy="47625"/>
            </a:xfrm>
            <a:custGeom>
              <a:avLst/>
              <a:gdLst>
                <a:gd name="T0" fmla="*/ 0 w 35"/>
                <a:gd name="T1" fmla="*/ 2147483647 h 30"/>
                <a:gd name="T2" fmla="*/ 2147483647 w 35"/>
                <a:gd name="T3" fmla="*/ 0 h 30"/>
                <a:gd name="T4" fmla="*/ 2147483647 w 35"/>
                <a:gd name="T5" fmla="*/ 2147483647 h 30"/>
                <a:gd name="T6" fmla="*/ 2147483647 w 35"/>
                <a:gd name="T7" fmla="*/ 2147483647 h 30"/>
                <a:gd name="T8" fmla="*/ 0 w 35"/>
                <a:gd name="T9" fmla="*/ 2147483647 h 30"/>
                <a:gd name="T10" fmla="*/ 0 60000 65536"/>
                <a:gd name="T11" fmla="*/ 0 60000 65536"/>
                <a:gd name="T12" fmla="*/ 0 60000 65536"/>
                <a:gd name="T13" fmla="*/ 0 60000 65536"/>
                <a:gd name="T14" fmla="*/ 0 60000 65536"/>
                <a:gd name="T15" fmla="*/ 0 w 35"/>
                <a:gd name="T16" fmla="*/ 0 h 30"/>
                <a:gd name="T17" fmla="*/ 35 w 35"/>
                <a:gd name="T18" fmla="*/ 30 h 30"/>
              </a:gdLst>
              <a:ahLst/>
              <a:cxnLst>
                <a:cxn ang="T10">
                  <a:pos x="T0" y="T1"/>
                </a:cxn>
                <a:cxn ang="T11">
                  <a:pos x="T2" y="T3"/>
                </a:cxn>
                <a:cxn ang="T12">
                  <a:pos x="T4" y="T5"/>
                </a:cxn>
                <a:cxn ang="T13">
                  <a:pos x="T6" y="T7"/>
                </a:cxn>
                <a:cxn ang="T14">
                  <a:pos x="T8" y="T9"/>
                </a:cxn>
              </a:cxnLst>
              <a:rect l="T15" t="T16" r="T17" b="T18"/>
              <a:pathLst>
                <a:path w="35" h="30">
                  <a:moveTo>
                    <a:pt x="0" y="15"/>
                  </a:moveTo>
                  <a:lnTo>
                    <a:pt x="21" y="0"/>
                  </a:lnTo>
                  <a:lnTo>
                    <a:pt x="35" y="14"/>
                  </a:lnTo>
                  <a:lnTo>
                    <a:pt x="15" y="30"/>
                  </a:lnTo>
                  <a:lnTo>
                    <a:pt x="0" y="15"/>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28" name="Freeform 1799"/>
            <p:cNvSpPr>
              <a:spLocks/>
            </p:cNvSpPr>
            <p:nvPr/>
          </p:nvSpPr>
          <p:spPr bwMode="auto">
            <a:xfrm>
              <a:off x="5862638" y="4626053"/>
              <a:ext cx="138113" cy="141288"/>
            </a:xfrm>
            <a:custGeom>
              <a:avLst/>
              <a:gdLst>
                <a:gd name="T0" fmla="*/ 2147483647 w 87"/>
                <a:gd name="T1" fmla="*/ 2147483647 h 89"/>
                <a:gd name="T2" fmla="*/ 0 w 87"/>
                <a:gd name="T3" fmla="*/ 2147483647 h 89"/>
                <a:gd name="T4" fmla="*/ 2147483647 w 87"/>
                <a:gd name="T5" fmla="*/ 2147483647 h 89"/>
                <a:gd name="T6" fmla="*/ 2147483647 w 87"/>
                <a:gd name="T7" fmla="*/ 2147483647 h 89"/>
                <a:gd name="T8" fmla="*/ 2147483647 w 87"/>
                <a:gd name="T9" fmla="*/ 0 h 89"/>
                <a:gd name="T10" fmla="*/ 2147483647 w 87"/>
                <a:gd name="T11" fmla="*/ 2147483647 h 89"/>
                <a:gd name="T12" fmla="*/ 2147483647 w 87"/>
                <a:gd name="T13" fmla="*/ 2147483647 h 89"/>
                <a:gd name="T14" fmla="*/ 2147483647 w 87"/>
                <a:gd name="T15" fmla="*/ 2147483647 h 89"/>
                <a:gd name="T16" fmla="*/ 2147483647 w 87"/>
                <a:gd name="T17" fmla="*/ 2147483647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89"/>
                <a:gd name="T29" fmla="*/ 87 w 87"/>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89">
                  <a:moveTo>
                    <a:pt x="66" y="89"/>
                  </a:moveTo>
                  <a:lnTo>
                    <a:pt x="0" y="47"/>
                  </a:lnTo>
                  <a:lnTo>
                    <a:pt x="14" y="33"/>
                  </a:lnTo>
                  <a:lnTo>
                    <a:pt x="21" y="41"/>
                  </a:lnTo>
                  <a:lnTo>
                    <a:pt x="56" y="0"/>
                  </a:lnTo>
                  <a:lnTo>
                    <a:pt x="69" y="5"/>
                  </a:lnTo>
                  <a:lnTo>
                    <a:pt x="63" y="23"/>
                  </a:lnTo>
                  <a:lnTo>
                    <a:pt x="87" y="51"/>
                  </a:lnTo>
                  <a:lnTo>
                    <a:pt x="66" y="89"/>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29" name="Freeform 1800"/>
            <p:cNvSpPr>
              <a:spLocks/>
            </p:cNvSpPr>
            <p:nvPr/>
          </p:nvSpPr>
          <p:spPr bwMode="auto">
            <a:xfrm>
              <a:off x="719138" y="5086428"/>
              <a:ext cx="60325" cy="58738"/>
            </a:xfrm>
            <a:custGeom>
              <a:avLst/>
              <a:gdLst>
                <a:gd name="T0" fmla="*/ 2147483647 w 38"/>
                <a:gd name="T1" fmla="*/ 2147483647 h 37"/>
                <a:gd name="T2" fmla="*/ 2147483647 w 38"/>
                <a:gd name="T3" fmla="*/ 2147483647 h 37"/>
                <a:gd name="T4" fmla="*/ 0 w 38"/>
                <a:gd name="T5" fmla="*/ 2147483647 h 37"/>
                <a:gd name="T6" fmla="*/ 2147483647 w 38"/>
                <a:gd name="T7" fmla="*/ 0 h 37"/>
                <a:gd name="T8" fmla="*/ 2147483647 w 38"/>
                <a:gd name="T9" fmla="*/ 2147483647 h 37"/>
                <a:gd name="T10" fmla="*/ 0 60000 65536"/>
                <a:gd name="T11" fmla="*/ 0 60000 65536"/>
                <a:gd name="T12" fmla="*/ 0 60000 65536"/>
                <a:gd name="T13" fmla="*/ 0 60000 65536"/>
                <a:gd name="T14" fmla="*/ 0 60000 65536"/>
                <a:gd name="T15" fmla="*/ 0 w 38"/>
                <a:gd name="T16" fmla="*/ 0 h 37"/>
                <a:gd name="T17" fmla="*/ 38 w 38"/>
                <a:gd name="T18" fmla="*/ 37 h 37"/>
              </a:gdLst>
              <a:ahLst/>
              <a:cxnLst>
                <a:cxn ang="T10">
                  <a:pos x="T0" y="T1"/>
                </a:cxn>
                <a:cxn ang="T11">
                  <a:pos x="T2" y="T3"/>
                </a:cxn>
                <a:cxn ang="T12">
                  <a:pos x="T4" y="T5"/>
                </a:cxn>
                <a:cxn ang="T13">
                  <a:pos x="T6" y="T7"/>
                </a:cxn>
                <a:cxn ang="T14">
                  <a:pos x="T8" y="T9"/>
                </a:cxn>
              </a:cxnLst>
              <a:rect l="T15" t="T16" r="T17" b="T18"/>
              <a:pathLst>
                <a:path w="38" h="37">
                  <a:moveTo>
                    <a:pt x="38" y="21"/>
                  </a:moveTo>
                  <a:lnTo>
                    <a:pt x="14" y="37"/>
                  </a:lnTo>
                  <a:lnTo>
                    <a:pt x="0" y="21"/>
                  </a:lnTo>
                  <a:lnTo>
                    <a:pt x="21" y="0"/>
                  </a:lnTo>
                  <a:lnTo>
                    <a:pt x="38" y="21"/>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0" name="Freeform 1801"/>
            <p:cNvSpPr>
              <a:spLocks/>
            </p:cNvSpPr>
            <p:nvPr/>
          </p:nvSpPr>
          <p:spPr bwMode="auto">
            <a:xfrm>
              <a:off x="2085975" y="3916441"/>
              <a:ext cx="88900" cy="79375"/>
            </a:xfrm>
            <a:custGeom>
              <a:avLst/>
              <a:gdLst>
                <a:gd name="T0" fmla="*/ 0 w 56"/>
                <a:gd name="T1" fmla="*/ 2147483647 h 50"/>
                <a:gd name="T2" fmla="*/ 2147483647 w 56"/>
                <a:gd name="T3" fmla="*/ 2147483647 h 50"/>
                <a:gd name="T4" fmla="*/ 2147483647 w 56"/>
                <a:gd name="T5" fmla="*/ 0 h 50"/>
                <a:gd name="T6" fmla="*/ 2147483647 w 56"/>
                <a:gd name="T7" fmla="*/ 2147483647 h 50"/>
                <a:gd name="T8" fmla="*/ 2147483647 w 56"/>
                <a:gd name="T9" fmla="*/ 2147483647 h 50"/>
                <a:gd name="T10" fmla="*/ 0 w 56"/>
                <a:gd name="T11" fmla="*/ 2147483647 h 50"/>
                <a:gd name="T12" fmla="*/ 0 60000 65536"/>
                <a:gd name="T13" fmla="*/ 0 60000 65536"/>
                <a:gd name="T14" fmla="*/ 0 60000 65536"/>
                <a:gd name="T15" fmla="*/ 0 60000 65536"/>
                <a:gd name="T16" fmla="*/ 0 60000 65536"/>
                <a:gd name="T17" fmla="*/ 0 60000 65536"/>
                <a:gd name="T18" fmla="*/ 0 w 56"/>
                <a:gd name="T19" fmla="*/ 0 h 50"/>
                <a:gd name="T20" fmla="*/ 56 w 56"/>
                <a:gd name="T21" fmla="*/ 50 h 50"/>
              </a:gdLst>
              <a:ahLst/>
              <a:cxnLst>
                <a:cxn ang="T12">
                  <a:pos x="T0" y="T1"/>
                </a:cxn>
                <a:cxn ang="T13">
                  <a:pos x="T2" y="T3"/>
                </a:cxn>
                <a:cxn ang="T14">
                  <a:pos x="T4" y="T5"/>
                </a:cxn>
                <a:cxn ang="T15">
                  <a:pos x="T6" y="T7"/>
                </a:cxn>
                <a:cxn ang="T16">
                  <a:pos x="T8" y="T9"/>
                </a:cxn>
                <a:cxn ang="T17">
                  <a:pos x="T10" y="T11"/>
                </a:cxn>
              </a:cxnLst>
              <a:rect l="T18" t="T19" r="T20" b="T21"/>
              <a:pathLst>
                <a:path w="56" h="50">
                  <a:moveTo>
                    <a:pt x="0" y="42"/>
                  </a:moveTo>
                  <a:lnTo>
                    <a:pt x="5" y="8"/>
                  </a:lnTo>
                  <a:lnTo>
                    <a:pt x="30" y="0"/>
                  </a:lnTo>
                  <a:lnTo>
                    <a:pt x="56" y="35"/>
                  </a:lnTo>
                  <a:lnTo>
                    <a:pt x="39" y="50"/>
                  </a:lnTo>
                  <a:lnTo>
                    <a:pt x="0" y="42"/>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1" name="Freeform 1802"/>
            <p:cNvSpPr>
              <a:spLocks/>
            </p:cNvSpPr>
            <p:nvPr/>
          </p:nvSpPr>
          <p:spPr bwMode="auto">
            <a:xfrm>
              <a:off x="6251575" y="5726191"/>
              <a:ext cx="50800" cy="85725"/>
            </a:xfrm>
            <a:custGeom>
              <a:avLst/>
              <a:gdLst>
                <a:gd name="T0" fmla="*/ 2147483647 w 32"/>
                <a:gd name="T1" fmla="*/ 2147483647 h 54"/>
                <a:gd name="T2" fmla="*/ 2147483647 w 32"/>
                <a:gd name="T3" fmla="*/ 2147483647 h 54"/>
                <a:gd name="T4" fmla="*/ 2147483647 w 32"/>
                <a:gd name="T5" fmla="*/ 2147483647 h 54"/>
                <a:gd name="T6" fmla="*/ 2147483647 w 32"/>
                <a:gd name="T7" fmla="*/ 2147483647 h 54"/>
                <a:gd name="T8" fmla="*/ 2147483647 w 32"/>
                <a:gd name="T9" fmla="*/ 2147483647 h 54"/>
                <a:gd name="T10" fmla="*/ 2147483647 w 32"/>
                <a:gd name="T11" fmla="*/ 2147483647 h 54"/>
                <a:gd name="T12" fmla="*/ 2147483647 w 32"/>
                <a:gd name="T13" fmla="*/ 2147483647 h 54"/>
                <a:gd name="T14" fmla="*/ 2147483647 w 32"/>
                <a:gd name="T15" fmla="*/ 2147483647 h 54"/>
                <a:gd name="T16" fmla="*/ 2147483647 w 32"/>
                <a:gd name="T17" fmla="*/ 2147483647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54"/>
                <a:gd name="T29" fmla="*/ 32 w 32"/>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54">
                  <a:moveTo>
                    <a:pt x="13" y="51"/>
                  </a:moveTo>
                  <a:cubicBezTo>
                    <a:pt x="18" y="48"/>
                    <a:pt x="30" y="35"/>
                    <a:pt x="31" y="30"/>
                  </a:cubicBezTo>
                  <a:cubicBezTo>
                    <a:pt x="32" y="25"/>
                    <a:pt x="24" y="22"/>
                    <a:pt x="22" y="18"/>
                  </a:cubicBezTo>
                  <a:cubicBezTo>
                    <a:pt x="20" y="14"/>
                    <a:pt x="23" y="8"/>
                    <a:pt x="21" y="5"/>
                  </a:cubicBezTo>
                  <a:cubicBezTo>
                    <a:pt x="19" y="2"/>
                    <a:pt x="13" y="0"/>
                    <a:pt x="10" y="2"/>
                  </a:cubicBezTo>
                  <a:cubicBezTo>
                    <a:pt x="7" y="4"/>
                    <a:pt x="3" y="13"/>
                    <a:pt x="3" y="17"/>
                  </a:cubicBezTo>
                  <a:cubicBezTo>
                    <a:pt x="3" y="21"/>
                    <a:pt x="9" y="22"/>
                    <a:pt x="9" y="27"/>
                  </a:cubicBezTo>
                  <a:cubicBezTo>
                    <a:pt x="9" y="32"/>
                    <a:pt x="0" y="42"/>
                    <a:pt x="1" y="45"/>
                  </a:cubicBezTo>
                  <a:cubicBezTo>
                    <a:pt x="2" y="48"/>
                    <a:pt x="8" y="54"/>
                    <a:pt x="13" y="51"/>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2" name="Freeform 1803"/>
            <p:cNvSpPr>
              <a:spLocks/>
            </p:cNvSpPr>
            <p:nvPr/>
          </p:nvSpPr>
          <p:spPr bwMode="auto">
            <a:xfrm>
              <a:off x="6197600" y="5691266"/>
              <a:ext cx="53975" cy="55563"/>
            </a:xfrm>
            <a:custGeom>
              <a:avLst/>
              <a:gdLst>
                <a:gd name="T0" fmla="*/ 2147483647 w 34"/>
                <a:gd name="T1" fmla="*/ 2147483647 h 35"/>
                <a:gd name="T2" fmla="*/ 2147483647 w 34"/>
                <a:gd name="T3" fmla="*/ 2147483647 h 35"/>
                <a:gd name="T4" fmla="*/ 2147483647 w 34"/>
                <a:gd name="T5" fmla="*/ 0 h 35"/>
                <a:gd name="T6" fmla="*/ 2147483647 w 34"/>
                <a:gd name="T7" fmla="*/ 2147483647 h 35"/>
                <a:gd name="T8" fmla="*/ 2147483647 w 34"/>
                <a:gd name="T9" fmla="*/ 2147483647 h 35"/>
                <a:gd name="T10" fmla="*/ 2147483647 w 34"/>
                <a:gd name="T11" fmla="*/ 2147483647 h 35"/>
                <a:gd name="T12" fmla="*/ 2147483647 w 34"/>
                <a:gd name="T13" fmla="*/ 2147483647 h 35"/>
                <a:gd name="T14" fmla="*/ 0 60000 65536"/>
                <a:gd name="T15" fmla="*/ 0 60000 65536"/>
                <a:gd name="T16" fmla="*/ 0 60000 65536"/>
                <a:gd name="T17" fmla="*/ 0 60000 65536"/>
                <a:gd name="T18" fmla="*/ 0 60000 65536"/>
                <a:gd name="T19" fmla="*/ 0 60000 65536"/>
                <a:gd name="T20" fmla="*/ 0 60000 65536"/>
                <a:gd name="T21" fmla="*/ 0 w 34"/>
                <a:gd name="T22" fmla="*/ 0 h 35"/>
                <a:gd name="T23" fmla="*/ 34 w 34"/>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5">
                  <a:moveTo>
                    <a:pt x="29" y="28"/>
                  </a:moveTo>
                  <a:cubicBezTo>
                    <a:pt x="33" y="24"/>
                    <a:pt x="34" y="12"/>
                    <a:pt x="34" y="7"/>
                  </a:cubicBezTo>
                  <a:cubicBezTo>
                    <a:pt x="34" y="2"/>
                    <a:pt x="29" y="0"/>
                    <a:pt x="26" y="0"/>
                  </a:cubicBezTo>
                  <a:cubicBezTo>
                    <a:pt x="23" y="0"/>
                    <a:pt x="21" y="8"/>
                    <a:pt x="17" y="10"/>
                  </a:cubicBezTo>
                  <a:cubicBezTo>
                    <a:pt x="13" y="12"/>
                    <a:pt x="4" y="11"/>
                    <a:pt x="2" y="15"/>
                  </a:cubicBezTo>
                  <a:cubicBezTo>
                    <a:pt x="0" y="19"/>
                    <a:pt x="4" y="31"/>
                    <a:pt x="8" y="33"/>
                  </a:cubicBezTo>
                  <a:cubicBezTo>
                    <a:pt x="12" y="35"/>
                    <a:pt x="25" y="29"/>
                    <a:pt x="29" y="28"/>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3" name="Freeform 1804"/>
            <p:cNvSpPr>
              <a:spLocks/>
            </p:cNvSpPr>
            <p:nvPr/>
          </p:nvSpPr>
          <p:spPr bwMode="auto">
            <a:xfrm>
              <a:off x="6461125" y="5827791"/>
              <a:ext cx="95250" cy="52388"/>
            </a:xfrm>
            <a:custGeom>
              <a:avLst/>
              <a:gdLst>
                <a:gd name="T0" fmla="*/ 2147483647 w 60"/>
                <a:gd name="T1" fmla="*/ 2147483647 h 33"/>
                <a:gd name="T2" fmla="*/ 2147483647 w 60"/>
                <a:gd name="T3" fmla="*/ 2147483647 h 33"/>
                <a:gd name="T4" fmla="*/ 2147483647 w 60"/>
                <a:gd name="T5" fmla="*/ 2147483647 h 33"/>
                <a:gd name="T6" fmla="*/ 2147483647 w 60"/>
                <a:gd name="T7" fmla="*/ 2147483647 h 33"/>
                <a:gd name="T8" fmla="*/ 0 w 60"/>
                <a:gd name="T9" fmla="*/ 2147483647 h 33"/>
                <a:gd name="T10" fmla="*/ 2147483647 w 60"/>
                <a:gd name="T11" fmla="*/ 2147483647 h 33"/>
                <a:gd name="T12" fmla="*/ 2147483647 w 60"/>
                <a:gd name="T13" fmla="*/ 2147483647 h 33"/>
                <a:gd name="T14" fmla="*/ 2147483647 w 60"/>
                <a:gd name="T15" fmla="*/ 2147483647 h 33"/>
                <a:gd name="T16" fmla="*/ 2147483647 w 60"/>
                <a:gd name="T17" fmla="*/ 2147483647 h 33"/>
                <a:gd name="T18" fmla="*/ 2147483647 w 60"/>
                <a:gd name="T19" fmla="*/ 2147483647 h 33"/>
                <a:gd name="T20" fmla="*/ 2147483647 w 60"/>
                <a:gd name="T21" fmla="*/ 2147483647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0"/>
                <a:gd name="T34" fmla="*/ 0 h 33"/>
                <a:gd name="T35" fmla="*/ 60 w 60"/>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0" h="33">
                  <a:moveTo>
                    <a:pt x="45" y="23"/>
                  </a:moveTo>
                  <a:cubicBezTo>
                    <a:pt x="40" y="25"/>
                    <a:pt x="35" y="31"/>
                    <a:pt x="31" y="32"/>
                  </a:cubicBezTo>
                  <a:cubicBezTo>
                    <a:pt x="27" y="33"/>
                    <a:pt x="21" y="31"/>
                    <a:pt x="18" y="29"/>
                  </a:cubicBezTo>
                  <a:cubicBezTo>
                    <a:pt x="15" y="27"/>
                    <a:pt x="13" y="22"/>
                    <a:pt x="10" y="19"/>
                  </a:cubicBezTo>
                  <a:cubicBezTo>
                    <a:pt x="7" y="16"/>
                    <a:pt x="0" y="13"/>
                    <a:pt x="0" y="11"/>
                  </a:cubicBezTo>
                  <a:cubicBezTo>
                    <a:pt x="0" y="9"/>
                    <a:pt x="5" y="7"/>
                    <a:pt x="9" y="5"/>
                  </a:cubicBezTo>
                  <a:cubicBezTo>
                    <a:pt x="13" y="3"/>
                    <a:pt x="21" y="0"/>
                    <a:pt x="25" y="1"/>
                  </a:cubicBezTo>
                  <a:cubicBezTo>
                    <a:pt x="29" y="2"/>
                    <a:pt x="31" y="13"/>
                    <a:pt x="34" y="13"/>
                  </a:cubicBezTo>
                  <a:cubicBezTo>
                    <a:pt x="37" y="13"/>
                    <a:pt x="42" y="1"/>
                    <a:pt x="46" y="2"/>
                  </a:cubicBezTo>
                  <a:cubicBezTo>
                    <a:pt x="50" y="3"/>
                    <a:pt x="60" y="15"/>
                    <a:pt x="60" y="19"/>
                  </a:cubicBezTo>
                  <a:cubicBezTo>
                    <a:pt x="60" y="23"/>
                    <a:pt x="50" y="21"/>
                    <a:pt x="45" y="23"/>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4" name="Freeform 1805"/>
            <p:cNvSpPr>
              <a:spLocks/>
            </p:cNvSpPr>
            <p:nvPr/>
          </p:nvSpPr>
          <p:spPr bwMode="auto">
            <a:xfrm>
              <a:off x="6394450" y="5754766"/>
              <a:ext cx="23813" cy="47625"/>
            </a:xfrm>
            <a:custGeom>
              <a:avLst/>
              <a:gdLst>
                <a:gd name="T0" fmla="*/ 2147483647 w 15"/>
                <a:gd name="T1" fmla="*/ 2147483647 h 30"/>
                <a:gd name="T2" fmla="*/ 2147483647 w 15"/>
                <a:gd name="T3" fmla="*/ 2147483647 h 30"/>
                <a:gd name="T4" fmla="*/ 2147483647 w 15"/>
                <a:gd name="T5" fmla="*/ 0 h 30"/>
                <a:gd name="T6" fmla="*/ 2147483647 w 15"/>
                <a:gd name="T7" fmla="*/ 2147483647 h 30"/>
                <a:gd name="T8" fmla="*/ 2147483647 w 15"/>
                <a:gd name="T9" fmla="*/ 2147483647 h 30"/>
                <a:gd name="T10" fmla="*/ 0 60000 65536"/>
                <a:gd name="T11" fmla="*/ 0 60000 65536"/>
                <a:gd name="T12" fmla="*/ 0 60000 65536"/>
                <a:gd name="T13" fmla="*/ 0 60000 65536"/>
                <a:gd name="T14" fmla="*/ 0 60000 65536"/>
                <a:gd name="T15" fmla="*/ 0 w 15"/>
                <a:gd name="T16" fmla="*/ 0 h 30"/>
                <a:gd name="T17" fmla="*/ 15 w 15"/>
                <a:gd name="T18" fmla="*/ 30 h 30"/>
              </a:gdLst>
              <a:ahLst/>
              <a:cxnLst>
                <a:cxn ang="T10">
                  <a:pos x="T0" y="T1"/>
                </a:cxn>
                <a:cxn ang="T11">
                  <a:pos x="T2" y="T3"/>
                </a:cxn>
                <a:cxn ang="T12">
                  <a:pos x="T4" y="T5"/>
                </a:cxn>
                <a:cxn ang="T13">
                  <a:pos x="T6" y="T7"/>
                </a:cxn>
                <a:cxn ang="T14">
                  <a:pos x="T8" y="T9"/>
                </a:cxn>
              </a:cxnLst>
              <a:rect l="T15" t="T16" r="T17" b="T18"/>
              <a:pathLst>
                <a:path w="15" h="30">
                  <a:moveTo>
                    <a:pt x="3" y="30"/>
                  </a:moveTo>
                  <a:cubicBezTo>
                    <a:pt x="5" y="30"/>
                    <a:pt x="11" y="20"/>
                    <a:pt x="13" y="15"/>
                  </a:cubicBezTo>
                  <a:cubicBezTo>
                    <a:pt x="15" y="10"/>
                    <a:pt x="15" y="0"/>
                    <a:pt x="13" y="0"/>
                  </a:cubicBezTo>
                  <a:cubicBezTo>
                    <a:pt x="11" y="0"/>
                    <a:pt x="6" y="8"/>
                    <a:pt x="3" y="12"/>
                  </a:cubicBezTo>
                  <a:cubicBezTo>
                    <a:pt x="0" y="16"/>
                    <a:pt x="1" y="30"/>
                    <a:pt x="3" y="30"/>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5" name="Freeform 1806"/>
            <p:cNvSpPr>
              <a:spLocks/>
            </p:cNvSpPr>
            <p:nvPr/>
          </p:nvSpPr>
          <p:spPr bwMode="auto">
            <a:xfrm>
              <a:off x="6305550" y="5586491"/>
              <a:ext cx="36513" cy="60325"/>
            </a:xfrm>
            <a:custGeom>
              <a:avLst/>
              <a:gdLst>
                <a:gd name="T0" fmla="*/ 2147483647 w 23"/>
                <a:gd name="T1" fmla="*/ 2147483647 h 38"/>
                <a:gd name="T2" fmla="*/ 2147483647 w 23"/>
                <a:gd name="T3" fmla="*/ 2147483647 h 38"/>
                <a:gd name="T4" fmla="*/ 2147483647 w 23"/>
                <a:gd name="T5" fmla="*/ 2147483647 h 38"/>
                <a:gd name="T6" fmla="*/ 2147483647 w 23"/>
                <a:gd name="T7" fmla="*/ 2147483647 h 38"/>
                <a:gd name="T8" fmla="*/ 2147483647 w 23"/>
                <a:gd name="T9" fmla="*/ 2147483647 h 38"/>
                <a:gd name="T10" fmla="*/ 2147483647 w 23"/>
                <a:gd name="T11" fmla="*/ 2147483647 h 38"/>
                <a:gd name="T12" fmla="*/ 0 60000 65536"/>
                <a:gd name="T13" fmla="*/ 0 60000 65536"/>
                <a:gd name="T14" fmla="*/ 0 60000 65536"/>
                <a:gd name="T15" fmla="*/ 0 60000 65536"/>
                <a:gd name="T16" fmla="*/ 0 60000 65536"/>
                <a:gd name="T17" fmla="*/ 0 60000 65536"/>
                <a:gd name="T18" fmla="*/ 0 w 23"/>
                <a:gd name="T19" fmla="*/ 0 h 38"/>
                <a:gd name="T20" fmla="*/ 23 w 23"/>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23" h="38">
                  <a:moveTo>
                    <a:pt x="20" y="36"/>
                  </a:moveTo>
                  <a:cubicBezTo>
                    <a:pt x="17" y="38"/>
                    <a:pt x="6" y="34"/>
                    <a:pt x="3" y="30"/>
                  </a:cubicBezTo>
                  <a:cubicBezTo>
                    <a:pt x="0" y="26"/>
                    <a:pt x="1" y="15"/>
                    <a:pt x="2" y="10"/>
                  </a:cubicBezTo>
                  <a:cubicBezTo>
                    <a:pt x="3" y="5"/>
                    <a:pt x="8" y="0"/>
                    <a:pt x="11" y="1"/>
                  </a:cubicBezTo>
                  <a:cubicBezTo>
                    <a:pt x="14" y="2"/>
                    <a:pt x="20" y="10"/>
                    <a:pt x="21" y="15"/>
                  </a:cubicBezTo>
                  <a:cubicBezTo>
                    <a:pt x="22" y="20"/>
                    <a:pt x="23" y="34"/>
                    <a:pt x="20" y="36"/>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6" name="Freeform 1807"/>
            <p:cNvSpPr>
              <a:spLocks/>
            </p:cNvSpPr>
            <p:nvPr/>
          </p:nvSpPr>
          <p:spPr bwMode="auto">
            <a:xfrm>
              <a:off x="6223000" y="5513466"/>
              <a:ext cx="92075" cy="96838"/>
            </a:xfrm>
            <a:custGeom>
              <a:avLst/>
              <a:gdLst>
                <a:gd name="T0" fmla="*/ 2147483647 w 58"/>
                <a:gd name="T1" fmla="*/ 2147483647 h 61"/>
                <a:gd name="T2" fmla="*/ 2147483647 w 58"/>
                <a:gd name="T3" fmla="*/ 2147483647 h 61"/>
                <a:gd name="T4" fmla="*/ 2147483647 w 58"/>
                <a:gd name="T5" fmla="*/ 2147483647 h 61"/>
                <a:gd name="T6" fmla="*/ 2147483647 w 58"/>
                <a:gd name="T7" fmla="*/ 2147483647 h 61"/>
                <a:gd name="T8" fmla="*/ 2147483647 w 58"/>
                <a:gd name="T9" fmla="*/ 2147483647 h 61"/>
                <a:gd name="T10" fmla="*/ 2147483647 w 58"/>
                <a:gd name="T11" fmla="*/ 2147483647 h 61"/>
                <a:gd name="T12" fmla="*/ 2147483647 w 58"/>
                <a:gd name="T13" fmla="*/ 2147483647 h 61"/>
                <a:gd name="T14" fmla="*/ 2147483647 w 58"/>
                <a:gd name="T15" fmla="*/ 2147483647 h 61"/>
                <a:gd name="T16" fmla="*/ 0 w 58"/>
                <a:gd name="T17" fmla="*/ 2147483647 h 61"/>
                <a:gd name="T18" fmla="*/ 2147483647 w 58"/>
                <a:gd name="T19" fmla="*/ 2147483647 h 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
                <a:gd name="T31" fmla="*/ 0 h 61"/>
                <a:gd name="T32" fmla="*/ 58 w 58"/>
                <a:gd name="T33" fmla="*/ 61 h 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 h="61">
                  <a:moveTo>
                    <a:pt x="10" y="58"/>
                  </a:moveTo>
                  <a:cubicBezTo>
                    <a:pt x="17" y="55"/>
                    <a:pt x="35" y="39"/>
                    <a:pt x="43" y="32"/>
                  </a:cubicBezTo>
                  <a:cubicBezTo>
                    <a:pt x="51" y="25"/>
                    <a:pt x="58" y="22"/>
                    <a:pt x="58" y="19"/>
                  </a:cubicBezTo>
                  <a:cubicBezTo>
                    <a:pt x="58" y="16"/>
                    <a:pt x="50" y="14"/>
                    <a:pt x="46" y="11"/>
                  </a:cubicBezTo>
                  <a:cubicBezTo>
                    <a:pt x="42" y="8"/>
                    <a:pt x="38" y="2"/>
                    <a:pt x="33" y="1"/>
                  </a:cubicBezTo>
                  <a:cubicBezTo>
                    <a:pt x="28" y="0"/>
                    <a:pt x="20" y="0"/>
                    <a:pt x="18" y="4"/>
                  </a:cubicBezTo>
                  <a:cubicBezTo>
                    <a:pt x="16" y="8"/>
                    <a:pt x="20" y="17"/>
                    <a:pt x="18" y="23"/>
                  </a:cubicBezTo>
                  <a:cubicBezTo>
                    <a:pt x="16" y="29"/>
                    <a:pt x="9" y="36"/>
                    <a:pt x="6" y="40"/>
                  </a:cubicBezTo>
                  <a:cubicBezTo>
                    <a:pt x="3" y="44"/>
                    <a:pt x="0" y="47"/>
                    <a:pt x="0" y="50"/>
                  </a:cubicBezTo>
                  <a:cubicBezTo>
                    <a:pt x="0" y="53"/>
                    <a:pt x="3" y="61"/>
                    <a:pt x="10" y="58"/>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7" name="Freeform 1808"/>
            <p:cNvSpPr>
              <a:spLocks/>
            </p:cNvSpPr>
            <p:nvPr/>
          </p:nvSpPr>
          <p:spPr bwMode="auto">
            <a:xfrm>
              <a:off x="6113463" y="5630941"/>
              <a:ext cx="42863" cy="38100"/>
            </a:xfrm>
            <a:custGeom>
              <a:avLst/>
              <a:gdLst>
                <a:gd name="T0" fmla="*/ 2147483647 w 27"/>
                <a:gd name="T1" fmla="*/ 2147483647 h 24"/>
                <a:gd name="T2" fmla="*/ 2147483647 w 27"/>
                <a:gd name="T3" fmla="*/ 2147483647 h 24"/>
                <a:gd name="T4" fmla="*/ 2147483647 w 27"/>
                <a:gd name="T5" fmla="*/ 2147483647 h 24"/>
                <a:gd name="T6" fmla="*/ 2147483647 w 27"/>
                <a:gd name="T7" fmla="*/ 2147483647 h 24"/>
                <a:gd name="T8" fmla="*/ 2147483647 w 27"/>
                <a:gd name="T9" fmla="*/ 2147483647 h 24"/>
                <a:gd name="T10" fmla="*/ 2147483647 w 27"/>
                <a:gd name="T11" fmla="*/ 2147483647 h 24"/>
                <a:gd name="T12" fmla="*/ 0 60000 65536"/>
                <a:gd name="T13" fmla="*/ 0 60000 65536"/>
                <a:gd name="T14" fmla="*/ 0 60000 65536"/>
                <a:gd name="T15" fmla="*/ 0 60000 65536"/>
                <a:gd name="T16" fmla="*/ 0 60000 65536"/>
                <a:gd name="T17" fmla="*/ 0 60000 65536"/>
                <a:gd name="T18" fmla="*/ 0 w 27"/>
                <a:gd name="T19" fmla="*/ 0 h 24"/>
                <a:gd name="T20" fmla="*/ 27 w 27"/>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7" h="24">
                  <a:moveTo>
                    <a:pt x="9" y="24"/>
                  </a:moveTo>
                  <a:cubicBezTo>
                    <a:pt x="5" y="24"/>
                    <a:pt x="0" y="18"/>
                    <a:pt x="1" y="15"/>
                  </a:cubicBezTo>
                  <a:cubicBezTo>
                    <a:pt x="2" y="12"/>
                    <a:pt x="9" y="5"/>
                    <a:pt x="13" y="3"/>
                  </a:cubicBezTo>
                  <a:cubicBezTo>
                    <a:pt x="17" y="1"/>
                    <a:pt x="23" y="0"/>
                    <a:pt x="25" y="2"/>
                  </a:cubicBezTo>
                  <a:cubicBezTo>
                    <a:pt x="27" y="4"/>
                    <a:pt x="27" y="11"/>
                    <a:pt x="25" y="14"/>
                  </a:cubicBezTo>
                  <a:cubicBezTo>
                    <a:pt x="23" y="17"/>
                    <a:pt x="13" y="24"/>
                    <a:pt x="9" y="24"/>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8" name="Freeform 1809"/>
            <p:cNvSpPr>
              <a:spLocks/>
            </p:cNvSpPr>
            <p:nvPr/>
          </p:nvSpPr>
          <p:spPr bwMode="auto">
            <a:xfrm>
              <a:off x="6032500" y="5462666"/>
              <a:ext cx="101600" cy="111125"/>
            </a:xfrm>
            <a:custGeom>
              <a:avLst/>
              <a:gdLst>
                <a:gd name="T0" fmla="*/ 2147483647 w 64"/>
                <a:gd name="T1" fmla="*/ 2147483647 h 70"/>
                <a:gd name="T2" fmla="*/ 2147483647 w 64"/>
                <a:gd name="T3" fmla="*/ 2147483647 h 70"/>
                <a:gd name="T4" fmla="*/ 2147483647 w 64"/>
                <a:gd name="T5" fmla="*/ 2147483647 h 70"/>
                <a:gd name="T6" fmla="*/ 0 w 64"/>
                <a:gd name="T7" fmla="*/ 2147483647 h 70"/>
                <a:gd name="T8" fmla="*/ 2147483647 w 64"/>
                <a:gd name="T9" fmla="*/ 2147483647 h 70"/>
                <a:gd name="T10" fmla="*/ 2147483647 w 64"/>
                <a:gd name="T11" fmla="*/ 2147483647 h 70"/>
                <a:gd name="T12" fmla="*/ 2147483647 w 64"/>
                <a:gd name="T13" fmla="*/ 2147483647 h 70"/>
                <a:gd name="T14" fmla="*/ 2147483647 w 64"/>
                <a:gd name="T15" fmla="*/ 2147483647 h 70"/>
                <a:gd name="T16" fmla="*/ 2147483647 w 64"/>
                <a:gd name="T17" fmla="*/ 2147483647 h 70"/>
                <a:gd name="T18" fmla="*/ 2147483647 w 64"/>
                <a:gd name="T19" fmla="*/ 2147483647 h 70"/>
                <a:gd name="T20" fmla="*/ 2147483647 w 64"/>
                <a:gd name="T21" fmla="*/ 2147483647 h 70"/>
                <a:gd name="T22" fmla="*/ 2147483647 w 64"/>
                <a:gd name="T23" fmla="*/ 2147483647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
                <a:gd name="T37" fmla="*/ 0 h 70"/>
                <a:gd name="T38" fmla="*/ 64 w 64"/>
                <a:gd name="T39" fmla="*/ 70 h 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 h="70">
                  <a:moveTo>
                    <a:pt x="37" y="70"/>
                  </a:moveTo>
                  <a:cubicBezTo>
                    <a:pt x="32" y="70"/>
                    <a:pt x="27" y="70"/>
                    <a:pt x="22" y="66"/>
                  </a:cubicBezTo>
                  <a:cubicBezTo>
                    <a:pt x="17" y="62"/>
                    <a:pt x="13" y="55"/>
                    <a:pt x="9" y="49"/>
                  </a:cubicBezTo>
                  <a:cubicBezTo>
                    <a:pt x="5" y="43"/>
                    <a:pt x="0" y="36"/>
                    <a:pt x="0" y="30"/>
                  </a:cubicBezTo>
                  <a:cubicBezTo>
                    <a:pt x="0" y="24"/>
                    <a:pt x="5" y="17"/>
                    <a:pt x="9" y="12"/>
                  </a:cubicBezTo>
                  <a:cubicBezTo>
                    <a:pt x="13" y="7"/>
                    <a:pt x="19" y="2"/>
                    <a:pt x="24" y="1"/>
                  </a:cubicBezTo>
                  <a:cubicBezTo>
                    <a:pt x="29" y="0"/>
                    <a:pt x="39" y="1"/>
                    <a:pt x="42" y="4"/>
                  </a:cubicBezTo>
                  <a:cubicBezTo>
                    <a:pt x="45" y="7"/>
                    <a:pt x="42" y="17"/>
                    <a:pt x="45" y="21"/>
                  </a:cubicBezTo>
                  <a:cubicBezTo>
                    <a:pt x="48" y="25"/>
                    <a:pt x="57" y="26"/>
                    <a:pt x="60" y="30"/>
                  </a:cubicBezTo>
                  <a:cubicBezTo>
                    <a:pt x="63" y="34"/>
                    <a:pt x="64" y="37"/>
                    <a:pt x="63" y="42"/>
                  </a:cubicBezTo>
                  <a:cubicBezTo>
                    <a:pt x="62" y="47"/>
                    <a:pt x="58" y="59"/>
                    <a:pt x="52" y="63"/>
                  </a:cubicBezTo>
                  <a:cubicBezTo>
                    <a:pt x="46" y="67"/>
                    <a:pt x="42" y="70"/>
                    <a:pt x="37" y="70"/>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39" name="Freeform 1810"/>
            <p:cNvSpPr>
              <a:spLocks/>
            </p:cNvSpPr>
            <p:nvPr/>
          </p:nvSpPr>
          <p:spPr bwMode="auto">
            <a:xfrm>
              <a:off x="6162675" y="5603953"/>
              <a:ext cx="53975" cy="33338"/>
            </a:xfrm>
            <a:custGeom>
              <a:avLst/>
              <a:gdLst>
                <a:gd name="T0" fmla="*/ 2147483647 w 34"/>
                <a:gd name="T1" fmla="*/ 2147483647 h 21"/>
                <a:gd name="T2" fmla="*/ 2147483647 w 34"/>
                <a:gd name="T3" fmla="*/ 2147483647 h 21"/>
                <a:gd name="T4" fmla="*/ 0 w 34"/>
                <a:gd name="T5" fmla="*/ 2147483647 h 21"/>
                <a:gd name="T6" fmla="*/ 2147483647 w 34"/>
                <a:gd name="T7" fmla="*/ 2147483647 h 21"/>
                <a:gd name="T8" fmla="*/ 2147483647 w 34"/>
                <a:gd name="T9" fmla="*/ 2147483647 h 21"/>
                <a:gd name="T10" fmla="*/ 2147483647 w 34"/>
                <a:gd name="T11" fmla="*/ 2147483647 h 21"/>
                <a:gd name="T12" fmla="*/ 2147483647 w 34"/>
                <a:gd name="T13" fmla="*/ 2147483647 h 21"/>
                <a:gd name="T14" fmla="*/ 0 60000 65536"/>
                <a:gd name="T15" fmla="*/ 0 60000 65536"/>
                <a:gd name="T16" fmla="*/ 0 60000 65536"/>
                <a:gd name="T17" fmla="*/ 0 60000 65536"/>
                <a:gd name="T18" fmla="*/ 0 60000 65536"/>
                <a:gd name="T19" fmla="*/ 0 60000 65536"/>
                <a:gd name="T20" fmla="*/ 0 60000 65536"/>
                <a:gd name="T21" fmla="*/ 0 w 34"/>
                <a:gd name="T22" fmla="*/ 0 h 21"/>
                <a:gd name="T23" fmla="*/ 34 w 3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1">
                  <a:moveTo>
                    <a:pt x="27" y="19"/>
                  </a:moveTo>
                  <a:cubicBezTo>
                    <a:pt x="23" y="21"/>
                    <a:pt x="15" y="20"/>
                    <a:pt x="11" y="19"/>
                  </a:cubicBezTo>
                  <a:cubicBezTo>
                    <a:pt x="7" y="18"/>
                    <a:pt x="0" y="17"/>
                    <a:pt x="0" y="14"/>
                  </a:cubicBezTo>
                  <a:cubicBezTo>
                    <a:pt x="0" y="11"/>
                    <a:pt x="5" y="4"/>
                    <a:pt x="9" y="2"/>
                  </a:cubicBezTo>
                  <a:cubicBezTo>
                    <a:pt x="13" y="0"/>
                    <a:pt x="19" y="0"/>
                    <a:pt x="23" y="1"/>
                  </a:cubicBezTo>
                  <a:cubicBezTo>
                    <a:pt x="27" y="2"/>
                    <a:pt x="32" y="4"/>
                    <a:pt x="33" y="7"/>
                  </a:cubicBezTo>
                  <a:cubicBezTo>
                    <a:pt x="34" y="10"/>
                    <a:pt x="31" y="17"/>
                    <a:pt x="27" y="19"/>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0" name="Freeform 1811"/>
            <p:cNvSpPr>
              <a:spLocks/>
            </p:cNvSpPr>
            <p:nvPr/>
          </p:nvSpPr>
          <p:spPr bwMode="auto">
            <a:xfrm>
              <a:off x="6173788" y="5407103"/>
              <a:ext cx="55563" cy="93663"/>
            </a:xfrm>
            <a:custGeom>
              <a:avLst/>
              <a:gdLst>
                <a:gd name="T0" fmla="*/ 2147483647 w 35"/>
                <a:gd name="T1" fmla="*/ 2147483647 h 59"/>
                <a:gd name="T2" fmla="*/ 2147483647 w 35"/>
                <a:gd name="T3" fmla="*/ 2147483647 h 59"/>
                <a:gd name="T4" fmla="*/ 2147483647 w 35"/>
                <a:gd name="T5" fmla="*/ 2147483647 h 59"/>
                <a:gd name="T6" fmla="*/ 2147483647 w 35"/>
                <a:gd name="T7" fmla="*/ 2147483647 h 59"/>
                <a:gd name="T8" fmla="*/ 2147483647 w 35"/>
                <a:gd name="T9" fmla="*/ 2147483647 h 59"/>
                <a:gd name="T10" fmla="*/ 2147483647 w 35"/>
                <a:gd name="T11" fmla="*/ 2147483647 h 59"/>
                <a:gd name="T12" fmla="*/ 2147483647 w 35"/>
                <a:gd name="T13" fmla="*/ 2147483647 h 59"/>
                <a:gd name="T14" fmla="*/ 2147483647 w 35"/>
                <a:gd name="T15" fmla="*/ 2147483647 h 59"/>
                <a:gd name="T16" fmla="*/ 2147483647 w 35"/>
                <a:gd name="T17" fmla="*/ 2147483647 h 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59"/>
                <a:gd name="T29" fmla="*/ 35 w 35"/>
                <a:gd name="T30" fmla="*/ 59 h 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59">
                  <a:moveTo>
                    <a:pt x="19" y="51"/>
                  </a:moveTo>
                  <a:cubicBezTo>
                    <a:pt x="23" y="45"/>
                    <a:pt x="25" y="30"/>
                    <a:pt x="28" y="23"/>
                  </a:cubicBezTo>
                  <a:cubicBezTo>
                    <a:pt x="31" y="16"/>
                    <a:pt x="35" y="13"/>
                    <a:pt x="34" y="9"/>
                  </a:cubicBezTo>
                  <a:cubicBezTo>
                    <a:pt x="33" y="5"/>
                    <a:pt x="27" y="3"/>
                    <a:pt x="22" y="2"/>
                  </a:cubicBezTo>
                  <a:cubicBezTo>
                    <a:pt x="17" y="1"/>
                    <a:pt x="9" y="0"/>
                    <a:pt x="5" y="3"/>
                  </a:cubicBezTo>
                  <a:cubicBezTo>
                    <a:pt x="1" y="6"/>
                    <a:pt x="1" y="12"/>
                    <a:pt x="1" y="18"/>
                  </a:cubicBezTo>
                  <a:cubicBezTo>
                    <a:pt x="1" y="24"/>
                    <a:pt x="7" y="32"/>
                    <a:pt x="7" y="38"/>
                  </a:cubicBezTo>
                  <a:cubicBezTo>
                    <a:pt x="7" y="44"/>
                    <a:pt x="0" y="55"/>
                    <a:pt x="2" y="57"/>
                  </a:cubicBezTo>
                  <a:cubicBezTo>
                    <a:pt x="4" y="59"/>
                    <a:pt x="15" y="57"/>
                    <a:pt x="19" y="51"/>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1" name="Freeform 1812"/>
            <p:cNvSpPr>
              <a:spLocks/>
            </p:cNvSpPr>
            <p:nvPr/>
          </p:nvSpPr>
          <p:spPr bwMode="auto">
            <a:xfrm>
              <a:off x="6280150" y="5446791"/>
              <a:ext cx="55563" cy="53975"/>
            </a:xfrm>
            <a:custGeom>
              <a:avLst/>
              <a:gdLst>
                <a:gd name="T0" fmla="*/ 2147483647 w 35"/>
                <a:gd name="T1" fmla="*/ 2147483647 h 34"/>
                <a:gd name="T2" fmla="*/ 2147483647 w 35"/>
                <a:gd name="T3" fmla="*/ 2147483647 h 34"/>
                <a:gd name="T4" fmla="*/ 2147483647 w 35"/>
                <a:gd name="T5" fmla="*/ 2147483647 h 34"/>
                <a:gd name="T6" fmla="*/ 2147483647 w 35"/>
                <a:gd name="T7" fmla="*/ 2147483647 h 34"/>
                <a:gd name="T8" fmla="*/ 2147483647 w 35"/>
                <a:gd name="T9" fmla="*/ 2147483647 h 34"/>
                <a:gd name="T10" fmla="*/ 2147483647 w 35"/>
                <a:gd name="T11" fmla="*/ 2147483647 h 34"/>
                <a:gd name="T12" fmla="*/ 0 60000 65536"/>
                <a:gd name="T13" fmla="*/ 0 60000 65536"/>
                <a:gd name="T14" fmla="*/ 0 60000 65536"/>
                <a:gd name="T15" fmla="*/ 0 60000 65536"/>
                <a:gd name="T16" fmla="*/ 0 60000 65536"/>
                <a:gd name="T17" fmla="*/ 0 60000 65536"/>
                <a:gd name="T18" fmla="*/ 0 w 35"/>
                <a:gd name="T19" fmla="*/ 0 h 34"/>
                <a:gd name="T20" fmla="*/ 35 w 3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35" h="34">
                  <a:moveTo>
                    <a:pt x="33" y="11"/>
                  </a:moveTo>
                  <a:cubicBezTo>
                    <a:pt x="31" y="16"/>
                    <a:pt x="20" y="28"/>
                    <a:pt x="15" y="31"/>
                  </a:cubicBezTo>
                  <a:cubicBezTo>
                    <a:pt x="10" y="34"/>
                    <a:pt x="2" y="32"/>
                    <a:pt x="1" y="28"/>
                  </a:cubicBezTo>
                  <a:cubicBezTo>
                    <a:pt x="0" y="24"/>
                    <a:pt x="5" y="12"/>
                    <a:pt x="9" y="8"/>
                  </a:cubicBezTo>
                  <a:cubicBezTo>
                    <a:pt x="13" y="4"/>
                    <a:pt x="24" y="0"/>
                    <a:pt x="28" y="1"/>
                  </a:cubicBezTo>
                  <a:cubicBezTo>
                    <a:pt x="32" y="2"/>
                    <a:pt x="35" y="6"/>
                    <a:pt x="33" y="11"/>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2" name="Freeform 1813"/>
            <p:cNvSpPr>
              <a:spLocks/>
            </p:cNvSpPr>
            <p:nvPr/>
          </p:nvSpPr>
          <p:spPr bwMode="auto">
            <a:xfrm>
              <a:off x="6330950" y="5300741"/>
              <a:ext cx="146050" cy="136525"/>
            </a:xfrm>
            <a:custGeom>
              <a:avLst/>
              <a:gdLst>
                <a:gd name="T0" fmla="*/ 2147483647 w 92"/>
                <a:gd name="T1" fmla="*/ 2147483647 h 86"/>
                <a:gd name="T2" fmla="*/ 2147483647 w 92"/>
                <a:gd name="T3" fmla="*/ 2147483647 h 86"/>
                <a:gd name="T4" fmla="*/ 2147483647 w 92"/>
                <a:gd name="T5" fmla="*/ 2147483647 h 86"/>
                <a:gd name="T6" fmla="*/ 2147483647 w 92"/>
                <a:gd name="T7" fmla="*/ 2147483647 h 86"/>
                <a:gd name="T8" fmla="*/ 2147483647 w 92"/>
                <a:gd name="T9" fmla="*/ 2147483647 h 86"/>
                <a:gd name="T10" fmla="*/ 2147483647 w 92"/>
                <a:gd name="T11" fmla="*/ 2147483647 h 86"/>
                <a:gd name="T12" fmla="*/ 2147483647 w 92"/>
                <a:gd name="T13" fmla="*/ 2147483647 h 86"/>
                <a:gd name="T14" fmla="*/ 2147483647 w 92"/>
                <a:gd name="T15" fmla="*/ 2147483647 h 86"/>
                <a:gd name="T16" fmla="*/ 2147483647 w 92"/>
                <a:gd name="T17" fmla="*/ 2147483647 h 86"/>
                <a:gd name="T18" fmla="*/ 2147483647 w 92"/>
                <a:gd name="T19" fmla="*/ 2147483647 h 86"/>
                <a:gd name="T20" fmla="*/ 2147483647 w 92"/>
                <a:gd name="T21" fmla="*/ 2147483647 h 86"/>
                <a:gd name="T22" fmla="*/ 2147483647 w 92"/>
                <a:gd name="T23" fmla="*/ 2147483647 h 86"/>
                <a:gd name="T24" fmla="*/ 2147483647 w 92"/>
                <a:gd name="T25" fmla="*/ 2147483647 h 86"/>
                <a:gd name="T26" fmla="*/ 2147483647 w 92"/>
                <a:gd name="T27" fmla="*/ 2147483647 h 86"/>
                <a:gd name="T28" fmla="*/ 2147483647 w 92"/>
                <a:gd name="T29" fmla="*/ 2147483647 h 86"/>
                <a:gd name="T30" fmla="*/ 2147483647 w 92"/>
                <a:gd name="T31" fmla="*/ 2147483647 h 86"/>
                <a:gd name="T32" fmla="*/ 2147483647 w 92"/>
                <a:gd name="T33" fmla="*/ 2147483647 h 86"/>
                <a:gd name="T34" fmla="*/ 2147483647 w 92"/>
                <a:gd name="T35" fmla="*/ 2147483647 h 86"/>
                <a:gd name="T36" fmla="*/ 2147483647 w 92"/>
                <a:gd name="T37" fmla="*/ 2147483647 h 86"/>
                <a:gd name="T38" fmla="*/ 2147483647 w 92"/>
                <a:gd name="T39" fmla="*/ 2147483647 h 86"/>
                <a:gd name="T40" fmla="*/ 2147483647 w 92"/>
                <a:gd name="T41" fmla="*/ 2147483647 h 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
                <a:gd name="T64" fmla="*/ 0 h 86"/>
                <a:gd name="T65" fmla="*/ 92 w 92"/>
                <a:gd name="T66" fmla="*/ 86 h 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 h="86">
                  <a:moveTo>
                    <a:pt x="49" y="52"/>
                  </a:moveTo>
                  <a:cubicBezTo>
                    <a:pt x="43" y="55"/>
                    <a:pt x="39" y="65"/>
                    <a:pt x="34" y="70"/>
                  </a:cubicBezTo>
                  <a:cubicBezTo>
                    <a:pt x="29" y="75"/>
                    <a:pt x="24" y="82"/>
                    <a:pt x="19" y="84"/>
                  </a:cubicBezTo>
                  <a:cubicBezTo>
                    <a:pt x="14" y="86"/>
                    <a:pt x="2" y="86"/>
                    <a:pt x="1" y="85"/>
                  </a:cubicBezTo>
                  <a:cubicBezTo>
                    <a:pt x="0" y="84"/>
                    <a:pt x="10" y="79"/>
                    <a:pt x="14" y="75"/>
                  </a:cubicBezTo>
                  <a:cubicBezTo>
                    <a:pt x="18" y="71"/>
                    <a:pt x="26" y="64"/>
                    <a:pt x="26" y="60"/>
                  </a:cubicBezTo>
                  <a:cubicBezTo>
                    <a:pt x="26" y="56"/>
                    <a:pt x="16" y="51"/>
                    <a:pt x="13" y="48"/>
                  </a:cubicBezTo>
                  <a:cubicBezTo>
                    <a:pt x="10" y="45"/>
                    <a:pt x="6" y="45"/>
                    <a:pt x="5" y="40"/>
                  </a:cubicBezTo>
                  <a:cubicBezTo>
                    <a:pt x="4" y="35"/>
                    <a:pt x="10" y="24"/>
                    <a:pt x="10" y="18"/>
                  </a:cubicBezTo>
                  <a:cubicBezTo>
                    <a:pt x="10" y="12"/>
                    <a:pt x="6" y="7"/>
                    <a:pt x="8" y="4"/>
                  </a:cubicBezTo>
                  <a:cubicBezTo>
                    <a:pt x="10" y="1"/>
                    <a:pt x="18" y="0"/>
                    <a:pt x="23" y="1"/>
                  </a:cubicBezTo>
                  <a:cubicBezTo>
                    <a:pt x="28" y="2"/>
                    <a:pt x="34" y="10"/>
                    <a:pt x="38" y="12"/>
                  </a:cubicBezTo>
                  <a:cubicBezTo>
                    <a:pt x="42" y="14"/>
                    <a:pt x="46" y="10"/>
                    <a:pt x="49" y="12"/>
                  </a:cubicBezTo>
                  <a:cubicBezTo>
                    <a:pt x="52" y="14"/>
                    <a:pt x="51" y="22"/>
                    <a:pt x="55" y="24"/>
                  </a:cubicBezTo>
                  <a:cubicBezTo>
                    <a:pt x="59" y="26"/>
                    <a:pt x="66" y="28"/>
                    <a:pt x="71" y="27"/>
                  </a:cubicBezTo>
                  <a:cubicBezTo>
                    <a:pt x="76" y="26"/>
                    <a:pt x="80" y="20"/>
                    <a:pt x="83" y="21"/>
                  </a:cubicBezTo>
                  <a:cubicBezTo>
                    <a:pt x="86" y="22"/>
                    <a:pt x="92" y="30"/>
                    <a:pt x="92" y="33"/>
                  </a:cubicBezTo>
                  <a:cubicBezTo>
                    <a:pt x="92" y="36"/>
                    <a:pt x="84" y="39"/>
                    <a:pt x="80" y="40"/>
                  </a:cubicBezTo>
                  <a:cubicBezTo>
                    <a:pt x="76" y="41"/>
                    <a:pt x="72" y="37"/>
                    <a:pt x="70" y="39"/>
                  </a:cubicBezTo>
                  <a:cubicBezTo>
                    <a:pt x="68" y="41"/>
                    <a:pt x="72" y="50"/>
                    <a:pt x="70" y="52"/>
                  </a:cubicBezTo>
                  <a:cubicBezTo>
                    <a:pt x="68" y="54"/>
                    <a:pt x="55" y="49"/>
                    <a:pt x="49" y="52"/>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3" name="Freeform 1814"/>
            <p:cNvSpPr>
              <a:spLocks/>
            </p:cNvSpPr>
            <p:nvPr/>
          </p:nvSpPr>
          <p:spPr bwMode="auto">
            <a:xfrm>
              <a:off x="6245225" y="5153103"/>
              <a:ext cx="125413" cy="131763"/>
            </a:xfrm>
            <a:custGeom>
              <a:avLst/>
              <a:gdLst>
                <a:gd name="T0" fmla="*/ 2147483647 w 79"/>
                <a:gd name="T1" fmla="*/ 2147483647 h 83"/>
                <a:gd name="T2" fmla="*/ 2147483647 w 79"/>
                <a:gd name="T3" fmla="*/ 2147483647 h 83"/>
                <a:gd name="T4" fmla="*/ 2147483647 w 79"/>
                <a:gd name="T5" fmla="*/ 2147483647 h 83"/>
                <a:gd name="T6" fmla="*/ 2147483647 w 79"/>
                <a:gd name="T7" fmla="*/ 2147483647 h 83"/>
                <a:gd name="T8" fmla="*/ 2147483647 w 79"/>
                <a:gd name="T9" fmla="*/ 2147483647 h 83"/>
                <a:gd name="T10" fmla="*/ 2147483647 w 79"/>
                <a:gd name="T11" fmla="*/ 2147483647 h 83"/>
                <a:gd name="T12" fmla="*/ 2147483647 w 79"/>
                <a:gd name="T13" fmla="*/ 2147483647 h 83"/>
                <a:gd name="T14" fmla="*/ 2147483647 w 79"/>
                <a:gd name="T15" fmla="*/ 2147483647 h 83"/>
                <a:gd name="T16" fmla="*/ 2147483647 w 79"/>
                <a:gd name="T17" fmla="*/ 2147483647 h 83"/>
                <a:gd name="T18" fmla="*/ 2147483647 w 79"/>
                <a:gd name="T19" fmla="*/ 2147483647 h 83"/>
                <a:gd name="T20" fmla="*/ 2147483647 w 79"/>
                <a:gd name="T21" fmla="*/ 2147483647 h 83"/>
                <a:gd name="T22" fmla="*/ 2147483647 w 79"/>
                <a:gd name="T23" fmla="*/ 2147483647 h 83"/>
                <a:gd name="T24" fmla="*/ 2147483647 w 79"/>
                <a:gd name="T25" fmla="*/ 2147483647 h 83"/>
                <a:gd name="T26" fmla="*/ 2147483647 w 79"/>
                <a:gd name="T27" fmla="*/ 2147483647 h 83"/>
                <a:gd name="T28" fmla="*/ 2147483647 w 79"/>
                <a:gd name="T29" fmla="*/ 2147483647 h 83"/>
                <a:gd name="T30" fmla="*/ 2147483647 w 79"/>
                <a:gd name="T31" fmla="*/ 2147483647 h 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83"/>
                <a:gd name="T50" fmla="*/ 79 w 79"/>
                <a:gd name="T51" fmla="*/ 83 h 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83">
                  <a:moveTo>
                    <a:pt x="50" y="75"/>
                  </a:moveTo>
                  <a:cubicBezTo>
                    <a:pt x="46" y="79"/>
                    <a:pt x="40" y="81"/>
                    <a:pt x="35" y="82"/>
                  </a:cubicBezTo>
                  <a:cubicBezTo>
                    <a:pt x="30" y="83"/>
                    <a:pt x="21" y="82"/>
                    <a:pt x="17" y="79"/>
                  </a:cubicBezTo>
                  <a:cubicBezTo>
                    <a:pt x="13" y="76"/>
                    <a:pt x="11" y="70"/>
                    <a:pt x="10" y="66"/>
                  </a:cubicBezTo>
                  <a:cubicBezTo>
                    <a:pt x="9" y="62"/>
                    <a:pt x="12" y="57"/>
                    <a:pt x="10" y="54"/>
                  </a:cubicBezTo>
                  <a:cubicBezTo>
                    <a:pt x="8" y="51"/>
                    <a:pt x="0" y="49"/>
                    <a:pt x="1" y="46"/>
                  </a:cubicBezTo>
                  <a:cubicBezTo>
                    <a:pt x="2" y="43"/>
                    <a:pt x="9" y="40"/>
                    <a:pt x="14" y="37"/>
                  </a:cubicBezTo>
                  <a:cubicBezTo>
                    <a:pt x="19" y="34"/>
                    <a:pt x="26" y="34"/>
                    <a:pt x="29" y="30"/>
                  </a:cubicBezTo>
                  <a:cubicBezTo>
                    <a:pt x="32" y="26"/>
                    <a:pt x="28" y="17"/>
                    <a:pt x="29" y="12"/>
                  </a:cubicBezTo>
                  <a:cubicBezTo>
                    <a:pt x="30" y="7"/>
                    <a:pt x="32" y="2"/>
                    <a:pt x="37" y="1"/>
                  </a:cubicBezTo>
                  <a:cubicBezTo>
                    <a:pt x="42" y="0"/>
                    <a:pt x="53" y="2"/>
                    <a:pt x="59" y="7"/>
                  </a:cubicBezTo>
                  <a:cubicBezTo>
                    <a:pt x="65" y="12"/>
                    <a:pt x="71" y="23"/>
                    <a:pt x="74" y="28"/>
                  </a:cubicBezTo>
                  <a:cubicBezTo>
                    <a:pt x="77" y="33"/>
                    <a:pt x="79" y="33"/>
                    <a:pt x="79" y="37"/>
                  </a:cubicBezTo>
                  <a:cubicBezTo>
                    <a:pt x="79" y="41"/>
                    <a:pt x="74" y="48"/>
                    <a:pt x="71" y="51"/>
                  </a:cubicBezTo>
                  <a:cubicBezTo>
                    <a:pt x="68" y="54"/>
                    <a:pt x="64" y="52"/>
                    <a:pt x="61" y="55"/>
                  </a:cubicBezTo>
                  <a:cubicBezTo>
                    <a:pt x="58" y="58"/>
                    <a:pt x="54" y="71"/>
                    <a:pt x="50" y="75"/>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4" name="Freeform 1815"/>
            <p:cNvSpPr>
              <a:spLocks/>
            </p:cNvSpPr>
            <p:nvPr/>
          </p:nvSpPr>
          <p:spPr bwMode="auto">
            <a:xfrm>
              <a:off x="6456363" y="5086428"/>
              <a:ext cx="46038" cy="96838"/>
            </a:xfrm>
            <a:custGeom>
              <a:avLst/>
              <a:gdLst>
                <a:gd name="T0" fmla="*/ 2147483647 w 29"/>
                <a:gd name="T1" fmla="*/ 2147483647 h 61"/>
                <a:gd name="T2" fmla="*/ 2147483647 w 29"/>
                <a:gd name="T3" fmla="*/ 2147483647 h 61"/>
                <a:gd name="T4" fmla="*/ 2147483647 w 29"/>
                <a:gd name="T5" fmla="*/ 2147483647 h 61"/>
                <a:gd name="T6" fmla="*/ 2147483647 w 29"/>
                <a:gd name="T7" fmla="*/ 2147483647 h 61"/>
                <a:gd name="T8" fmla="*/ 2147483647 w 29"/>
                <a:gd name="T9" fmla="*/ 0 h 61"/>
                <a:gd name="T10" fmla="*/ 2147483647 w 29"/>
                <a:gd name="T11" fmla="*/ 2147483647 h 61"/>
                <a:gd name="T12" fmla="*/ 2147483647 w 29"/>
                <a:gd name="T13" fmla="*/ 2147483647 h 61"/>
                <a:gd name="T14" fmla="*/ 2147483647 w 29"/>
                <a:gd name="T15" fmla="*/ 2147483647 h 61"/>
                <a:gd name="T16" fmla="*/ 0 w 29"/>
                <a:gd name="T17" fmla="*/ 2147483647 h 61"/>
                <a:gd name="T18" fmla="*/ 2147483647 w 29"/>
                <a:gd name="T19" fmla="*/ 2147483647 h 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61"/>
                <a:gd name="T32" fmla="*/ 29 w 29"/>
                <a:gd name="T33" fmla="*/ 61 h 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61">
                  <a:moveTo>
                    <a:pt x="18" y="61"/>
                  </a:moveTo>
                  <a:cubicBezTo>
                    <a:pt x="22" y="55"/>
                    <a:pt x="27" y="49"/>
                    <a:pt x="28" y="42"/>
                  </a:cubicBezTo>
                  <a:cubicBezTo>
                    <a:pt x="29" y="35"/>
                    <a:pt x="24" y="26"/>
                    <a:pt x="24" y="21"/>
                  </a:cubicBezTo>
                  <a:cubicBezTo>
                    <a:pt x="24" y="16"/>
                    <a:pt x="29" y="13"/>
                    <a:pt x="28" y="10"/>
                  </a:cubicBezTo>
                  <a:cubicBezTo>
                    <a:pt x="27" y="7"/>
                    <a:pt x="20" y="0"/>
                    <a:pt x="16" y="0"/>
                  </a:cubicBezTo>
                  <a:cubicBezTo>
                    <a:pt x="12" y="0"/>
                    <a:pt x="6" y="5"/>
                    <a:pt x="4" y="9"/>
                  </a:cubicBezTo>
                  <a:cubicBezTo>
                    <a:pt x="2" y="13"/>
                    <a:pt x="6" y="19"/>
                    <a:pt x="6" y="25"/>
                  </a:cubicBezTo>
                  <a:cubicBezTo>
                    <a:pt x="6" y="31"/>
                    <a:pt x="7" y="39"/>
                    <a:pt x="6" y="45"/>
                  </a:cubicBezTo>
                  <a:cubicBezTo>
                    <a:pt x="5" y="51"/>
                    <a:pt x="1" y="58"/>
                    <a:pt x="0" y="60"/>
                  </a:cubicBezTo>
                  <a:cubicBezTo>
                    <a:pt x="0" y="60"/>
                    <a:pt x="18" y="61"/>
                    <a:pt x="18" y="61"/>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5" name="Freeform 1816"/>
            <p:cNvSpPr>
              <a:spLocks/>
            </p:cNvSpPr>
            <p:nvPr/>
          </p:nvSpPr>
          <p:spPr bwMode="auto">
            <a:xfrm>
              <a:off x="6434138" y="5195966"/>
              <a:ext cx="33338" cy="26988"/>
            </a:xfrm>
            <a:custGeom>
              <a:avLst/>
              <a:gdLst>
                <a:gd name="T0" fmla="*/ 2147483647 w 21"/>
                <a:gd name="T1" fmla="*/ 2147483647 h 17"/>
                <a:gd name="T2" fmla="*/ 2147483647 w 21"/>
                <a:gd name="T3" fmla="*/ 2147483647 h 17"/>
                <a:gd name="T4" fmla="*/ 2147483647 w 21"/>
                <a:gd name="T5" fmla="*/ 2147483647 h 17"/>
                <a:gd name="T6" fmla="*/ 2147483647 w 21"/>
                <a:gd name="T7" fmla="*/ 2147483647 h 17"/>
                <a:gd name="T8" fmla="*/ 2147483647 w 21"/>
                <a:gd name="T9" fmla="*/ 2147483647 h 17"/>
                <a:gd name="T10" fmla="*/ 0 60000 65536"/>
                <a:gd name="T11" fmla="*/ 0 60000 65536"/>
                <a:gd name="T12" fmla="*/ 0 60000 65536"/>
                <a:gd name="T13" fmla="*/ 0 60000 65536"/>
                <a:gd name="T14" fmla="*/ 0 60000 65536"/>
                <a:gd name="T15" fmla="*/ 0 w 21"/>
                <a:gd name="T16" fmla="*/ 0 h 17"/>
                <a:gd name="T17" fmla="*/ 21 w 21"/>
                <a:gd name="T18" fmla="*/ 17 h 17"/>
              </a:gdLst>
              <a:ahLst/>
              <a:cxnLst>
                <a:cxn ang="T10">
                  <a:pos x="T0" y="T1"/>
                </a:cxn>
                <a:cxn ang="T11">
                  <a:pos x="T2" y="T3"/>
                </a:cxn>
                <a:cxn ang="T12">
                  <a:pos x="T4" y="T5"/>
                </a:cxn>
                <a:cxn ang="T13">
                  <a:pos x="T6" y="T7"/>
                </a:cxn>
                <a:cxn ang="T14">
                  <a:pos x="T8" y="T9"/>
                </a:cxn>
              </a:cxnLst>
              <a:rect l="T15" t="T16" r="T17" b="T18"/>
              <a:pathLst>
                <a:path w="21" h="17">
                  <a:moveTo>
                    <a:pt x="18" y="16"/>
                  </a:moveTo>
                  <a:cubicBezTo>
                    <a:pt x="20" y="15"/>
                    <a:pt x="21" y="5"/>
                    <a:pt x="18" y="3"/>
                  </a:cubicBezTo>
                  <a:cubicBezTo>
                    <a:pt x="15" y="1"/>
                    <a:pt x="4" y="0"/>
                    <a:pt x="2" y="1"/>
                  </a:cubicBezTo>
                  <a:cubicBezTo>
                    <a:pt x="0" y="2"/>
                    <a:pt x="3" y="9"/>
                    <a:pt x="5" y="12"/>
                  </a:cubicBezTo>
                  <a:cubicBezTo>
                    <a:pt x="7" y="15"/>
                    <a:pt x="16" y="17"/>
                    <a:pt x="18" y="16"/>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6" name="Freeform 1817"/>
            <p:cNvSpPr>
              <a:spLocks/>
            </p:cNvSpPr>
            <p:nvPr/>
          </p:nvSpPr>
          <p:spPr bwMode="auto">
            <a:xfrm>
              <a:off x="5962650" y="5038803"/>
              <a:ext cx="76200" cy="44450"/>
            </a:xfrm>
            <a:custGeom>
              <a:avLst/>
              <a:gdLst>
                <a:gd name="T0" fmla="*/ 2147483647 w 48"/>
                <a:gd name="T1" fmla="*/ 0 h 28"/>
                <a:gd name="T2" fmla="*/ 2147483647 w 48"/>
                <a:gd name="T3" fmla="*/ 2147483647 h 28"/>
                <a:gd name="T4" fmla="*/ 0 w 48"/>
                <a:gd name="T5" fmla="*/ 2147483647 h 28"/>
                <a:gd name="T6" fmla="*/ 2147483647 w 48"/>
                <a:gd name="T7" fmla="*/ 2147483647 h 28"/>
                <a:gd name="T8" fmla="*/ 2147483647 w 48"/>
                <a:gd name="T9" fmla="*/ 2147483647 h 28"/>
                <a:gd name="T10" fmla="*/ 2147483647 w 48"/>
                <a:gd name="T11" fmla="*/ 0 h 28"/>
                <a:gd name="T12" fmla="*/ 0 60000 65536"/>
                <a:gd name="T13" fmla="*/ 0 60000 65536"/>
                <a:gd name="T14" fmla="*/ 0 60000 65536"/>
                <a:gd name="T15" fmla="*/ 0 60000 65536"/>
                <a:gd name="T16" fmla="*/ 0 60000 65536"/>
                <a:gd name="T17" fmla="*/ 0 60000 65536"/>
                <a:gd name="T18" fmla="*/ 0 w 48"/>
                <a:gd name="T19" fmla="*/ 0 h 28"/>
                <a:gd name="T20" fmla="*/ 48 w 4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48" h="28">
                  <a:moveTo>
                    <a:pt x="45" y="0"/>
                  </a:moveTo>
                  <a:lnTo>
                    <a:pt x="48" y="18"/>
                  </a:lnTo>
                  <a:lnTo>
                    <a:pt x="0" y="28"/>
                  </a:lnTo>
                  <a:lnTo>
                    <a:pt x="20" y="18"/>
                  </a:lnTo>
                  <a:lnTo>
                    <a:pt x="8" y="1"/>
                  </a:lnTo>
                  <a:lnTo>
                    <a:pt x="45" y="0"/>
                  </a:ln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7" name="Freeform 1818"/>
            <p:cNvSpPr>
              <a:spLocks/>
            </p:cNvSpPr>
            <p:nvPr/>
          </p:nvSpPr>
          <p:spPr bwMode="auto">
            <a:xfrm>
              <a:off x="5945188" y="5192791"/>
              <a:ext cx="61913" cy="63500"/>
            </a:xfrm>
            <a:custGeom>
              <a:avLst/>
              <a:gdLst>
                <a:gd name="T0" fmla="*/ 2147483647 w 39"/>
                <a:gd name="T1" fmla="*/ 2147483647 h 40"/>
                <a:gd name="T2" fmla="*/ 2147483647 w 39"/>
                <a:gd name="T3" fmla="*/ 2147483647 h 40"/>
                <a:gd name="T4" fmla="*/ 2147483647 w 39"/>
                <a:gd name="T5" fmla="*/ 2147483647 h 40"/>
                <a:gd name="T6" fmla="*/ 2147483647 w 39"/>
                <a:gd name="T7" fmla="*/ 2147483647 h 40"/>
                <a:gd name="T8" fmla="*/ 2147483647 w 39"/>
                <a:gd name="T9" fmla="*/ 2147483647 h 40"/>
                <a:gd name="T10" fmla="*/ 2147483647 w 39"/>
                <a:gd name="T11" fmla="*/ 2147483647 h 40"/>
                <a:gd name="T12" fmla="*/ 2147483647 w 39"/>
                <a:gd name="T13" fmla="*/ 2147483647 h 40"/>
                <a:gd name="T14" fmla="*/ 0 60000 65536"/>
                <a:gd name="T15" fmla="*/ 0 60000 65536"/>
                <a:gd name="T16" fmla="*/ 0 60000 65536"/>
                <a:gd name="T17" fmla="*/ 0 60000 65536"/>
                <a:gd name="T18" fmla="*/ 0 60000 65536"/>
                <a:gd name="T19" fmla="*/ 0 60000 65536"/>
                <a:gd name="T20" fmla="*/ 0 60000 65536"/>
                <a:gd name="T21" fmla="*/ 0 w 39"/>
                <a:gd name="T22" fmla="*/ 0 h 40"/>
                <a:gd name="T23" fmla="*/ 39 w 3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0">
                  <a:moveTo>
                    <a:pt x="38" y="5"/>
                  </a:moveTo>
                  <a:cubicBezTo>
                    <a:pt x="39" y="7"/>
                    <a:pt x="33" y="13"/>
                    <a:pt x="31" y="18"/>
                  </a:cubicBezTo>
                  <a:cubicBezTo>
                    <a:pt x="29" y="23"/>
                    <a:pt x="28" y="30"/>
                    <a:pt x="23" y="33"/>
                  </a:cubicBezTo>
                  <a:cubicBezTo>
                    <a:pt x="18" y="36"/>
                    <a:pt x="4" y="40"/>
                    <a:pt x="2" y="38"/>
                  </a:cubicBezTo>
                  <a:cubicBezTo>
                    <a:pt x="0" y="36"/>
                    <a:pt x="7" y="24"/>
                    <a:pt x="10" y="18"/>
                  </a:cubicBezTo>
                  <a:cubicBezTo>
                    <a:pt x="13" y="12"/>
                    <a:pt x="19" y="6"/>
                    <a:pt x="23" y="3"/>
                  </a:cubicBezTo>
                  <a:cubicBezTo>
                    <a:pt x="27" y="0"/>
                    <a:pt x="37" y="3"/>
                    <a:pt x="38" y="5"/>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8" name="Freeform 1819"/>
            <p:cNvSpPr>
              <a:spLocks/>
            </p:cNvSpPr>
            <p:nvPr/>
          </p:nvSpPr>
          <p:spPr bwMode="auto">
            <a:xfrm>
              <a:off x="5854700" y="5129291"/>
              <a:ext cx="88900" cy="120650"/>
            </a:xfrm>
            <a:custGeom>
              <a:avLst/>
              <a:gdLst>
                <a:gd name="T0" fmla="*/ 2147483647 w 56"/>
                <a:gd name="T1" fmla="*/ 2147483647 h 76"/>
                <a:gd name="T2" fmla="*/ 2147483647 w 56"/>
                <a:gd name="T3" fmla="*/ 2147483647 h 76"/>
                <a:gd name="T4" fmla="*/ 2147483647 w 56"/>
                <a:gd name="T5" fmla="*/ 2147483647 h 76"/>
                <a:gd name="T6" fmla="*/ 2147483647 w 56"/>
                <a:gd name="T7" fmla="*/ 2147483647 h 76"/>
                <a:gd name="T8" fmla="*/ 2147483647 w 56"/>
                <a:gd name="T9" fmla="*/ 2147483647 h 76"/>
                <a:gd name="T10" fmla="*/ 2147483647 w 56"/>
                <a:gd name="T11" fmla="*/ 2147483647 h 76"/>
                <a:gd name="T12" fmla="*/ 2147483647 w 56"/>
                <a:gd name="T13" fmla="*/ 2147483647 h 76"/>
                <a:gd name="T14" fmla="*/ 2147483647 w 56"/>
                <a:gd name="T15" fmla="*/ 2147483647 h 76"/>
                <a:gd name="T16" fmla="*/ 2147483647 w 56"/>
                <a:gd name="T17" fmla="*/ 2147483647 h 76"/>
                <a:gd name="T18" fmla="*/ 2147483647 w 56"/>
                <a:gd name="T19" fmla="*/ 2147483647 h 76"/>
                <a:gd name="T20" fmla="*/ 2147483647 w 56"/>
                <a:gd name="T21" fmla="*/ 2147483647 h 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76"/>
                <a:gd name="T35" fmla="*/ 56 w 56"/>
                <a:gd name="T36" fmla="*/ 76 h 7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76">
                  <a:moveTo>
                    <a:pt x="26" y="76"/>
                  </a:moveTo>
                  <a:cubicBezTo>
                    <a:pt x="33" y="76"/>
                    <a:pt x="44" y="59"/>
                    <a:pt x="49" y="51"/>
                  </a:cubicBezTo>
                  <a:cubicBezTo>
                    <a:pt x="54" y="43"/>
                    <a:pt x="56" y="33"/>
                    <a:pt x="56" y="28"/>
                  </a:cubicBezTo>
                  <a:cubicBezTo>
                    <a:pt x="56" y="23"/>
                    <a:pt x="52" y="19"/>
                    <a:pt x="49" y="19"/>
                  </a:cubicBezTo>
                  <a:cubicBezTo>
                    <a:pt x="46" y="19"/>
                    <a:pt x="41" y="26"/>
                    <a:pt x="37" y="27"/>
                  </a:cubicBezTo>
                  <a:cubicBezTo>
                    <a:pt x="33" y="28"/>
                    <a:pt x="25" y="26"/>
                    <a:pt x="23" y="24"/>
                  </a:cubicBezTo>
                  <a:cubicBezTo>
                    <a:pt x="21" y="22"/>
                    <a:pt x="27" y="17"/>
                    <a:pt x="26" y="13"/>
                  </a:cubicBezTo>
                  <a:cubicBezTo>
                    <a:pt x="25" y="9"/>
                    <a:pt x="20" y="0"/>
                    <a:pt x="16" y="1"/>
                  </a:cubicBezTo>
                  <a:cubicBezTo>
                    <a:pt x="12" y="2"/>
                    <a:pt x="4" y="11"/>
                    <a:pt x="2" y="19"/>
                  </a:cubicBezTo>
                  <a:cubicBezTo>
                    <a:pt x="0" y="27"/>
                    <a:pt x="0" y="39"/>
                    <a:pt x="4" y="48"/>
                  </a:cubicBezTo>
                  <a:cubicBezTo>
                    <a:pt x="8" y="57"/>
                    <a:pt x="19" y="76"/>
                    <a:pt x="26" y="76"/>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49" name="Freeform 1820"/>
            <p:cNvSpPr>
              <a:spLocks/>
            </p:cNvSpPr>
            <p:nvPr/>
          </p:nvSpPr>
          <p:spPr bwMode="auto">
            <a:xfrm>
              <a:off x="5808663" y="5183266"/>
              <a:ext cx="36513" cy="63500"/>
            </a:xfrm>
            <a:custGeom>
              <a:avLst/>
              <a:gdLst>
                <a:gd name="T0" fmla="*/ 2147483647 w 23"/>
                <a:gd name="T1" fmla="*/ 2147483647 h 40"/>
                <a:gd name="T2" fmla="*/ 2147483647 w 23"/>
                <a:gd name="T3" fmla="*/ 2147483647 h 40"/>
                <a:gd name="T4" fmla="*/ 2147483647 w 23"/>
                <a:gd name="T5" fmla="*/ 2147483647 h 40"/>
                <a:gd name="T6" fmla="*/ 2147483647 w 23"/>
                <a:gd name="T7" fmla="*/ 2147483647 h 40"/>
                <a:gd name="T8" fmla="*/ 2147483647 w 23"/>
                <a:gd name="T9" fmla="*/ 2147483647 h 40"/>
                <a:gd name="T10" fmla="*/ 0 60000 65536"/>
                <a:gd name="T11" fmla="*/ 0 60000 65536"/>
                <a:gd name="T12" fmla="*/ 0 60000 65536"/>
                <a:gd name="T13" fmla="*/ 0 60000 65536"/>
                <a:gd name="T14" fmla="*/ 0 60000 65536"/>
                <a:gd name="T15" fmla="*/ 0 w 23"/>
                <a:gd name="T16" fmla="*/ 0 h 40"/>
                <a:gd name="T17" fmla="*/ 23 w 23"/>
                <a:gd name="T18" fmla="*/ 40 h 40"/>
              </a:gdLst>
              <a:ahLst/>
              <a:cxnLst>
                <a:cxn ang="T10">
                  <a:pos x="T0" y="T1"/>
                </a:cxn>
                <a:cxn ang="T11">
                  <a:pos x="T2" y="T3"/>
                </a:cxn>
                <a:cxn ang="T12">
                  <a:pos x="T4" y="T5"/>
                </a:cxn>
                <a:cxn ang="T13">
                  <a:pos x="T6" y="T7"/>
                </a:cxn>
                <a:cxn ang="T14">
                  <a:pos x="T8" y="T9"/>
                </a:cxn>
              </a:cxnLst>
              <a:rect l="T15" t="T16" r="T17" b="T18"/>
              <a:pathLst>
                <a:path w="23" h="40">
                  <a:moveTo>
                    <a:pt x="18" y="38"/>
                  </a:moveTo>
                  <a:cubicBezTo>
                    <a:pt x="14" y="40"/>
                    <a:pt x="2" y="26"/>
                    <a:pt x="1" y="20"/>
                  </a:cubicBezTo>
                  <a:cubicBezTo>
                    <a:pt x="0" y="14"/>
                    <a:pt x="6" y="4"/>
                    <a:pt x="10" y="2"/>
                  </a:cubicBezTo>
                  <a:cubicBezTo>
                    <a:pt x="14" y="0"/>
                    <a:pt x="21" y="1"/>
                    <a:pt x="22" y="6"/>
                  </a:cubicBezTo>
                  <a:cubicBezTo>
                    <a:pt x="23" y="11"/>
                    <a:pt x="22" y="36"/>
                    <a:pt x="18" y="38"/>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50" name="Freeform 1821"/>
            <p:cNvSpPr>
              <a:spLocks/>
            </p:cNvSpPr>
            <p:nvPr/>
          </p:nvSpPr>
          <p:spPr bwMode="auto">
            <a:xfrm>
              <a:off x="6472238" y="5676978"/>
              <a:ext cx="85725" cy="119063"/>
            </a:xfrm>
            <a:custGeom>
              <a:avLst/>
              <a:gdLst>
                <a:gd name="T0" fmla="*/ 2147483647 w 54"/>
                <a:gd name="T1" fmla="*/ 2147483647 h 75"/>
                <a:gd name="T2" fmla="*/ 0 w 54"/>
                <a:gd name="T3" fmla="*/ 2147483647 h 75"/>
                <a:gd name="T4" fmla="*/ 2147483647 w 54"/>
                <a:gd name="T5" fmla="*/ 2147483647 h 75"/>
                <a:gd name="T6" fmla="*/ 2147483647 w 54"/>
                <a:gd name="T7" fmla="*/ 2147483647 h 75"/>
                <a:gd name="T8" fmla="*/ 2147483647 w 54"/>
                <a:gd name="T9" fmla="*/ 0 h 75"/>
                <a:gd name="T10" fmla="*/ 2147483647 w 54"/>
                <a:gd name="T11" fmla="*/ 2147483647 h 75"/>
                <a:gd name="T12" fmla="*/ 2147483647 w 54"/>
                <a:gd name="T13" fmla="*/ 2147483647 h 75"/>
                <a:gd name="T14" fmla="*/ 2147483647 w 54"/>
                <a:gd name="T15" fmla="*/ 2147483647 h 75"/>
                <a:gd name="T16" fmla="*/ 2147483647 w 54"/>
                <a:gd name="T17" fmla="*/ 2147483647 h 75"/>
                <a:gd name="T18" fmla="*/ 2147483647 w 54"/>
                <a:gd name="T19" fmla="*/ 2147483647 h 75"/>
                <a:gd name="T20" fmla="*/ 2147483647 w 54"/>
                <a:gd name="T21" fmla="*/ 2147483647 h 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
                <a:gd name="T34" fmla="*/ 0 h 75"/>
                <a:gd name="T35" fmla="*/ 54 w 54"/>
                <a:gd name="T36" fmla="*/ 75 h 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 h="75">
                  <a:moveTo>
                    <a:pt x="17" y="75"/>
                  </a:moveTo>
                  <a:lnTo>
                    <a:pt x="0" y="36"/>
                  </a:lnTo>
                  <a:lnTo>
                    <a:pt x="14" y="21"/>
                  </a:lnTo>
                  <a:lnTo>
                    <a:pt x="21" y="6"/>
                  </a:lnTo>
                  <a:lnTo>
                    <a:pt x="36" y="0"/>
                  </a:lnTo>
                  <a:lnTo>
                    <a:pt x="54" y="6"/>
                  </a:lnTo>
                  <a:lnTo>
                    <a:pt x="48" y="22"/>
                  </a:lnTo>
                  <a:lnTo>
                    <a:pt x="29" y="21"/>
                  </a:lnTo>
                  <a:lnTo>
                    <a:pt x="17" y="28"/>
                  </a:lnTo>
                  <a:lnTo>
                    <a:pt x="21" y="46"/>
                  </a:lnTo>
                  <a:lnTo>
                    <a:pt x="17" y="75"/>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51" name="Freeform 1822"/>
            <p:cNvSpPr>
              <a:spLocks/>
            </p:cNvSpPr>
            <p:nvPr/>
          </p:nvSpPr>
          <p:spPr bwMode="auto">
            <a:xfrm>
              <a:off x="5838825" y="5224541"/>
              <a:ext cx="53975" cy="74613"/>
            </a:xfrm>
            <a:custGeom>
              <a:avLst/>
              <a:gdLst>
                <a:gd name="T0" fmla="*/ 2147483647 w 34"/>
                <a:gd name="T1" fmla="*/ 2147483647 h 47"/>
                <a:gd name="T2" fmla="*/ 2147483647 w 34"/>
                <a:gd name="T3" fmla="*/ 2147483647 h 47"/>
                <a:gd name="T4" fmla="*/ 2147483647 w 34"/>
                <a:gd name="T5" fmla="*/ 2147483647 h 47"/>
                <a:gd name="T6" fmla="*/ 2147483647 w 34"/>
                <a:gd name="T7" fmla="*/ 2147483647 h 47"/>
                <a:gd name="T8" fmla="*/ 2147483647 w 34"/>
                <a:gd name="T9" fmla="*/ 2147483647 h 47"/>
                <a:gd name="T10" fmla="*/ 2147483647 w 34"/>
                <a:gd name="T11" fmla="*/ 2147483647 h 47"/>
                <a:gd name="T12" fmla="*/ 2147483647 w 34"/>
                <a:gd name="T13" fmla="*/ 2147483647 h 47"/>
                <a:gd name="T14" fmla="*/ 0 60000 65536"/>
                <a:gd name="T15" fmla="*/ 0 60000 65536"/>
                <a:gd name="T16" fmla="*/ 0 60000 65536"/>
                <a:gd name="T17" fmla="*/ 0 60000 65536"/>
                <a:gd name="T18" fmla="*/ 0 60000 65536"/>
                <a:gd name="T19" fmla="*/ 0 60000 65536"/>
                <a:gd name="T20" fmla="*/ 0 60000 65536"/>
                <a:gd name="T21" fmla="*/ 0 w 34"/>
                <a:gd name="T22" fmla="*/ 0 h 47"/>
                <a:gd name="T23" fmla="*/ 34 w 34"/>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47">
                  <a:moveTo>
                    <a:pt x="30" y="46"/>
                  </a:moveTo>
                  <a:cubicBezTo>
                    <a:pt x="32" y="45"/>
                    <a:pt x="34" y="33"/>
                    <a:pt x="33" y="27"/>
                  </a:cubicBezTo>
                  <a:cubicBezTo>
                    <a:pt x="32" y="21"/>
                    <a:pt x="27" y="16"/>
                    <a:pt x="23" y="12"/>
                  </a:cubicBezTo>
                  <a:cubicBezTo>
                    <a:pt x="19" y="8"/>
                    <a:pt x="12" y="0"/>
                    <a:pt x="9" y="1"/>
                  </a:cubicBezTo>
                  <a:cubicBezTo>
                    <a:pt x="6" y="2"/>
                    <a:pt x="0" y="10"/>
                    <a:pt x="2" y="16"/>
                  </a:cubicBezTo>
                  <a:cubicBezTo>
                    <a:pt x="4" y="22"/>
                    <a:pt x="18" y="31"/>
                    <a:pt x="23" y="36"/>
                  </a:cubicBezTo>
                  <a:cubicBezTo>
                    <a:pt x="28" y="41"/>
                    <a:pt x="28" y="47"/>
                    <a:pt x="30" y="46"/>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52" name="Freeform 1823"/>
            <p:cNvSpPr>
              <a:spLocks/>
            </p:cNvSpPr>
            <p:nvPr/>
          </p:nvSpPr>
          <p:spPr bwMode="auto">
            <a:xfrm>
              <a:off x="6410325" y="5505528"/>
              <a:ext cx="74613" cy="111125"/>
            </a:xfrm>
            <a:custGeom>
              <a:avLst/>
              <a:gdLst>
                <a:gd name="T0" fmla="*/ 2147483647 w 47"/>
                <a:gd name="T1" fmla="*/ 2147483647 h 70"/>
                <a:gd name="T2" fmla="*/ 2147483647 w 47"/>
                <a:gd name="T3" fmla="*/ 2147483647 h 70"/>
                <a:gd name="T4" fmla="*/ 2147483647 w 47"/>
                <a:gd name="T5" fmla="*/ 2147483647 h 70"/>
                <a:gd name="T6" fmla="*/ 2147483647 w 47"/>
                <a:gd name="T7" fmla="*/ 2147483647 h 70"/>
                <a:gd name="T8" fmla="*/ 2147483647 w 47"/>
                <a:gd name="T9" fmla="*/ 0 h 70"/>
                <a:gd name="T10" fmla="*/ 2147483647 w 47"/>
                <a:gd name="T11" fmla="*/ 2147483647 h 70"/>
                <a:gd name="T12" fmla="*/ 0 w 47"/>
                <a:gd name="T13" fmla="*/ 2147483647 h 70"/>
                <a:gd name="T14" fmla="*/ 2147483647 w 47"/>
                <a:gd name="T15" fmla="*/ 2147483647 h 70"/>
                <a:gd name="T16" fmla="*/ 2147483647 w 47"/>
                <a:gd name="T17" fmla="*/ 2147483647 h 70"/>
                <a:gd name="T18" fmla="*/ 2147483647 w 47"/>
                <a:gd name="T19" fmla="*/ 2147483647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
                <a:gd name="T31" fmla="*/ 0 h 70"/>
                <a:gd name="T32" fmla="*/ 47 w 47"/>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 h="70">
                  <a:moveTo>
                    <a:pt x="47" y="70"/>
                  </a:moveTo>
                  <a:lnTo>
                    <a:pt x="33" y="46"/>
                  </a:lnTo>
                  <a:lnTo>
                    <a:pt x="32" y="36"/>
                  </a:lnTo>
                  <a:lnTo>
                    <a:pt x="47" y="3"/>
                  </a:lnTo>
                  <a:lnTo>
                    <a:pt x="27" y="0"/>
                  </a:lnTo>
                  <a:lnTo>
                    <a:pt x="20" y="12"/>
                  </a:lnTo>
                  <a:lnTo>
                    <a:pt x="0" y="9"/>
                  </a:lnTo>
                  <a:lnTo>
                    <a:pt x="3" y="24"/>
                  </a:lnTo>
                  <a:lnTo>
                    <a:pt x="30" y="64"/>
                  </a:lnTo>
                  <a:lnTo>
                    <a:pt x="47" y="70"/>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53" name="Freeform 1824"/>
            <p:cNvSpPr>
              <a:spLocks/>
            </p:cNvSpPr>
            <p:nvPr/>
          </p:nvSpPr>
          <p:spPr bwMode="auto">
            <a:xfrm>
              <a:off x="6400800" y="5372178"/>
              <a:ext cx="88900" cy="58738"/>
            </a:xfrm>
            <a:custGeom>
              <a:avLst/>
              <a:gdLst>
                <a:gd name="T0" fmla="*/ 2147483647 w 56"/>
                <a:gd name="T1" fmla="*/ 2147483647 h 37"/>
                <a:gd name="T2" fmla="*/ 2147483647 w 56"/>
                <a:gd name="T3" fmla="*/ 2147483647 h 37"/>
                <a:gd name="T4" fmla="*/ 2147483647 w 56"/>
                <a:gd name="T5" fmla="*/ 2147483647 h 37"/>
                <a:gd name="T6" fmla="*/ 0 w 56"/>
                <a:gd name="T7" fmla="*/ 2147483647 h 37"/>
                <a:gd name="T8" fmla="*/ 2147483647 w 56"/>
                <a:gd name="T9" fmla="*/ 2147483647 h 37"/>
                <a:gd name="T10" fmla="*/ 2147483647 w 56"/>
                <a:gd name="T11" fmla="*/ 2147483647 h 37"/>
                <a:gd name="T12" fmla="*/ 2147483647 w 56"/>
                <a:gd name="T13" fmla="*/ 2147483647 h 37"/>
                <a:gd name="T14" fmla="*/ 2147483647 w 56"/>
                <a:gd name="T15" fmla="*/ 0 h 37"/>
                <a:gd name="T16" fmla="*/ 2147483647 w 56"/>
                <a:gd name="T17" fmla="*/ 2147483647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37"/>
                <a:gd name="T29" fmla="*/ 56 w 56"/>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37">
                  <a:moveTo>
                    <a:pt x="50" y="21"/>
                  </a:moveTo>
                  <a:lnTo>
                    <a:pt x="29" y="21"/>
                  </a:lnTo>
                  <a:lnTo>
                    <a:pt x="12" y="37"/>
                  </a:lnTo>
                  <a:lnTo>
                    <a:pt x="0" y="31"/>
                  </a:lnTo>
                  <a:lnTo>
                    <a:pt x="12" y="22"/>
                  </a:lnTo>
                  <a:lnTo>
                    <a:pt x="8" y="13"/>
                  </a:lnTo>
                  <a:lnTo>
                    <a:pt x="24" y="13"/>
                  </a:lnTo>
                  <a:lnTo>
                    <a:pt x="56" y="0"/>
                  </a:lnTo>
                  <a:lnTo>
                    <a:pt x="50" y="21"/>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54" name="Freeform 1825"/>
            <p:cNvSpPr>
              <a:spLocks/>
            </p:cNvSpPr>
            <p:nvPr/>
          </p:nvSpPr>
          <p:spPr bwMode="auto">
            <a:xfrm>
              <a:off x="6429375" y="5395991"/>
              <a:ext cx="60325" cy="52388"/>
            </a:xfrm>
            <a:custGeom>
              <a:avLst/>
              <a:gdLst>
                <a:gd name="T0" fmla="*/ 2147483647 w 38"/>
                <a:gd name="T1" fmla="*/ 2147483647 h 33"/>
                <a:gd name="T2" fmla="*/ 0 w 38"/>
                <a:gd name="T3" fmla="*/ 2147483647 h 33"/>
                <a:gd name="T4" fmla="*/ 2147483647 w 38"/>
                <a:gd name="T5" fmla="*/ 0 h 33"/>
                <a:gd name="T6" fmla="*/ 2147483647 w 38"/>
                <a:gd name="T7" fmla="*/ 2147483647 h 33"/>
                <a:gd name="T8" fmla="*/ 2147483647 w 38"/>
                <a:gd name="T9" fmla="*/ 2147483647 h 33"/>
                <a:gd name="T10" fmla="*/ 2147483647 w 38"/>
                <a:gd name="T11" fmla="*/ 2147483647 h 33"/>
                <a:gd name="T12" fmla="*/ 2147483647 w 38"/>
                <a:gd name="T13" fmla="*/ 2147483647 h 33"/>
                <a:gd name="T14" fmla="*/ 0 60000 65536"/>
                <a:gd name="T15" fmla="*/ 0 60000 65536"/>
                <a:gd name="T16" fmla="*/ 0 60000 65536"/>
                <a:gd name="T17" fmla="*/ 0 60000 65536"/>
                <a:gd name="T18" fmla="*/ 0 60000 65536"/>
                <a:gd name="T19" fmla="*/ 0 60000 65536"/>
                <a:gd name="T20" fmla="*/ 0 60000 65536"/>
                <a:gd name="T21" fmla="*/ 0 w 38"/>
                <a:gd name="T22" fmla="*/ 0 h 33"/>
                <a:gd name="T23" fmla="*/ 38 w 38"/>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3">
                  <a:moveTo>
                    <a:pt x="38" y="33"/>
                  </a:moveTo>
                  <a:lnTo>
                    <a:pt x="0" y="25"/>
                  </a:lnTo>
                  <a:lnTo>
                    <a:pt x="2" y="0"/>
                  </a:lnTo>
                  <a:lnTo>
                    <a:pt x="12" y="3"/>
                  </a:lnTo>
                  <a:lnTo>
                    <a:pt x="14" y="13"/>
                  </a:lnTo>
                  <a:lnTo>
                    <a:pt x="38" y="19"/>
                  </a:lnTo>
                  <a:lnTo>
                    <a:pt x="38" y="33"/>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55" name="Freeform 1826"/>
            <p:cNvSpPr>
              <a:spLocks/>
            </p:cNvSpPr>
            <p:nvPr/>
          </p:nvSpPr>
          <p:spPr bwMode="auto">
            <a:xfrm>
              <a:off x="6529388" y="5072141"/>
              <a:ext cx="41275" cy="38100"/>
            </a:xfrm>
            <a:custGeom>
              <a:avLst/>
              <a:gdLst>
                <a:gd name="T0" fmla="*/ 2147483647 w 26"/>
                <a:gd name="T1" fmla="*/ 2147483647 h 24"/>
                <a:gd name="T2" fmla="*/ 2147483647 w 26"/>
                <a:gd name="T3" fmla="*/ 2147483647 h 24"/>
                <a:gd name="T4" fmla="*/ 0 w 26"/>
                <a:gd name="T5" fmla="*/ 2147483647 h 24"/>
                <a:gd name="T6" fmla="*/ 2147483647 w 26"/>
                <a:gd name="T7" fmla="*/ 0 h 24"/>
                <a:gd name="T8" fmla="*/ 2147483647 w 26"/>
                <a:gd name="T9" fmla="*/ 2147483647 h 24"/>
                <a:gd name="T10" fmla="*/ 2147483647 w 26"/>
                <a:gd name="T11" fmla="*/ 2147483647 h 24"/>
                <a:gd name="T12" fmla="*/ 0 60000 65536"/>
                <a:gd name="T13" fmla="*/ 0 60000 65536"/>
                <a:gd name="T14" fmla="*/ 0 60000 65536"/>
                <a:gd name="T15" fmla="*/ 0 60000 65536"/>
                <a:gd name="T16" fmla="*/ 0 60000 65536"/>
                <a:gd name="T17" fmla="*/ 0 60000 65536"/>
                <a:gd name="T18" fmla="*/ 0 w 26"/>
                <a:gd name="T19" fmla="*/ 0 h 24"/>
                <a:gd name="T20" fmla="*/ 26 w 26"/>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6" h="24">
                  <a:moveTo>
                    <a:pt x="26" y="24"/>
                  </a:moveTo>
                  <a:lnTo>
                    <a:pt x="11" y="24"/>
                  </a:lnTo>
                  <a:lnTo>
                    <a:pt x="0" y="12"/>
                  </a:lnTo>
                  <a:lnTo>
                    <a:pt x="2" y="0"/>
                  </a:lnTo>
                  <a:lnTo>
                    <a:pt x="23" y="4"/>
                  </a:lnTo>
                  <a:lnTo>
                    <a:pt x="26" y="24"/>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56" name="Freeform 1827"/>
            <p:cNvSpPr>
              <a:spLocks/>
            </p:cNvSpPr>
            <p:nvPr/>
          </p:nvSpPr>
          <p:spPr bwMode="auto">
            <a:xfrm>
              <a:off x="6451600" y="4949903"/>
              <a:ext cx="115888" cy="104775"/>
            </a:xfrm>
            <a:custGeom>
              <a:avLst/>
              <a:gdLst>
                <a:gd name="T0" fmla="*/ 2147483647 w 73"/>
                <a:gd name="T1" fmla="*/ 2147483647 h 66"/>
                <a:gd name="T2" fmla="*/ 2147483647 w 73"/>
                <a:gd name="T3" fmla="*/ 2147483647 h 66"/>
                <a:gd name="T4" fmla="*/ 0 w 73"/>
                <a:gd name="T5" fmla="*/ 2147483647 h 66"/>
                <a:gd name="T6" fmla="*/ 2147483647 w 73"/>
                <a:gd name="T7" fmla="*/ 2147483647 h 66"/>
                <a:gd name="T8" fmla="*/ 2147483647 w 73"/>
                <a:gd name="T9" fmla="*/ 2147483647 h 66"/>
                <a:gd name="T10" fmla="*/ 2147483647 w 73"/>
                <a:gd name="T11" fmla="*/ 0 h 66"/>
                <a:gd name="T12" fmla="*/ 2147483647 w 73"/>
                <a:gd name="T13" fmla="*/ 2147483647 h 66"/>
                <a:gd name="T14" fmla="*/ 2147483647 w 73"/>
                <a:gd name="T15" fmla="*/ 2147483647 h 66"/>
                <a:gd name="T16" fmla="*/ 2147483647 w 73"/>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3"/>
                <a:gd name="T28" fmla="*/ 0 h 66"/>
                <a:gd name="T29" fmla="*/ 73 w 73"/>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3" h="66">
                  <a:moveTo>
                    <a:pt x="73" y="59"/>
                  </a:moveTo>
                  <a:lnTo>
                    <a:pt x="46" y="66"/>
                  </a:lnTo>
                  <a:lnTo>
                    <a:pt x="0" y="26"/>
                  </a:lnTo>
                  <a:lnTo>
                    <a:pt x="15" y="29"/>
                  </a:lnTo>
                  <a:lnTo>
                    <a:pt x="18" y="11"/>
                  </a:lnTo>
                  <a:lnTo>
                    <a:pt x="21" y="0"/>
                  </a:lnTo>
                  <a:lnTo>
                    <a:pt x="42" y="12"/>
                  </a:lnTo>
                  <a:lnTo>
                    <a:pt x="61" y="42"/>
                  </a:lnTo>
                  <a:lnTo>
                    <a:pt x="73" y="59"/>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57" name="Freeform 1828"/>
            <p:cNvSpPr>
              <a:spLocks/>
            </p:cNvSpPr>
            <p:nvPr/>
          </p:nvSpPr>
          <p:spPr bwMode="auto">
            <a:xfrm>
              <a:off x="5957888" y="4734003"/>
              <a:ext cx="574675" cy="804863"/>
            </a:xfrm>
            <a:custGeom>
              <a:avLst/>
              <a:gdLst>
                <a:gd name="T0" fmla="*/ 0 w 362"/>
                <a:gd name="T1" fmla="*/ 2147483647 h 507"/>
                <a:gd name="T2" fmla="*/ 2147483647 w 362"/>
                <a:gd name="T3" fmla="*/ 2147483647 h 507"/>
                <a:gd name="T4" fmla="*/ 2147483647 w 362"/>
                <a:gd name="T5" fmla="*/ 2147483647 h 507"/>
                <a:gd name="T6" fmla="*/ 2147483647 w 362"/>
                <a:gd name="T7" fmla="*/ 2147483647 h 507"/>
                <a:gd name="T8" fmla="*/ 2147483647 w 362"/>
                <a:gd name="T9" fmla="*/ 2147483647 h 507"/>
                <a:gd name="T10" fmla="*/ 2147483647 w 362"/>
                <a:gd name="T11" fmla="*/ 2147483647 h 507"/>
                <a:gd name="T12" fmla="*/ 2147483647 w 362"/>
                <a:gd name="T13" fmla="*/ 2147483647 h 507"/>
                <a:gd name="T14" fmla="*/ 2147483647 w 362"/>
                <a:gd name="T15" fmla="*/ 2147483647 h 507"/>
                <a:gd name="T16" fmla="*/ 2147483647 w 362"/>
                <a:gd name="T17" fmla="*/ 2147483647 h 507"/>
                <a:gd name="T18" fmla="*/ 2147483647 w 362"/>
                <a:gd name="T19" fmla="*/ 2147483647 h 507"/>
                <a:gd name="T20" fmla="*/ 2147483647 w 362"/>
                <a:gd name="T21" fmla="*/ 0 h 5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2"/>
                <a:gd name="T34" fmla="*/ 0 h 507"/>
                <a:gd name="T35" fmla="*/ 362 w 362"/>
                <a:gd name="T36" fmla="*/ 507 h 5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2" h="507">
                  <a:moveTo>
                    <a:pt x="0" y="507"/>
                  </a:moveTo>
                  <a:cubicBezTo>
                    <a:pt x="6" y="493"/>
                    <a:pt x="13" y="480"/>
                    <a:pt x="24" y="469"/>
                  </a:cubicBezTo>
                  <a:cubicBezTo>
                    <a:pt x="35" y="458"/>
                    <a:pt x="44" y="453"/>
                    <a:pt x="65" y="441"/>
                  </a:cubicBezTo>
                  <a:cubicBezTo>
                    <a:pt x="86" y="429"/>
                    <a:pt x="126" y="407"/>
                    <a:pt x="150" y="394"/>
                  </a:cubicBezTo>
                  <a:cubicBezTo>
                    <a:pt x="174" y="381"/>
                    <a:pt x="193" y="371"/>
                    <a:pt x="212" y="360"/>
                  </a:cubicBezTo>
                  <a:cubicBezTo>
                    <a:pt x="231" y="349"/>
                    <a:pt x="253" y="341"/>
                    <a:pt x="266" y="328"/>
                  </a:cubicBezTo>
                  <a:cubicBezTo>
                    <a:pt x="279" y="315"/>
                    <a:pt x="279" y="309"/>
                    <a:pt x="288" y="283"/>
                  </a:cubicBezTo>
                  <a:cubicBezTo>
                    <a:pt x="297" y="257"/>
                    <a:pt x="314" y="203"/>
                    <a:pt x="321" y="174"/>
                  </a:cubicBezTo>
                  <a:cubicBezTo>
                    <a:pt x="328" y="145"/>
                    <a:pt x="329" y="128"/>
                    <a:pt x="332" y="108"/>
                  </a:cubicBezTo>
                  <a:cubicBezTo>
                    <a:pt x="335" y="88"/>
                    <a:pt x="333" y="69"/>
                    <a:pt x="338" y="51"/>
                  </a:cubicBezTo>
                  <a:cubicBezTo>
                    <a:pt x="343" y="33"/>
                    <a:pt x="357" y="11"/>
                    <a:pt x="362"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58" name="Freeform 1829"/>
            <p:cNvSpPr>
              <a:spLocks/>
            </p:cNvSpPr>
            <p:nvPr/>
          </p:nvSpPr>
          <p:spPr bwMode="auto">
            <a:xfrm>
              <a:off x="5862638" y="5511878"/>
              <a:ext cx="227013" cy="223838"/>
            </a:xfrm>
            <a:custGeom>
              <a:avLst/>
              <a:gdLst>
                <a:gd name="T0" fmla="*/ 2147483647 w 143"/>
                <a:gd name="T1" fmla="*/ 2147483647 h 141"/>
                <a:gd name="T2" fmla="*/ 2147483647 w 143"/>
                <a:gd name="T3" fmla="*/ 2147483647 h 141"/>
                <a:gd name="T4" fmla="*/ 2147483647 w 143"/>
                <a:gd name="T5" fmla="*/ 2147483647 h 141"/>
                <a:gd name="T6" fmla="*/ 2147483647 w 143"/>
                <a:gd name="T7" fmla="*/ 2147483647 h 141"/>
                <a:gd name="T8" fmla="*/ 2147483647 w 143"/>
                <a:gd name="T9" fmla="*/ 2147483647 h 141"/>
                <a:gd name="T10" fmla="*/ 0 w 143"/>
                <a:gd name="T11" fmla="*/ 2147483647 h 141"/>
                <a:gd name="T12" fmla="*/ 2147483647 w 143"/>
                <a:gd name="T13" fmla="*/ 2147483647 h 141"/>
                <a:gd name="T14" fmla="*/ 2147483647 w 143"/>
                <a:gd name="T15" fmla="*/ 2147483647 h 141"/>
                <a:gd name="T16" fmla="*/ 2147483647 w 143"/>
                <a:gd name="T17" fmla="*/ 0 h 141"/>
                <a:gd name="T18" fmla="*/ 2147483647 w 143"/>
                <a:gd name="T19" fmla="*/ 2147483647 h 14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3"/>
                <a:gd name="T31" fmla="*/ 0 h 141"/>
                <a:gd name="T32" fmla="*/ 143 w 143"/>
                <a:gd name="T33" fmla="*/ 141 h 14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3" h="141">
                  <a:moveTo>
                    <a:pt x="143" y="80"/>
                  </a:moveTo>
                  <a:lnTo>
                    <a:pt x="143" y="141"/>
                  </a:lnTo>
                  <a:lnTo>
                    <a:pt x="68" y="138"/>
                  </a:lnTo>
                  <a:lnTo>
                    <a:pt x="35" y="77"/>
                  </a:lnTo>
                  <a:lnTo>
                    <a:pt x="3" y="75"/>
                  </a:lnTo>
                  <a:lnTo>
                    <a:pt x="0" y="59"/>
                  </a:lnTo>
                  <a:lnTo>
                    <a:pt x="21" y="54"/>
                  </a:lnTo>
                  <a:lnTo>
                    <a:pt x="14" y="30"/>
                  </a:lnTo>
                  <a:lnTo>
                    <a:pt x="66" y="0"/>
                  </a:lnTo>
                  <a:lnTo>
                    <a:pt x="143" y="8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59" name="Freeform 1830"/>
            <p:cNvSpPr>
              <a:spLocks/>
            </p:cNvSpPr>
            <p:nvPr/>
          </p:nvSpPr>
          <p:spPr bwMode="auto">
            <a:xfrm>
              <a:off x="6351588" y="4988003"/>
              <a:ext cx="80963" cy="55563"/>
            </a:xfrm>
            <a:custGeom>
              <a:avLst/>
              <a:gdLst>
                <a:gd name="T0" fmla="*/ 2147483647 w 51"/>
                <a:gd name="T1" fmla="*/ 2147483647 h 35"/>
                <a:gd name="T2" fmla="*/ 2147483647 w 51"/>
                <a:gd name="T3" fmla="*/ 2147483647 h 35"/>
                <a:gd name="T4" fmla="*/ 2147483647 w 51"/>
                <a:gd name="T5" fmla="*/ 2147483647 h 35"/>
                <a:gd name="T6" fmla="*/ 2147483647 w 51"/>
                <a:gd name="T7" fmla="*/ 2147483647 h 35"/>
                <a:gd name="T8" fmla="*/ 0 w 51"/>
                <a:gd name="T9" fmla="*/ 2147483647 h 35"/>
                <a:gd name="T10" fmla="*/ 2147483647 w 51"/>
                <a:gd name="T11" fmla="*/ 0 h 35"/>
                <a:gd name="T12" fmla="*/ 2147483647 w 51"/>
                <a:gd name="T13" fmla="*/ 2147483647 h 35"/>
                <a:gd name="T14" fmla="*/ 0 60000 65536"/>
                <a:gd name="T15" fmla="*/ 0 60000 65536"/>
                <a:gd name="T16" fmla="*/ 0 60000 65536"/>
                <a:gd name="T17" fmla="*/ 0 60000 65536"/>
                <a:gd name="T18" fmla="*/ 0 60000 65536"/>
                <a:gd name="T19" fmla="*/ 0 60000 65536"/>
                <a:gd name="T20" fmla="*/ 0 60000 65536"/>
                <a:gd name="T21" fmla="*/ 0 w 51"/>
                <a:gd name="T22" fmla="*/ 0 h 35"/>
                <a:gd name="T23" fmla="*/ 51 w 51"/>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1" h="35">
                  <a:moveTo>
                    <a:pt x="43" y="3"/>
                  </a:moveTo>
                  <a:lnTo>
                    <a:pt x="51" y="14"/>
                  </a:lnTo>
                  <a:lnTo>
                    <a:pt x="46" y="30"/>
                  </a:lnTo>
                  <a:lnTo>
                    <a:pt x="13" y="35"/>
                  </a:lnTo>
                  <a:lnTo>
                    <a:pt x="0" y="23"/>
                  </a:lnTo>
                  <a:lnTo>
                    <a:pt x="13" y="0"/>
                  </a:lnTo>
                  <a:lnTo>
                    <a:pt x="43" y="3"/>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60" name="Freeform 1831"/>
            <p:cNvSpPr>
              <a:spLocks/>
            </p:cNvSpPr>
            <p:nvPr/>
          </p:nvSpPr>
          <p:spPr bwMode="auto">
            <a:xfrm>
              <a:off x="6110288" y="5295978"/>
              <a:ext cx="161925" cy="92075"/>
            </a:xfrm>
            <a:custGeom>
              <a:avLst/>
              <a:gdLst>
                <a:gd name="T0" fmla="*/ 0 w 102"/>
                <a:gd name="T1" fmla="*/ 2147483647 h 58"/>
                <a:gd name="T2" fmla="*/ 2147483647 w 102"/>
                <a:gd name="T3" fmla="*/ 2147483647 h 58"/>
                <a:gd name="T4" fmla="*/ 2147483647 w 102"/>
                <a:gd name="T5" fmla="*/ 2147483647 h 58"/>
                <a:gd name="T6" fmla="*/ 2147483647 w 102"/>
                <a:gd name="T7" fmla="*/ 2147483647 h 58"/>
                <a:gd name="T8" fmla="*/ 2147483647 w 102"/>
                <a:gd name="T9" fmla="*/ 0 h 58"/>
                <a:gd name="T10" fmla="*/ 2147483647 w 102"/>
                <a:gd name="T11" fmla="*/ 2147483647 h 58"/>
                <a:gd name="T12" fmla="*/ 2147483647 w 102"/>
                <a:gd name="T13" fmla="*/ 2147483647 h 58"/>
                <a:gd name="T14" fmla="*/ 0 w 102"/>
                <a:gd name="T15" fmla="*/ 2147483647 h 58"/>
                <a:gd name="T16" fmla="*/ 0 60000 65536"/>
                <a:gd name="T17" fmla="*/ 0 60000 65536"/>
                <a:gd name="T18" fmla="*/ 0 60000 65536"/>
                <a:gd name="T19" fmla="*/ 0 60000 65536"/>
                <a:gd name="T20" fmla="*/ 0 60000 65536"/>
                <a:gd name="T21" fmla="*/ 0 60000 65536"/>
                <a:gd name="T22" fmla="*/ 0 60000 65536"/>
                <a:gd name="T23" fmla="*/ 0 60000 65536"/>
                <a:gd name="T24" fmla="*/ 0 w 102"/>
                <a:gd name="T25" fmla="*/ 0 h 58"/>
                <a:gd name="T26" fmla="*/ 102 w 102"/>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2" h="58">
                  <a:moveTo>
                    <a:pt x="0" y="42"/>
                  </a:moveTo>
                  <a:lnTo>
                    <a:pt x="17" y="37"/>
                  </a:lnTo>
                  <a:lnTo>
                    <a:pt x="59" y="16"/>
                  </a:lnTo>
                  <a:lnTo>
                    <a:pt x="48" y="9"/>
                  </a:lnTo>
                  <a:lnTo>
                    <a:pt x="71" y="0"/>
                  </a:lnTo>
                  <a:lnTo>
                    <a:pt x="102" y="1"/>
                  </a:lnTo>
                  <a:lnTo>
                    <a:pt x="8" y="58"/>
                  </a:lnTo>
                  <a:lnTo>
                    <a:pt x="0" y="42"/>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61" name="Freeform 1832"/>
            <p:cNvSpPr>
              <a:spLocks/>
            </p:cNvSpPr>
            <p:nvPr/>
          </p:nvSpPr>
          <p:spPr bwMode="auto">
            <a:xfrm>
              <a:off x="6008688" y="5373766"/>
              <a:ext cx="96838" cy="69850"/>
            </a:xfrm>
            <a:custGeom>
              <a:avLst/>
              <a:gdLst>
                <a:gd name="T0" fmla="*/ 2147483647 w 61"/>
                <a:gd name="T1" fmla="*/ 0 h 44"/>
                <a:gd name="T2" fmla="*/ 0 w 61"/>
                <a:gd name="T3" fmla="*/ 2147483647 h 44"/>
                <a:gd name="T4" fmla="*/ 2147483647 w 61"/>
                <a:gd name="T5" fmla="*/ 2147483647 h 44"/>
                <a:gd name="T6" fmla="*/ 2147483647 w 61"/>
                <a:gd name="T7" fmla="*/ 0 h 44"/>
                <a:gd name="T8" fmla="*/ 0 60000 65536"/>
                <a:gd name="T9" fmla="*/ 0 60000 65536"/>
                <a:gd name="T10" fmla="*/ 0 60000 65536"/>
                <a:gd name="T11" fmla="*/ 0 60000 65536"/>
                <a:gd name="T12" fmla="*/ 0 w 61"/>
                <a:gd name="T13" fmla="*/ 0 h 44"/>
                <a:gd name="T14" fmla="*/ 61 w 61"/>
                <a:gd name="T15" fmla="*/ 44 h 44"/>
              </a:gdLst>
              <a:ahLst/>
              <a:cxnLst>
                <a:cxn ang="T8">
                  <a:pos x="T0" y="T1"/>
                </a:cxn>
                <a:cxn ang="T9">
                  <a:pos x="T2" y="T3"/>
                </a:cxn>
                <a:cxn ang="T10">
                  <a:pos x="T4" y="T5"/>
                </a:cxn>
                <a:cxn ang="T11">
                  <a:pos x="T6" y="T7"/>
                </a:cxn>
              </a:cxnLst>
              <a:rect l="T12" t="T13" r="T14" b="T15"/>
              <a:pathLst>
                <a:path w="61" h="44">
                  <a:moveTo>
                    <a:pt x="54" y="0"/>
                  </a:moveTo>
                  <a:lnTo>
                    <a:pt x="0" y="44"/>
                  </a:lnTo>
                  <a:lnTo>
                    <a:pt x="61" y="12"/>
                  </a:lnTo>
                  <a:lnTo>
                    <a:pt x="54" y="0"/>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62" name="Freeform 1833"/>
            <p:cNvSpPr>
              <a:spLocks/>
            </p:cNvSpPr>
            <p:nvPr/>
          </p:nvSpPr>
          <p:spPr bwMode="auto">
            <a:xfrm>
              <a:off x="6049963" y="5253116"/>
              <a:ext cx="41275" cy="58738"/>
            </a:xfrm>
            <a:custGeom>
              <a:avLst/>
              <a:gdLst>
                <a:gd name="T0" fmla="*/ 2147483647 w 26"/>
                <a:gd name="T1" fmla="*/ 2147483647 h 37"/>
                <a:gd name="T2" fmla="*/ 2147483647 w 26"/>
                <a:gd name="T3" fmla="*/ 2147483647 h 37"/>
                <a:gd name="T4" fmla="*/ 2147483647 w 26"/>
                <a:gd name="T5" fmla="*/ 0 h 37"/>
                <a:gd name="T6" fmla="*/ 2147483647 w 26"/>
                <a:gd name="T7" fmla="*/ 2147483647 h 37"/>
                <a:gd name="T8" fmla="*/ 2147483647 w 26"/>
                <a:gd name="T9" fmla="*/ 2147483647 h 37"/>
                <a:gd name="T10" fmla="*/ 0 60000 65536"/>
                <a:gd name="T11" fmla="*/ 0 60000 65536"/>
                <a:gd name="T12" fmla="*/ 0 60000 65536"/>
                <a:gd name="T13" fmla="*/ 0 60000 65536"/>
                <a:gd name="T14" fmla="*/ 0 60000 65536"/>
                <a:gd name="T15" fmla="*/ 0 w 26"/>
                <a:gd name="T16" fmla="*/ 0 h 37"/>
                <a:gd name="T17" fmla="*/ 26 w 26"/>
                <a:gd name="T18" fmla="*/ 37 h 37"/>
              </a:gdLst>
              <a:ahLst/>
              <a:cxnLst>
                <a:cxn ang="T10">
                  <a:pos x="T0" y="T1"/>
                </a:cxn>
                <a:cxn ang="T11">
                  <a:pos x="T2" y="T3"/>
                </a:cxn>
                <a:cxn ang="T12">
                  <a:pos x="T4" y="T5"/>
                </a:cxn>
                <a:cxn ang="T13">
                  <a:pos x="T6" y="T7"/>
                </a:cxn>
                <a:cxn ang="T14">
                  <a:pos x="T8" y="T9"/>
                </a:cxn>
              </a:cxnLst>
              <a:rect l="T15" t="T16" r="T17" b="T18"/>
              <a:pathLst>
                <a:path w="26" h="37">
                  <a:moveTo>
                    <a:pt x="20" y="37"/>
                  </a:moveTo>
                  <a:cubicBezTo>
                    <a:pt x="18" y="37"/>
                    <a:pt x="10" y="19"/>
                    <a:pt x="7" y="13"/>
                  </a:cubicBezTo>
                  <a:cubicBezTo>
                    <a:pt x="4" y="7"/>
                    <a:pt x="0" y="0"/>
                    <a:pt x="2" y="0"/>
                  </a:cubicBezTo>
                  <a:cubicBezTo>
                    <a:pt x="4" y="0"/>
                    <a:pt x="18" y="9"/>
                    <a:pt x="22" y="15"/>
                  </a:cubicBezTo>
                  <a:cubicBezTo>
                    <a:pt x="26" y="21"/>
                    <a:pt x="22" y="37"/>
                    <a:pt x="20" y="37"/>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63" name="Freeform 1834"/>
            <p:cNvSpPr>
              <a:spLocks/>
            </p:cNvSpPr>
            <p:nvPr/>
          </p:nvSpPr>
          <p:spPr bwMode="auto">
            <a:xfrm>
              <a:off x="6045200" y="4997528"/>
              <a:ext cx="244475" cy="330200"/>
            </a:xfrm>
            <a:custGeom>
              <a:avLst/>
              <a:gdLst>
                <a:gd name="T0" fmla="*/ 2147483647 w 154"/>
                <a:gd name="T1" fmla="*/ 2147483647 h 208"/>
                <a:gd name="T2" fmla="*/ 2147483647 w 154"/>
                <a:gd name="T3" fmla="*/ 2147483647 h 208"/>
                <a:gd name="T4" fmla="*/ 2147483647 w 154"/>
                <a:gd name="T5" fmla="*/ 2147483647 h 208"/>
                <a:gd name="T6" fmla="*/ 2147483647 w 154"/>
                <a:gd name="T7" fmla="*/ 2147483647 h 208"/>
                <a:gd name="T8" fmla="*/ 2147483647 w 154"/>
                <a:gd name="T9" fmla="*/ 2147483647 h 208"/>
                <a:gd name="T10" fmla="*/ 2147483647 w 154"/>
                <a:gd name="T11" fmla="*/ 2147483647 h 208"/>
                <a:gd name="T12" fmla="*/ 2147483647 w 154"/>
                <a:gd name="T13" fmla="*/ 2147483647 h 208"/>
                <a:gd name="T14" fmla="*/ 2147483647 w 154"/>
                <a:gd name="T15" fmla="*/ 2147483647 h 208"/>
                <a:gd name="T16" fmla="*/ 2147483647 w 154"/>
                <a:gd name="T17" fmla="*/ 2147483647 h 208"/>
                <a:gd name="T18" fmla="*/ 2147483647 w 154"/>
                <a:gd name="T19" fmla="*/ 2147483647 h 208"/>
                <a:gd name="T20" fmla="*/ 2147483647 w 154"/>
                <a:gd name="T21" fmla="*/ 2147483647 h 208"/>
                <a:gd name="T22" fmla="*/ 2147483647 w 154"/>
                <a:gd name="T23" fmla="*/ 0 h 208"/>
                <a:gd name="T24" fmla="*/ 2147483647 w 154"/>
                <a:gd name="T25" fmla="*/ 2147483647 h 208"/>
                <a:gd name="T26" fmla="*/ 2147483647 w 154"/>
                <a:gd name="T27" fmla="*/ 2147483647 h 208"/>
                <a:gd name="T28" fmla="*/ 2147483647 w 154"/>
                <a:gd name="T29" fmla="*/ 2147483647 h 208"/>
                <a:gd name="T30" fmla="*/ 2147483647 w 154"/>
                <a:gd name="T31" fmla="*/ 2147483647 h 208"/>
                <a:gd name="T32" fmla="*/ 2147483647 w 154"/>
                <a:gd name="T33" fmla="*/ 2147483647 h 208"/>
                <a:gd name="T34" fmla="*/ 2147483647 w 154"/>
                <a:gd name="T35" fmla="*/ 2147483647 h 208"/>
                <a:gd name="T36" fmla="*/ 2147483647 w 154"/>
                <a:gd name="T37" fmla="*/ 2147483647 h 208"/>
                <a:gd name="T38" fmla="*/ 2147483647 w 154"/>
                <a:gd name="T39" fmla="*/ 2147483647 h 208"/>
                <a:gd name="T40" fmla="*/ 2147483647 w 154"/>
                <a:gd name="T41" fmla="*/ 2147483647 h 208"/>
                <a:gd name="T42" fmla="*/ 2147483647 w 154"/>
                <a:gd name="T43" fmla="*/ 2147483647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4"/>
                <a:gd name="T67" fmla="*/ 0 h 208"/>
                <a:gd name="T68" fmla="*/ 154 w 154"/>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4" h="208">
                  <a:moveTo>
                    <a:pt x="55" y="207"/>
                  </a:moveTo>
                  <a:cubicBezTo>
                    <a:pt x="50" y="208"/>
                    <a:pt x="43" y="201"/>
                    <a:pt x="41" y="195"/>
                  </a:cubicBezTo>
                  <a:cubicBezTo>
                    <a:pt x="39" y="189"/>
                    <a:pt x="43" y="178"/>
                    <a:pt x="40" y="170"/>
                  </a:cubicBezTo>
                  <a:cubicBezTo>
                    <a:pt x="37" y="162"/>
                    <a:pt x="28" y="154"/>
                    <a:pt x="23" y="146"/>
                  </a:cubicBezTo>
                  <a:cubicBezTo>
                    <a:pt x="18" y="138"/>
                    <a:pt x="13" y="130"/>
                    <a:pt x="13" y="123"/>
                  </a:cubicBezTo>
                  <a:cubicBezTo>
                    <a:pt x="13" y="116"/>
                    <a:pt x="21" y="111"/>
                    <a:pt x="23" y="101"/>
                  </a:cubicBezTo>
                  <a:cubicBezTo>
                    <a:pt x="25" y="91"/>
                    <a:pt x="26" y="72"/>
                    <a:pt x="25" y="62"/>
                  </a:cubicBezTo>
                  <a:cubicBezTo>
                    <a:pt x="24" y="52"/>
                    <a:pt x="20" y="47"/>
                    <a:pt x="16" y="41"/>
                  </a:cubicBezTo>
                  <a:cubicBezTo>
                    <a:pt x="12" y="35"/>
                    <a:pt x="0" y="31"/>
                    <a:pt x="2" y="27"/>
                  </a:cubicBezTo>
                  <a:cubicBezTo>
                    <a:pt x="4" y="23"/>
                    <a:pt x="21" y="17"/>
                    <a:pt x="28" y="15"/>
                  </a:cubicBezTo>
                  <a:cubicBezTo>
                    <a:pt x="35" y="13"/>
                    <a:pt x="42" y="17"/>
                    <a:pt x="47" y="15"/>
                  </a:cubicBezTo>
                  <a:cubicBezTo>
                    <a:pt x="52" y="13"/>
                    <a:pt x="55" y="0"/>
                    <a:pt x="59" y="0"/>
                  </a:cubicBezTo>
                  <a:cubicBezTo>
                    <a:pt x="63" y="0"/>
                    <a:pt x="66" y="10"/>
                    <a:pt x="70" y="12"/>
                  </a:cubicBezTo>
                  <a:cubicBezTo>
                    <a:pt x="74" y="14"/>
                    <a:pt x="80" y="15"/>
                    <a:pt x="86" y="15"/>
                  </a:cubicBezTo>
                  <a:cubicBezTo>
                    <a:pt x="92" y="15"/>
                    <a:pt x="95" y="11"/>
                    <a:pt x="104" y="15"/>
                  </a:cubicBezTo>
                  <a:cubicBezTo>
                    <a:pt x="113" y="19"/>
                    <a:pt x="134" y="29"/>
                    <a:pt x="142" y="38"/>
                  </a:cubicBezTo>
                  <a:cubicBezTo>
                    <a:pt x="150" y="47"/>
                    <a:pt x="154" y="60"/>
                    <a:pt x="154" y="68"/>
                  </a:cubicBezTo>
                  <a:cubicBezTo>
                    <a:pt x="154" y="76"/>
                    <a:pt x="145" y="80"/>
                    <a:pt x="140" y="89"/>
                  </a:cubicBezTo>
                  <a:cubicBezTo>
                    <a:pt x="135" y="98"/>
                    <a:pt x="129" y="113"/>
                    <a:pt x="121" y="125"/>
                  </a:cubicBezTo>
                  <a:cubicBezTo>
                    <a:pt x="113" y="137"/>
                    <a:pt x="99" y="149"/>
                    <a:pt x="91" y="159"/>
                  </a:cubicBezTo>
                  <a:cubicBezTo>
                    <a:pt x="83" y="169"/>
                    <a:pt x="80" y="178"/>
                    <a:pt x="73" y="186"/>
                  </a:cubicBezTo>
                  <a:cubicBezTo>
                    <a:pt x="66" y="194"/>
                    <a:pt x="60" y="206"/>
                    <a:pt x="55" y="207"/>
                  </a:cubicBezTo>
                  <a:close/>
                </a:path>
              </a:pathLst>
            </a:custGeom>
            <a:solidFill>
              <a:srgbClr val="663300"/>
            </a:solidFill>
            <a:ln w="9525" cap="flat" cmpd="sng">
              <a:solidFill>
                <a:srgbClr val="663300"/>
              </a:solidFill>
              <a:prstDash val="solid"/>
              <a:round/>
              <a:headEnd type="none" w="med" len="med"/>
              <a:tailEnd type="none" w="med" len="med"/>
            </a:ln>
          </p:spPr>
          <p:txBody>
            <a:bodyPr wrap="none" lIns="0" tIns="0" rIns="0" bIns="0">
              <a:spAutoFit/>
            </a:bodyPr>
            <a:lstStyle/>
            <a:p>
              <a:endParaRPr lang="de-DE"/>
            </a:p>
          </p:txBody>
        </p:sp>
        <p:sp>
          <p:nvSpPr>
            <p:cNvPr id="664" name="Freeform 1835"/>
            <p:cNvSpPr>
              <a:spLocks/>
            </p:cNvSpPr>
            <p:nvPr/>
          </p:nvSpPr>
          <p:spPr bwMode="auto">
            <a:xfrm>
              <a:off x="4352925" y="4873703"/>
              <a:ext cx="1936750" cy="747713"/>
            </a:xfrm>
            <a:custGeom>
              <a:avLst/>
              <a:gdLst>
                <a:gd name="T0" fmla="*/ 0 w 1220"/>
                <a:gd name="T1" fmla="*/ 2147483647 h 471"/>
                <a:gd name="T2" fmla="*/ 2147483647 w 1220"/>
                <a:gd name="T3" fmla="*/ 2147483647 h 471"/>
                <a:gd name="T4" fmla="*/ 2147483647 w 1220"/>
                <a:gd name="T5" fmla="*/ 2147483647 h 471"/>
                <a:gd name="T6" fmla="*/ 2147483647 w 1220"/>
                <a:gd name="T7" fmla="*/ 2147483647 h 471"/>
                <a:gd name="T8" fmla="*/ 2147483647 w 1220"/>
                <a:gd name="T9" fmla="*/ 2147483647 h 471"/>
                <a:gd name="T10" fmla="*/ 2147483647 w 1220"/>
                <a:gd name="T11" fmla="*/ 2147483647 h 471"/>
                <a:gd name="T12" fmla="*/ 2147483647 w 1220"/>
                <a:gd name="T13" fmla="*/ 2147483647 h 471"/>
                <a:gd name="T14" fmla="*/ 2147483647 w 1220"/>
                <a:gd name="T15" fmla="*/ 2147483647 h 471"/>
                <a:gd name="T16" fmla="*/ 2147483647 w 1220"/>
                <a:gd name="T17" fmla="*/ 2147483647 h 471"/>
                <a:gd name="T18" fmla="*/ 2147483647 w 1220"/>
                <a:gd name="T19" fmla="*/ 2147483647 h 471"/>
                <a:gd name="T20" fmla="*/ 2147483647 w 1220"/>
                <a:gd name="T21" fmla="*/ 2147483647 h 471"/>
                <a:gd name="T22" fmla="*/ 2147483647 w 1220"/>
                <a:gd name="T23" fmla="*/ 2147483647 h 471"/>
                <a:gd name="T24" fmla="*/ 2147483647 w 1220"/>
                <a:gd name="T25" fmla="*/ 2147483647 h 471"/>
                <a:gd name="T26" fmla="*/ 2147483647 w 1220"/>
                <a:gd name="T27" fmla="*/ 2147483647 h 471"/>
                <a:gd name="T28" fmla="*/ 2147483647 w 1220"/>
                <a:gd name="T29" fmla="*/ 2147483647 h 471"/>
                <a:gd name="T30" fmla="*/ 2147483647 w 1220"/>
                <a:gd name="T31" fmla="*/ 2147483647 h 471"/>
                <a:gd name="T32" fmla="*/ 2147483647 w 1220"/>
                <a:gd name="T33" fmla="*/ 2147483647 h 471"/>
                <a:gd name="T34" fmla="*/ 2147483647 w 1220"/>
                <a:gd name="T35" fmla="*/ 2147483647 h 471"/>
                <a:gd name="T36" fmla="*/ 2147483647 w 1220"/>
                <a:gd name="T37" fmla="*/ 2147483647 h 471"/>
                <a:gd name="T38" fmla="*/ 2147483647 w 1220"/>
                <a:gd name="T39" fmla="*/ 2147483647 h 471"/>
                <a:gd name="T40" fmla="*/ 2147483647 w 1220"/>
                <a:gd name="T41" fmla="*/ 2147483647 h 471"/>
                <a:gd name="T42" fmla="*/ 2147483647 w 1220"/>
                <a:gd name="T43" fmla="*/ 2147483647 h 471"/>
                <a:gd name="T44" fmla="*/ 2147483647 w 1220"/>
                <a:gd name="T45" fmla="*/ 2147483647 h 471"/>
                <a:gd name="T46" fmla="*/ 2147483647 w 1220"/>
                <a:gd name="T47" fmla="*/ 2147483647 h 471"/>
                <a:gd name="T48" fmla="*/ 2147483647 w 1220"/>
                <a:gd name="T49" fmla="*/ 2147483647 h 471"/>
                <a:gd name="T50" fmla="*/ 2147483647 w 1220"/>
                <a:gd name="T51" fmla="*/ 2147483647 h 471"/>
                <a:gd name="T52" fmla="*/ 2147483647 w 1220"/>
                <a:gd name="T53" fmla="*/ 0 h 471"/>
                <a:gd name="T54" fmla="*/ 2147483647 w 1220"/>
                <a:gd name="T55" fmla="*/ 2147483647 h 471"/>
                <a:gd name="T56" fmla="*/ 2147483647 w 1220"/>
                <a:gd name="T57" fmla="*/ 2147483647 h 471"/>
                <a:gd name="T58" fmla="*/ 2147483647 w 1220"/>
                <a:gd name="T59" fmla="*/ 2147483647 h 471"/>
                <a:gd name="T60" fmla="*/ 2147483647 w 1220"/>
                <a:gd name="T61" fmla="*/ 2147483647 h 471"/>
                <a:gd name="T62" fmla="*/ 2147483647 w 1220"/>
                <a:gd name="T63" fmla="*/ 2147483647 h 471"/>
                <a:gd name="T64" fmla="*/ 2147483647 w 1220"/>
                <a:gd name="T65" fmla="*/ 2147483647 h 47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20"/>
                <a:gd name="T100" fmla="*/ 0 h 471"/>
                <a:gd name="T101" fmla="*/ 1220 w 1220"/>
                <a:gd name="T102" fmla="*/ 471 h 47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20" h="471">
                  <a:moveTo>
                    <a:pt x="0" y="452"/>
                  </a:moveTo>
                  <a:cubicBezTo>
                    <a:pt x="9" y="452"/>
                    <a:pt x="34" y="453"/>
                    <a:pt x="53" y="456"/>
                  </a:cubicBezTo>
                  <a:cubicBezTo>
                    <a:pt x="72" y="459"/>
                    <a:pt x="98" y="469"/>
                    <a:pt x="114" y="470"/>
                  </a:cubicBezTo>
                  <a:cubicBezTo>
                    <a:pt x="130" y="471"/>
                    <a:pt x="139" y="469"/>
                    <a:pt x="152" y="465"/>
                  </a:cubicBezTo>
                  <a:cubicBezTo>
                    <a:pt x="165" y="461"/>
                    <a:pt x="184" y="452"/>
                    <a:pt x="195" y="444"/>
                  </a:cubicBezTo>
                  <a:cubicBezTo>
                    <a:pt x="206" y="436"/>
                    <a:pt x="211" y="427"/>
                    <a:pt x="221" y="419"/>
                  </a:cubicBezTo>
                  <a:cubicBezTo>
                    <a:pt x="231" y="411"/>
                    <a:pt x="246" y="401"/>
                    <a:pt x="257" y="395"/>
                  </a:cubicBezTo>
                  <a:cubicBezTo>
                    <a:pt x="268" y="389"/>
                    <a:pt x="277" y="386"/>
                    <a:pt x="288" y="383"/>
                  </a:cubicBezTo>
                  <a:cubicBezTo>
                    <a:pt x="299" y="380"/>
                    <a:pt x="301" y="377"/>
                    <a:pt x="321" y="375"/>
                  </a:cubicBezTo>
                  <a:cubicBezTo>
                    <a:pt x="341" y="373"/>
                    <a:pt x="382" y="371"/>
                    <a:pt x="408" y="369"/>
                  </a:cubicBezTo>
                  <a:cubicBezTo>
                    <a:pt x="434" y="367"/>
                    <a:pt x="452" y="366"/>
                    <a:pt x="480" y="363"/>
                  </a:cubicBezTo>
                  <a:cubicBezTo>
                    <a:pt x="508" y="360"/>
                    <a:pt x="555" y="354"/>
                    <a:pt x="576" y="350"/>
                  </a:cubicBezTo>
                  <a:cubicBezTo>
                    <a:pt x="597" y="346"/>
                    <a:pt x="599" y="345"/>
                    <a:pt x="609" y="341"/>
                  </a:cubicBezTo>
                  <a:cubicBezTo>
                    <a:pt x="619" y="337"/>
                    <a:pt x="628" y="337"/>
                    <a:pt x="639" y="327"/>
                  </a:cubicBezTo>
                  <a:cubicBezTo>
                    <a:pt x="650" y="317"/>
                    <a:pt x="664" y="293"/>
                    <a:pt x="675" y="281"/>
                  </a:cubicBezTo>
                  <a:cubicBezTo>
                    <a:pt x="686" y="269"/>
                    <a:pt x="690" y="265"/>
                    <a:pt x="705" y="257"/>
                  </a:cubicBezTo>
                  <a:cubicBezTo>
                    <a:pt x="720" y="249"/>
                    <a:pt x="747" y="239"/>
                    <a:pt x="764" y="230"/>
                  </a:cubicBezTo>
                  <a:cubicBezTo>
                    <a:pt x="781" y="221"/>
                    <a:pt x="798" y="209"/>
                    <a:pt x="810" y="200"/>
                  </a:cubicBezTo>
                  <a:cubicBezTo>
                    <a:pt x="822" y="191"/>
                    <a:pt x="826" y="184"/>
                    <a:pt x="836" y="177"/>
                  </a:cubicBezTo>
                  <a:cubicBezTo>
                    <a:pt x="846" y="170"/>
                    <a:pt x="857" y="163"/>
                    <a:pt x="869" y="158"/>
                  </a:cubicBezTo>
                  <a:cubicBezTo>
                    <a:pt x="881" y="153"/>
                    <a:pt x="899" y="150"/>
                    <a:pt x="911" y="144"/>
                  </a:cubicBezTo>
                  <a:cubicBezTo>
                    <a:pt x="923" y="138"/>
                    <a:pt x="934" y="129"/>
                    <a:pt x="942" y="123"/>
                  </a:cubicBezTo>
                  <a:cubicBezTo>
                    <a:pt x="950" y="117"/>
                    <a:pt x="956" y="118"/>
                    <a:pt x="962" y="110"/>
                  </a:cubicBezTo>
                  <a:cubicBezTo>
                    <a:pt x="968" y="102"/>
                    <a:pt x="973" y="87"/>
                    <a:pt x="978" y="75"/>
                  </a:cubicBezTo>
                  <a:cubicBezTo>
                    <a:pt x="983" y="63"/>
                    <a:pt x="986" y="49"/>
                    <a:pt x="993" y="39"/>
                  </a:cubicBezTo>
                  <a:cubicBezTo>
                    <a:pt x="1000" y="29"/>
                    <a:pt x="1009" y="18"/>
                    <a:pt x="1017" y="12"/>
                  </a:cubicBezTo>
                  <a:cubicBezTo>
                    <a:pt x="1025" y="6"/>
                    <a:pt x="1034" y="0"/>
                    <a:pt x="1043" y="0"/>
                  </a:cubicBezTo>
                  <a:cubicBezTo>
                    <a:pt x="1052" y="0"/>
                    <a:pt x="1065" y="4"/>
                    <a:pt x="1074" y="9"/>
                  </a:cubicBezTo>
                  <a:cubicBezTo>
                    <a:pt x="1083" y="14"/>
                    <a:pt x="1089" y="23"/>
                    <a:pt x="1097" y="30"/>
                  </a:cubicBezTo>
                  <a:cubicBezTo>
                    <a:pt x="1105" y="37"/>
                    <a:pt x="1113" y="47"/>
                    <a:pt x="1121" y="54"/>
                  </a:cubicBezTo>
                  <a:cubicBezTo>
                    <a:pt x="1129" y="61"/>
                    <a:pt x="1136" y="69"/>
                    <a:pt x="1143" y="71"/>
                  </a:cubicBezTo>
                  <a:cubicBezTo>
                    <a:pt x="1150" y="73"/>
                    <a:pt x="1151" y="70"/>
                    <a:pt x="1164" y="66"/>
                  </a:cubicBezTo>
                  <a:cubicBezTo>
                    <a:pt x="1177" y="62"/>
                    <a:pt x="1198" y="53"/>
                    <a:pt x="1220" y="45"/>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65" name="Freeform 1836"/>
            <p:cNvSpPr>
              <a:spLocks/>
            </p:cNvSpPr>
            <p:nvPr/>
          </p:nvSpPr>
          <p:spPr bwMode="auto">
            <a:xfrm>
              <a:off x="5989638" y="4633991"/>
              <a:ext cx="209550" cy="146050"/>
            </a:xfrm>
            <a:custGeom>
              <a:avLst/>
              <a:gdLst>
                <a:gd name="T0" fmla="*/ 2147483647 w 132"/>
                <a:gd name="T1" fmla="*/ 2147483647 h 92"/>
                <a:gd name="T2" fmla="*/ 2147483647 w 132"/>
                <a:gd name="T3" fmla="*/ 2147483647 h 92"/>
                <a:gd name="T4" fmla="*/ 2147483647 w 132"/>
                <a:gd name="T5" fmla="*/ 2147483647 h 92"/>
                <a:gd name="T6" fmla="*/ 2147483647 w 132"/>
                <a:gd name="T7" fmla="*/ 2147483647 h 92"/>
                <a:gd name="T8" fmla="*/ 2147483647 w 132"/>
                <a:gd name="T9" fmla="*/ 2147483647 h 92"/>
                <a:gd name="T10" fmla="*/ 2147483647 w 132"/>
                <a:gd name="T11" fmla="*/ 2147483647 h 92"/>
                <a:gd name="T12" fmla="*/ 2147483647 w 132"/>
                <a:gd name="T13" fmla="*/ 2147483647 h 92"/>
                <a:gd name="T14" fmla="*/ 2147483647 w 132"/>
                <a:gd name="T15" fmla="*/ 2147483647 h 92"/>
                <a:gd name="T16" fmla="*/ 2147483647 w 132"/>
                <a:gd name="T17" fmla="*/ 2147483647 h 92"/>
                <a:gd name="T18" fmla="*/ 2147483647 w 132"/>
                <a:gd name="T19" fmla="*/ 2147483647 h 92"/>
                <a:gd name="T20" fmla="*/ 2147483647 w 132"/>
                <a:gd name="T21" fmla="*/ 2147483647 h 92"/>
                <a:gd name="T22" fmla="*/ 2147483647 w 132"/>
                <a:gd name="T23" fmla="*/ 2147483647 h 92"/>
                <a:gd name="T24" fmla="*/ 2147483647 w 132"/>
                <a:gd name="T25" fmla="*/ 2147483647 h 92"/>
                <a:gd name="T26" fmla="*/ 2147483647 w 132"/>
                <a:gd name="T27" fmla="*/ 2147483647 h 92"/>
                <a:gd name="T28" fmla="*/ 2147483647 w 132"/>
                <a:gd name="T29" fmla="*/ 2147483647 h 92"/>
                <a:gd name="T30" fmla="*/ 2147483647 w 132"/>
                <a:gd name="T31" fmla="*/ 2147483647 h 9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2"/>
                <a:gd name="T49" fmla="*/ 0 h 92"/>
                <a:gd name="T50" fmla="*/ 132 w 132"/>
                <a:gd name="T51" fmla="*/ 92 h 9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2" h="92">
                  <a:moveTo>
                    <a:pt x="115" y="39"/>
                  </a:moveTo>
                  <a:cubicBezTo>
                    <a:pt x="110" y="41"/>
                    <a:pt x="100" y="40"/>
                    <a:pt x="94" y="45"/>
                  </a:cubicBezTo>
                  <a:cubicBezTo>
                    <a:pt x="88" y="50"/>
                    <a:pt x="84" y="63"/>
                    <a:pt x="79" y="66"/>
                  </a:cubicBezTo>
                  <a:cubicBezTo>
                    <a:pt x="74" y="69"/>
                    <a:pt x="73" y="62"/>
                    <a:pt x="66" y="64"/>
                  </a:cubicBezTo>
                  <a:cubicBezTo>
                    <a:pt x="59" y="66"/>
                    <a:pt x="48" y="74"/>
                    <a:pt x="40" y="78"/>
                  </a:cubicBezTo>
                  <a:cubicBezTo>
                    <a:pt x="32" y="82"/>
                    <a:pt x="25" y="88"/>
                    <a:pt x="19" y="90"/>
                  </a:cubicBezTo>
                  <a:cubicBezTo>
                    <a:pt x="13" y="92"/>
                    <a:pt x="7" y="92"/>
                    <a:pt x="4" y="91"/>
                  </a:cubicBezTo>
                  <a:cubicBezTo>
                    <a:pt x="1" y="90"/>
                    <a:pt x="0" y="85"/>
                    <a:pt x="3" y="81"/>
                  </a:cubicBezTo>
                  <a:cubicBezTo>
                    <a:pt x="6" y="77"/>
                    <a:pt x="12" y="73"/>
                    <a:pt x="21" y="67"/>
                  </a:cubicBezTo>
                  <a:cubicBezTo>
                    <a:pt x="30" y="61"/>
                    <a:pt x="46" y="51"/>
                    <a:pt x="58" y="43"/>
                  </a:cubicBezTo>
                  <a:cubicBezTo>
                    <a:pt x="70" y="35"/>
                    <a:pt x="85" y="27"/>
                    <a:pt x="93" y="21"/>
                  </a:cubicBezTo>
                  <a:cubicBezTo>
                    <a:pt x="101" y="15"/>
                    <a:pt x="103" y="10"/>
                    <a:pt x="108" y="7"/>
                  </a:cubicBezTo>
                  <a:cubicBezTo>
                    <a:pt x="113" y="4"/>
                    <a:pt x="119" y="0"/>
                    <a:pt x="123" y="1"/>
                  </a:cubicBezTo>
                  <a:cubicBezTo>
                    <a:pt x="127" y="2"/>
                    <a:pt x="132" y="5"/>
                    <a:pt x="132" y="10"/>
                  </a:cubicBezTo>
                  <a:cubicBezTo>
                    <a:pt x="132" y="15"/>
                    <a:pt x="126" y="28"/>
                    <a:pt x="123" y="33"/>
                  </a:cubicBezTo>
                  <a:cubicBezTo>
                    <a:pt x="120" y="38"/>
                    <a:pt x="120" y="37"/>
                    <a:pt x="115" y="39"/>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66" name="Freeform 1837"/>
            <p:cNvSpPr>
              <a:spLocks/>
            </p:cNvSpPr>
            <p:nvPr/>
          </p:nvSpPr>
          <p:spPr bwMode="auto">
            <a:xfrm>
              <a:off x="6148388" y="4699078"/>
              <a:ext cx="80963" cy="79375"/>
            </a:xfrm>
            <a:custGeom>
              <a:avLst/>
              <a:gdLst>
                <a:gd name="T0" fmla="*/ 2147483647 w 51"/>
                <a:gd name="T1" fmla="*/ 2147483647 h 50"/>
                <a:gd name="T2" fmla="*/ 2147483647 w 51"/>
                <a:gd name="T3" fmla="*/ 2147483647 h 50"/>
                <a:gd name="T4" fmla="*/ 0 w 51"/>
                <a:gd name="T5" fmla="*/ 2147483647 h 50"/>
                <a:gd name="T6" fmla="*/ 2147483647 w 51"/>
                <a:gd name="T7" fmla="*/ 2147483647 h 50"/>
                <a:gd name="T8" fmla="*/ 2147483647 w 51"/>
                <a:gd name="T9" fmla="*/ 2147483647 h 50"/>
                <a:gd name="T10" fmla="*/ 2147483647 w 51"/>
                <a:gd name="T11" fmla="*/ 2147483647 h 50"/>
                <a:gd name="T12" fmla="*/ 2147483647 w 51"/>
                <a:gd name="T13" fmla="*/ 2147483647 h 50"/>
                <a:gd name="T14" fmla="*/ 2147483647 w 51"/>
                <a:gd name="T15" fmla="*/ 2147483647 h 50"/>
                <a:gd name="T16" fmla="*/ 2147483647 w 51"/>
                <a:gd name="T17" fmla="*/ 2147483647 h 50"/>
                <a:gd name="T18" fmla="*/ 2147483647 w 51"/>
                <a:gd name="T19" fmla="*/ 2147483647 h 50"/>
                <a:gd name="T20" fmla="*/ 2147483647 w 51"/>
                <a:gd name="T21" fmla="*/ 2147483647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1"/>
                <a:gd name="T34" fmla="*/ 0 h 50"/>
                <a:gd name="T35" fmla="*/ 51 w 51"/>
                <a:gd name="T36" fmla="*/ 50 h 5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1" h="50">
                  <a:moveTo>
                    <a:pt x="21" y="50"/>
                  </a:moveTo>
                  <a:cubicBezTo>
                    <a:pt x="17" y="50"/>
                    <a:pt x="9" y="46"/>
                    <a:pt x="6" y="44"/>
                  </a:cubicBezTo>
                  <a:cubicBezTo>
                    <a:pt x="3" y="42"/>
                    <a:pt x="0" y="39"/>
                    <a:pt x="0" y="35"/>
                  </a:cubicBezTo>
                  <a:cubicBezTo>
                    <a:pt x="0" y="31"/>
                    <a:pt x="3" y="24"/>
                    <a:pt x="6" y="22"/>
                  </a:cubicBezTo>
                  <a:cubicBezTo>
                    <a:pt x="9" y="20"/>
                    <a:pt x="15" y="24"/>
                    <a:pt x="20" y="22"/>
                  </a:cubicBezTo>
                  <a:cubicBezTo>
                    <a:pt x="25" y="20"/>
                    <a:pt x="30" y="13"/>
                    <a:pt x="35" y="10"/>
                  </a:cubicBezTo>
                  <a:cubicBezTo>
                    <a:pt x="40" y="7"/>
                    <a:pt x="51" y="0"/>
                    <a:pt x="51" y="2"/>
                  </a:cubicBezTo>
                  <a:cubicBezTo>
                    <a:pt x="51" y="4"/>
                    <a:pt x="42" y="15"/>
                    <a:pt x="38" y="20"/>
                  </a:cubicBezTo>
                  <a:cubicBezTo>
                    <a:pt x="34" y="25"/>
                    <a:pt x="28" y="28"/>
                    <a:pt x="27" y="32"/>
                  </a:cubicBezTo>
                  <a:cubicBezTo>
                    <a:pt x="26" y="36"/>
                    <a:pt x="34" y="45"/>
                    <a:pt x="33" y="47"/>
                  </a:cubicBezTo>
                  <a:cubicBezTo>
                    <a:pt x="32" y="49"/>
                    <a:pt x="25" y="50"/>
                    <a:pt x="21" y="50"/>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67" name="Freeform 1838"/>
            <p:cNvSpPr>
              <a:spLocks/>
            </p:cNvSpPr>
            <p:nvPr/>
          </p:nvSpPr>
          <p:spPr bwMode="auto">
            <a:xfrm>
              <a:off x="5434013" y="4807028"/>
              <a:ext cx="174625" cy="238125"/>
            </a:xfrm>
            <a:custGeom>
              <a:avLst/>
              <a:gdLst>
                <a:gd name="T0" fmla="*/ 2147483647 w 110"/>
                <a:gd name="T1" fmla="*/ 2147483647 h 150"/>
                <a:gd name="T2" fmla="*/ 2147483647 w 110"/>
                <a:gd name="T3" fmla="*/ 2147483647 h 150"/>
                <a:gd name="T4" fmla="*/ 0 w 110"/>
                <a:gd name="T5" fmla="*/ 2147483647 h 150"/>
                <a:gd name="T6" fmla="*/ 2147483647 w 110"/>
                <a:gd name="T7" fmla="*/ 2147483647 h 150"/>
                <a:gd name="T8" fmla="*/ 2147483647 w 110"/>
                <a:gd name="T9" fmla="*/ 2147483647 h 150"/>
                <a:gd name="T10" fmla="*/ 2147483647 w 110"/>
                <a:gd name="T11" fmla="*/ 2147483647 h 150"/>
                <a:gd name="T12" fmla="*/ 2147483647 w 110"/>
                <a:gd name="T13" fmla="*/ 0 h 150"/>
                <a:gd name="T14" fmla="*/ 2147483647 w 110"/>
                <a:gd name="T15" fmla="*/ 2147483647 h 150"/>
                <a:gd name="T16" fmla="*/ 2147483647 w 110"/>
                <a:gd name="T17" fmla="*/ 2147483647 h 150"/>
                <a:gd name="T18" fmla="*/ 2147483647 w 110"/>
                <a:gd name="T19" fmla="*/ 2147483647 h 150"/>
                <a:gd name="T20" fmla="*/ 2147483647 w 110"/>
                <a:gd name="T21" fmla="*/ 2147483647 h 150"/>
                <a:gd name="T22" fmla="*/ 2147483647 w 110"/>
                <a:gd name="T23" fmla="*/ 2147483647 h 150"/>
                <a:gd name="T24" fmla="*/ 2147483647 w 110"/>
                <a:gd name="T25" fmla="*/ 2147483647 h 150"/>
                <a:gd name="T26" fmla="*/ 2147483647 w 110"/>
                <a:gd name="T27" fmla="*/ 2147483647 h 1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0"/>
                <a:gd name="T43" fmla="*/ 0 h 150"/>
                <a:gd name="T44" fmla="*/ 110 w 110"/>
                <a:gd name="T45" fmla="*/ 150 h 1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0" h="150">
                  <a:moveTo>
                    <a:pt x="101" y="150"/>
                  </a:moveTo>
                  <a:lnTo>
                    <a:pt x="50" y="96"/>
                  </a:lnTo>
                  <a:lnTo>
                    <a:pt x="0" y="54"/>
                  </a:lnTo>
                  <a:lnTo>
                    <a:pt x="9" y="35"/>
                  </a:lnTo>
                  <a:lnTo>
                    <a:pt x="24" y="11"/>
                  </a:lnTo>
                  <a:lnTo>
                    <a:pt x="45" y="6"/>
                  </a:lnTo>
                  <a:lnTo>
                    <a:pt x="60" y="0"/>
                  </a:lnTo>
                  <a:lnTo>
                    <a:pt x="68" y="32"/>
                  </a:lnTo>
                  <a:lnTo>
                    <a:pt x="56" y="60"/>
                  </a:lnTo>
                  <a:lnTo>
                    <a:pt x="63" y="90"/>
                  </a:lnTo>
                  <a:lnTo>
                    <a:pt x="75" y="102"/>
                  </a:lnTo>
                  <a:lnTo>
                    <a:pt x="90" y="132"/>
                  </a:lnTo>
                  <a:lnTo>
                    <a:pt x="110" y="141"/>
                  </a:lnTo>
                  <a:lnTo>
                    <a:pt x="101" y="150"/>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68" name="Freeform 1839"/>
            <p:cNvSpPr>
              <a:spLocks/>
            </p:cNvSpPr>
            <p:nvPr/>
          </p:nvSpPr>
          <p:spPr bwMode="auto">
            <a:xfrm>
              <a:off x="6010275" y="4748291"/>
              <a:ext cx="122238" cy="73025"/>
            </a:xfrm>
            <a:custGeom>
              <a:avLst/>
              <a:gdLst>
                <a:gd name="T0" fmla="*/ 2147483647 w 77"/>
                <a:gd name="T1" fmla="*/ 0 h 46"/>
                <a:gd name="T2" fmla="*/ 2147483647 w 77"/>
                <a:gd name="T3" fmla="*/ 2147483647 h 46"/>
                <a:gd name="T4" fmla="*/ 2147483647 w 77"/>
                <a:gd name="T5" fmla="*/ 2147483647 h 46"/>
                <a:gd name="T6" fmla="*/ 2147483647 w 77"/>
                <a:gd name="T7" fmla="*/ 2147483647 h 46"/>
                <a:gd name="T8" fmla="*/ 0 w 77"/>
                <a:gd name="T9" fmla="*/ 2147483647 h 46"/>
                <a:gd name="T10" fmla="*/ 2147483647 w 77"/>
                <a:gd name="T11" fmla="*/ 2147483647 h 46"/>
                <a:gd name="T12" fmla="*/ 2147483647 w 77"/>
                <a:gd name="T13" fmla="*/ 2147483647 h 46"/>
                <a:gd name="T14" fmla="*/ 2147483647 w 77"/>
                <a:gd name="T15" fmla="*/ 2147483647 h 46"/>
                <a:gd name="T16" fmla="*/ 2147483647 w 77"/>
                <a:gd name="T17" fmla="*/ 0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46"/>
                <a:gd name="T29" fmla="*/ 77 w 77"/>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46">
                  <a:moveTo>
                    <a:pt x="72" y="0"/>
                  </a:moveTo>
                  <a:lnTo>
                    <a:pt x="77" y="12"/>
                  </a:lnTo>
                  <a:lnTo>
                    <a:pt x="38" y="28"/>
                  </a:lnTo>
                  <a:cubicBezTo>
                    <a:pt x="16" y="44"/>
                    <a:pt x="25" y="46"/>
                    <a:pt x="14" y="42"/>
                  </a:cubicBezTo>
                  <a:lnTo>
                    <a:pt x="0" y="30"/>
                  </a:lnTo>
                  <a:lnTo>
                    <a:pt x="17" y="28"/>
                  </a:lnTo>
                  <a:lnTo>
                    <a:pt x="29" y="27"/>
                  </a:lnTo>
                  <a:lnTo>
                    <a:pt x="30" y="16"/>
                  </a:lnTo>
                  <a:lnTo>
                    <a:pt x="72" y="0"/>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669" name="Freeform 1840"/>
            <p:cNvSpPr>
              <a:spLocks/>
            </p:cNvSpPr>
            <p:nvPr/>
          </p:nvSpPr>
          <p:spPr bwMode="auto">
            <a:xfrm>
              <a:off x="5538788" y="4357766"/>
              <a:ext cx="227013" cy="133350"/>
            </a:xfrm>
            <a:custGeom>
              <a:avLst/>
              <a:gdLst>
                <a:gd name="T0" fmla="*/ 0 w 143"/>
                <a:gd name="T1" fmla="*/ 2147483647 h 84"/>
                <a:gd name="T2" fmla="*/ 2147483647 w 143"/>
                <a:gd name="T3" fmla="*/ 0 h 84"/>
                <a:gd name="T4" fmla="*/ 2147483647 w 143"/>
                <a:gd name="T5" fmla="*/ 0 h 84"/>
                <a:gd name="T6" fmla="*/ 2147483647 w 143"/>
                <a:gd name="T7" fmla="*/ 2147483647 h 84"/>
                <a:gd name="T8" fmla="*/ 2147483647 w 143"/>
                <a:gd name="T9" fmla="*/ 2147483647 h 84"/>
                <a:gd name="T10" fmla="*/ 2147483647 w 143"/>
                <a:gd name="T11" fmla="*/ 2147483647 h 84"/>
                <a:gd name="T12" fmla="*/ 0 w 143"/>
                <a:gd name="T13" fmla="*/ 2147483647 h 84"/>
                <a:gd name="T14" fmla="*/ 0 60000 65536"/>
                <a:gd name="T15" fmla="*/ 0 60000 65536"/>
                <a:gd name="T16" fmla="*/ 0 60000 65536"/>
                <a:gd name="T17" fmla="*/ 0 60000 65536"/>
                <a:gd name="T18" fmla="*/ 0 60000 65536"/>
                <a:gd name="T19" fmla="*/ 0 60000 65536"/>
                <a:gd name="T20" fmla="*/ 0 60000 65536"/>
                <a:gd name="T21" fmla="*/ 0 w 143"/>
                <a:gd name="T22" fmla="*/ 0 h 84"/>
                <a:gd name="T23" fmla="*/ 143 w 143"/>
                <a:gd name="T24" fmla="*/ 84 h 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3" h="84">
                  <a:moveTo>
                    <a:pt x="0" y="67"/>
                  </a:moveTo>
                  <a:lnTo>
                    <a:pt x="56" y="0"/>
                  </a:lnTo>
                  <a:lnTo>
                    <a:pt x="143" y="0"/>
                  </a:lnTo>
                  <a:lnTo>
                    <a:pt x="92" y="52"/>
                  </a:lnTo>
                  <a:lnTo>
                    <a:pt x="66" y="39"/>
                  </a:lnTo>
                  <a:lnTo>
                    <a:pt x="24" y="84"/>
                  </a:lnTo>
                  <a:lnTo>
                    <a:pt x="0" y="67"/>
                  </a:lnTo>
                  <a:close/>
                </a:path>
              </a:pathLst>
            </a:custGeom>
            <a:solidFill>
              <a:srgbClr val="663300"/>
            </a:solidFill>
            <a:ln w="9525" cap="flat" cmpd="sng">
              <a:solidFill>
                <a:srgbClr val="663300"/>
              </a:solidFill>
              <a:prstDash val="solid"/>
              <a:round/>
              <a:headEnd type="none" w="med" len="med"/>
              <a:tailEnd type="none" w="med" len="med"/>
            </a:ln>
          </p:spPr>
          <p:txBody>
            <a:bodyPr wrap="none" lIns="0" tIns="0" rIns="0" bIns="0">
              <a:spAutoFit/>
            </a:bodyPr>
            <a:lstStyle/>
            <a:p>
              <a:endParaRPr lang="de-DE"/>
            </a:p>
          </p:txBody>
        </p:sp>
        <p:sp>
          <p:nvSpPr>
            <p:cNvPr id="670" name="Freeform 1841"/>
            <p:cNvSpPr>
              <a:spLocks/>
            </p:cNvSpPr>
            <p:nvPr/>
          </p:nvSpPr>
          <p:spPr bwMode="auto">
            <a:xfrm>
              <a:off x="5915025" y="4551441"/>
              <a:ext cx="57150" cy="42863"/>
            </a:xfrm>
            <a:custGeom>
              <a:avLst/>
              <a:gdLst>
                <a:gd name="T0" fmla="*/ 2147483647 w 36"/>
                <a:gd name="T1" fmla="*/ 2147483647 h 27"/>
                <a:gd name="T2" fmla="*/ 2147483647 w 36"/>
                <a:gd name="T3" fmla="*/ 2147483647 h 27"/>
                <a:gd name="T4" fmla="*/ 2147483647 w 36"/>
                <a:gd name="T5" fmla="*/ 2147483647 h 27"/>
                <a:gd name="T6" fmla="*/ 0 w 36"/>
                <a:gd name="T7" fmla="*/ 2147483647 h 27"/>
                <a:gd name="T8" fmla="*/ 2147483647 w 36"/>
                <a:gd name="T9" fmla="*/ 2147483647 h 27"/>
                <a:gd name="T10" fmla="*/ 2147483647 w 36"/>
                <a:gd name="T11" fmla="*/ 2147483647 h 27"/>
                <a:gd name="T12" fmla="*/ 0 60000 65536"/>
                <a:gd name="T13" fmla="*/ 0 60000 65536"/>
                <a:gd name="T14" fmla="*/ 0 60000 65536"/>
                <a:gd name="T15" fmla="*/ 0 60000 65536"/>
                <a:gd name="T16" fmla="*/ 0 60000 65536"/>
                <a:gd name="T17" fmla="*/ 0 60000 65536"/>
                <a:gd name="T18" fmla="*/ 0 w 36"/>
                <a:gd name="T19" fmla="*/ 0 h 27"/>
                <a:gd name="T20" fmla="*/ 36 w 36"/>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36" h="27">
                  <a:moveTo>
                    <a:pt x="35" y="1"/>
                  </a:moveTo>
                  <a:cubicBezTo>
                    <a:pt x="36" y="2"/>
                    <a:pt x="25" y="9"/>
                    <a:pt x="21" y="13"/>
                  </a:cubicBezTo>
                  <a:cubicBezTo>
                    <a:pt x="17" y="17"/>
                    <a:pt x="14" y="25"/>
                    <a:pt x="11" y="26"/>
                  </a:cubicBezTo>
                  <a:cubicBezTo>
                    <a:pt x="8" y="27"/>
                    <a:pt x="0" y="26"/>
                    <a:pt x="0" y="22"/>
                  </a:cubicBezTo>
                  <a:cubicBezTo>
                    <a:pt x="0" y="18"/>
                    <a:pt x="9" y="8"/>
                    <a:pt x="14" y="4"/>
                  </a:cubicBezTo>
                  <a:cubicBezTo>
                    <a:pt x="19" y="0"/>
                    <a:pt x="34" y="0"/>
                    <a:pt x="35" y="1"/>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71" name="Freeform 1842"/>
            <p:cNvSpPr>
              <a:spLocks/>
            </p:cNvSpPr>
            <p:nvPr/>
          </p:nvSpPr>
          <p:spPr bwMode="auto">
            <a:xfrm>
              <a:off x="5497513" y="4605416"/>
              <a:ext cx="46038" cy="46038"/>
            </a:xfrm>
            <a:custGeom>
              <a:avLst/>
              <a:gdLst>
                <a:gd name="T0" fmla="*/ 2147483647 w 29"/>
                <a:gd name="T1" fmla="*/ 2147483647 h 29"/>
                <a:gd name="T2" fmla="*/ 2147483647 w 29"/>
                <a:gd name="T3" fmla="*/ 2147483647 h 29"/>
                <a:gd name="T4" fmla="*/ 2147483647 w 29"/>
                <a:gd name="T5" fmla="*/ 2147483647 h 29"/>
                <a:gd name="T6" fmla="*/ 2147483647 w 29"/>
                <a:gd name="T7" fmla="*/ 2147483647 h 29"/>
                <a:gd name="T8" fmla="*/ 2147483647 w 29"/>
                <a:gd name="T9" fmla="*/ 2147483647 h 29"/>
                <a:gd name="T10" fmla="*/ 0 60000 65536"/>
                <a:gd name="T11" fmla="*/ 0 60000 65536"/>
                <a:gd name="T12" fmla="*/ 0 60000 65536"/>
                <a:gd name="T13" fmla="*/ 0 60000 65536"/>
                <a:gd name="T14" fmla="*/ 0 60000 65536"/>
                <a:gd name="T15" fmla="*/ 0 w 29"/>
                <a:gd name="T16" fmla="*/ 0 h 29"/>
                <a:gd name="T17" fmla="*/ 29 w 29"/>
                <a:gd name="T18" fmla="*/ 29 h 29"/>
              </a:gdLst>
              <a:ahLst/>
              <a:cxnLst>
                <a:cxn ang="T10">
                  <a:pos x="T0" y="T1"/>
                </a:cxn>
                <a:cxn ang="T11">
                  <a:pos x="T2" y="T3"/>
                </a:cxn>
                <a:cxn ang="T12">
                  <a:pos x="T4" y="T5"/>
                </a:cxn>
                <a:cxn ang="T13">
                  <a:pos x="T6" y="T7"/>
                </a:cxn>
                <a:cxn ang="T14">
                  <a:pos x="T8" y="T9"/>
                </a:cxn>
              </a:cxnLst>
              <a:rect l="T15" t="T16" r="T17" b="T18"/>
              <a:pathLst>
                <a:path w="29" h="29">
                  <a:moveTo>
                    <a:pt x="28" y="27"/>
                  </a:moveTo>
                  <a:cubicBezTo>
                    <a:pt x="27" y="29"/>
                    <a:pt x="14" y="19"/>
                    <a:pt x="10" y="16"/>
                  </a:cubicBezTo>
                  <a:cubicBezTo>
                    <a:pt x="6" y="13"/>
                    <a:pt x="0" y="8"/>
                    <a:pt x="1" y="6"/>
                  </a:cubicBezTo>
                  <a:cubicBezTo>
                    <a:pt x="2" y="4"/>
                    <a:pt x="15" y="0"/>
                    <a:pt x="19" y="3"/>
                  </a:cubicBezTo>
                  <a:cubicBezTo>
                    <a:pt x="23" y="6"/>
                    <a:pt x="29" y="25"/>
                    <a:pt x="28" y="27"/>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72" name="Freeform 1843"/>
            <p:cNvSpPr>
              <a:spLocks/>
            </p:cNvSpPr>
            <p:nvPr/>
          </p:nvSpPr>
          <p:spPr bwMode="auto">
            <a:xfrm>
              <a:off x="5418138" y="4738766"/>
              <a:ext cx="46038" cy="57150"/>
            </a:xfrm>
            <a:custGeom>
              <a:avLst/>
              <a:gdLst>
                <a:gd name="T0" fmla="*/ 2147483647 w 29"/>
                <a:gd name="T1" fmla="*/ 2147483647 h 36"/>
                <a:gd name="T2" fmla="*/ 2147483647 w 29"/>
                <a:gd name="T3" fmla="*/ 2147483647 h 36"/>
                <a:gd name="T4" fmla="*/ 2147483647 w 29"/>
                <a:gd name="T5" fmla="*/ 2147483647 h 36"/>
                <a:gd name="T6" fmla="*/ 2147483647 w 29"/>
                <a:gd name="T7" fmla="*/ 0 h 36"/>
                <a:gd name="T8" fmla="*/ 2147483647 w 29"/>
                <a:gd name="T9" fmla="*/ 2147483647 h 36"/>
                <a:gd name="T10" fmla="*/ 2147483647 w 29"/>
                <a:gd name="T11" fmla="*/ 2147483647 h 36"/>
                <a:gd name="T12" fmla="*/ 2147483647 w 29"/>
                <a:gd name="T13" fmla="*/ 2147483647 h 36"/>
                <a:gd name="T14" fmla="*/ 0 60000 65536"/>
                <a:gd name="T15" fmla="*/ 0 60000 65536"/>
                <a:gd name="T16" fmla="*/ 0 60000 65536"/>
                <a:gd name="T17" fmla="*/ 0 60000 65536"/>
                <a:gd name="T18" fmla="*/ 0 60000 65536"/>
                <a:gd name="T19" fmla="*/ 0 60000 65536"/>
                <a:gd name="T20" fmla="*/ 0 60000 65536"/>
                <a:gd name="T21" fmla="*/ 0 w 29"/>
                <a:gd name="T22" fmla="*/ 0 h 36"/>
                <a:gd name="T23" fmla="*/ 29 w 2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36">
                  <a:moveTo>
                    <a:pt x="15" y="36"/>
                  </a:moveTo>
                  <a:cubicBezTo>
                    <a:pt x="12" y="36"/>
                    <a:pt x="2" y="29"/>
                    <a:pt x="1" y="25"/>
                  </a:cubicBezTo>
                  <a:cubicBezTo>
                    <a:pt x="0" y="21"/>
                    <a:pt x="3" y="16"/>
                    <a:pt x="6" y="12"/>
                  </a:cubicBezTo>
                  <a:cubicBezTo>
                    <a:pt x="9" y="8"/>
                    <a:pt x="18" y="0"/>
                    <a:pt x="22" y="0"/>
                  </a:cubicBezTo>
                  <a:cubicBezTo>
                    <a:pt x="26" y="0"/>
                    <a:pt x="29" y="6"/>
                    <a:pt x="28" y="10"/>
                  </a:cubicBezTo>
                  <a:cubicBezTo>
                    <a:pt x="27" y="14"/>
                    <a:pt x="21" y="18"/>
                    <a:pt x="19" y="22"/>
                  </a:cubicBezTo>
                  <a:cubicBezTo>
                    <a:pt x="17" y="26"/>
                    <a:pt x="18" y="36"/>
                    <a:pt x="15" y="36"/>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73" name="Freeform 1844"/>
            <p:cNvSpPr>
              <a:spLocks/>
            </p:cNvSpPr>
            <p:nvPr/>
          </p:nvSpPr>
          <p:spPr bwMode="auto">
            <a:xfrm>
              <a:off x="5086350" y="4124403"/>
              <a:ext cx="1503363" cy="1790700"/>
            </a:xfrm>
            <a:custGeom>
              <a:avLst/>
              <a:gdLst>
                <a:gd name="T0" fmla="*/ 2147483647 w 947"/>
                <a:gd name="T1" fmla="*/ 2147483647 h 1128"/>
                <a:gd name="T2" fmla="*/ 2147483647 w 947"/>
                <a:gd name="T3" fmla="*/ 2147483647 h 1128"/>
                <a:gd name="T4" fmla="*/ 2147483647 w 947"/>
                <a:gd name="T5" fmla="*/ 2147483647 h 1128"/>
                <a:gd name="T6" fmla="*/ 2147483647 w 947"/>
                <a:gd name="T7" fmla="*/ 2147483647 h 1128"/>
                <a:gd name="T8" fmla="*/ 2147483647 w 947"/>
                <a:gd name="T9" fmla="*/ 2147483647 h 1128"/>
                <a:gd name="T10" fmla="*/ 2147483647 w 947"/>
                <a:gd name="T11" fmla="*/ 2147483647 h 1128"/>
                <a:gd name="T12" fmla="*/ 2147483647 w 947"/>
                <a:gd name="T13" fmla="*/ 2147483647 h 1128"/>
                <a:gd name="T14" fmla="*/ 2147483647 w 947"/>
                <a:gd name="T15" fmla="*/ 2147483647 h 1128"/>
                <a:gd name="T16" fmla="*/ 2147483647 w 947"/>
                <a:gd name="T17" fmla="*/ 2147483647 h 1128"/>
                <a:gd name="T18" fmla="*/ 2147483647 w 947"/>
                <a:gd name="T19" fmla="*/ 2147483647 h 1128"/>
                <a:gd name="T20" fmla="*/ 2147483647 w 947"/>
                <a:gd name="T21" fmla="*/ 2147483647 h 1128"/>
                <a:gd name="T22" fmla="*/ 2147483647 w 947"/>
                <a:gd name="T23" fmla="*/ 2147483647 h 1128"/>
                <a:gd name="T24" fmla="*/ 2147483647 w 947"/>
                <a:gd name="T25" fmla="*/ 2147483647 h 1128"/>
                <a:gd name="T26" fmla="*/ 2147483647 w 947"/>
                <a:gd name="T27" fmla="*/ 2147483647 h 1128"/>
                <a:gd name="T28" fmla="*/ 2147483647 w 947"/>
                <a:gd name="T29" fmla="*/ 2147483647 h 1128"/>
                <a:gd name="T30" fmla="*/ 2147483647 w 947"/>
                <a:gd name="T31" fmla="*/ 2147483647 h 1128"/>
                <a:gd name="T32" fmla="*/ 2147483647 w 947"/>
                <a:gd name="T33" fmla="*/ 2147483647 h 1128"/>
                <a:gd name="T34" fmla="*/ 2147483647 w 947"/>
                <a:gd name="T35" fmla="*/ 2147483647 h 1128"/>
                <a:gd name="T36" fmla="*/ 2147483647 w 947"/>
                <a:gd name="T37" fmla="*/ 2147483647 h 1128"/>
                <a:gd name="T38" fmla="*/ 2147483647 w 947"/>
                <a:gd name="T39" fmla="*/ 2147483647 h 1128"/>
                <a:gd name="T40" fmla="*/ 2147483647 w 947"/>
                <a:gd name="T41" fmla="*/ 2147483647 h 1128"/>
                <a:gd name="T42" fmla="*/ 2147483647 w 947"/>
                <a:gd name="T43" fmla="*/ 2147483647 h 1128"/>
                <a:gd name="T44" fmla="*/ 2147483647 w 947"/>
                <a:gd name="T45" fmla="*/ 2147483647 h 1128"/>
                <a:gd name="T46" fmla="*/ 2147483647 w 947"/>
                <a:gd name="T47" fmla="*/ 2147483647 h 1128"/>
                <a:gd name="T48" fmla="*/ 2147483647 w 947"/>
                <a:gd name="T49" fmla="*/ 2147483647 h 1128"/>
                <a:gd name="T50" fmla="*/ 2147483647 w 947"/>
                <a:gd name="T51" fmla="*/ 2147483647 h 1128"/>
                <a:gd name="T52" fmla="*/ 2147483647 w 947"/>
                <a:gd name="T53" fmla="*/ 2147483647 h 1128"/>
                <a:gd name="T54" fmla="*/ 2147483647 w 947"/>
                <a:gd name="T55" fmla="*/ 2147483647 h 1128"/>
                <a:gd name="T56" fmla="*/ 2147483647 w 947"/>
                <a:gd name="T57" fmla="*/ 2147483647 h 1128"/>
                <a:gd name="T58" fmla="*/ 2147483647 w 947"/>
                <a:gd name="T59" fmla="*/ 2147483647 h 1128"/>
                <a:gd name="T60" fmla="*/ 2147483647 w 947"/>
                <a:gd name="T61" fmla="*/ 2147483647 h 1128"/>
                <a:gd name="T62" fmla="*/ 2147483647 w 947"/>
                <a:gd name="T63" fmla="*/ 2147483647 h 1128"/>
                <a:gd name="T64" fmla="*/ 2147483647 w 947"/>
                <a:gd name="T65" fmla="*/ 2147483647 h 1128"/>
                <a:gd name="T66" fmla="*/ 2147483647 w 947"/>
                <a:gd name="T67" fmla="*/ 2147483647 h 1128"/>
                <a:gd name="T68" fmla="*/ 2147483647 w 947"/>
                <a:gd name="T69" fmla="*/ 2147483647 h 1128"/>
                <a:gd name="T70" fmla="*/ 2147483647 w 947"/>
                <a:gd name="T71" fmla="*/ 2147483647 h 1128"/>
                <a:gd name="T72" fmla="*/ 2147483647 w 947"/>
                <a:gd name="T73" fmla="*/ 2147483647 h 1128"/>
                <a:gd name="T74" fmla="*/ 2147483647 w 947"/>
                <a:gd name="T75" fmla="*/ 2147483647 h 1128"/>
                <a:gd name="T76" fmla="*/ 2147483647 w 947"/>
                <a:gd name="T77" fmla="*/ 2147483647 h 1128"/>
                <a:gd name="T78" fmla="*/ 2147483647 w 947"/>
                <a:gd name="T79" fmla="*/ 2147483647 h 1128"/>
                <a:gd name="T80" fmla="*/ 2147483647 w 947"/>
                <a:gd name="T81" fmla="*/ 2147483647 h 1128"/>
                <a:gd name="T82" fmla="*/ 2147483647 w 947"/>
                <a:gd name="T83" fmla="*/ 2147483647 h 1128"/>
                <a:gd name="T84" fmla="*/ 2147483647 w 947"/>
                <a:gd name="T85" fmla="*/ 2147483647 h 1128"/>
                <a:gd name="T86" fmla="*/ 2147483647 w 947"/>
                <a:gd name="T87" fmla="*/ 2147483647 h 1128"/>
                <a:gd name="T88" fmla="*/ 2147483647 w 947"/>
                <a:gd name="T89" fmla="*/ 2147483647 h 1128"/>
                <a:gd name="T90" fmla="*/ 2147483647 w 947"/>
                <a:gd name="T91" fmla="*/ 2147483647 h 1128"/>
                <a:gd name="T92" fmla="*/ 2147483647 w 947"/>
                <a:gd name="T93" fmla="*/ 2147483647 h 1128"/>
                <a:gd name="T94" fmla="*/ 2147483647 w 947"/>
                <a:gd name="T95" fmla="*/ 2147483647 h 1128"/>
                <a:gd name="T96" fmla="*/ 2147483647 w 947"/>
                <a:gd name="T97" fmla="*/ 2147483647 h 1128"/>
                <a:gd name="T98" fmla="*/ 2147483647 w 947"/>
                <a:gd name="T99" fmla="*/ 2147483647 h 1128"/>
                <a:gd name="T100" fmla="*/ 2147483647 w 947"/>
                <a:gd name="T101" fmla="*/ 2147483647 h 1128"/>
                <a:gd name="T102" fmla="*/ 2147483647 w 947"/>
                <a:gd name="T103" fmla="*/ 2147483647 h 1128"/>
                <a:gd name="T104" fmla="*/ 2147483647 w 947"/>
                <a:gd name="T105" fmla="*/ 2147483647 h 112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47"/>
                <a:gd name="T160" fmla="*/ 0 h 1128"/>
                <a:gd name="T161" fmla="*/ 947 w 947"/>
                <a:gd name="T162" fmla="*/ 1128 h 112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47" h="1128">
                  <a:moveTo>
                    <a:pt x="498" y="733"/>
                  </a:moveTo>
                  <a:cubicBezTo>
                    <a:pt x="505" y="743"/>
                    <a:pt x="514" y="757"/>
                    <a:pt x="519" y="771"/>
                  </a:cubicBezTo>
                  <a:cubicBezTo>
                    <a:pt x="524" y="785"/>
                    <a:pt x="526" y="802"/>
                    <a:pt x="531" y="816"/>
                  </a:cubicBezTo>
                  <a:cubicBezTo>
                    <a:pt x="536" y="830"/>
                    <a:pt x="543" y="850"/>
                    <a:pt x="549" y="858"/>
                  </a:cubicBezTo>
                  <a:cubicBezTo>
                    <a:pt x="555" y="866"/>
                    <a:pt x="563" y="855"/>
                    <a:pt x="569" y="861"/>
                  </a:cubicBezTo>
                  <a:cubicBezTo>
                    <a:pt x="575" y="867"/>
                    <a:pt x="579" y="882"/>
                    <a:pt x="587" y="892"/>
                  </a:cubicBezTo>
                  <a:cubicBezTo>
                    <a:pt x="595" y="902"/>
                    <a:pt x="608" y="914"/>
                    <a:pt x="618" y="922"/>
                  </a:cubicBezTo>
                  <a:cubicBezTo>
                    <a:pt x="628" y="930"/>
                    <a:pt x="642" y="933"/>
                    <a:pt x="647" y="942"/>
                  </a:cubicBezTo>
                  <a:cubicBezTo>
                    <a:pt x="652" y="951"/>
                    <a:pt x="644" y="966"/>
                    <a:pt x="645" y="978"/>
                  </a:cubicBezTo>
                  <a:cubicBezTo>
                    <a:pt x="646" y="990"/>
                    <a:pt x="650" y="1003"/>
                    <a:pt x="654" y="1014"/>
                  </a:cubicBezTo>
                  <a:cubicBezTo>
                    <a:pt x="658" y="1025"/>
                    <a:pt x="665" y="1035"/>
                    <a:pt x="672" y="1041"/>
                  </a:cubicBezTo>
                  <a:cubicBezTo>
                    <a:pt x="679" y="1047"/>
                    <a:pt x="690" y="1042"/>
                    <a:pt x="698" y="1048"/>
                  </a:cubicBezTo>
                  <a:cubicBezTo>
                    <a:pt x="706" y="1054"/>
                    <a:pt x="708" y="1067"/>
                    <a:pt x="719" y="1075"/>
                  </a:cubicBezTo>
                  <a:cubicBezTo>
                    <a:pt x="730" y="1083"/>
                    <a:pt x="754" y="1093"/>
                    <a:pt x="764" y="1099"/>
                  </a:cubicBezTo>
                  <a:cubicBezTo>
                    <a:pt x="774" y="1105"/>
                    <a:pt x="775" y="1110"/>
                    <a:pt x="779" y="1114"/>
                  </a:cubicBezTo>
                  <a:cubicBezTo>
                    <a:pt x="783" y="1118"/>
                    <a:pt x="782" y="1125"/>
                    <a:pt x="786" y="1126"/>
                  </a:cubicBezTo>
                  <a:cubicBezTo>
                    <a:pt x="790" y="1127"/>
                    <a:pt x="796" y="1117"/>
                    <a:pt x="803" y="1117"/>
                  </a:cubicBezTo>
                  <a:cubicBezTo>
                    <a:pt x="810" y="1117"/>
                    <a:pt x="819" y="1122"/>
                    <a:pt x="831" y="1123"/>
                  </a:cubicBezTo>
                  <a:cubicBezTo>
                    <a:pt x="843" y="1124"/>
                    <a:pt x="864" y="1128"/>
                    <a:pt x="878" y="1126"/>
                  </a:cubicBezTo>
                  <a:cubicBezTo>
                    <a:pt x="892" y="1124"/>
                    <a:pt x="903" y="1116"/>
                    <a:pt x="914" y="1111"/>
                  </a:cubicBezTo>
                  <a:cubicBezTo>
                    <a:pt x="925" y="1106"/>
                    <a:pt x="943" y="1099"/>
                    <a:pt x="945" y="1093"/>
                  </a:cubicBezTo>
                  <a:cubicBezTo>
                    <a:pt x="947" y="1087"/>
                    <a:pt x="933" y="1081"/>
                    <a:pt x="926" y="1077"/>
                  </a:cubicBezTo>
                  <a:cubicBezTo>
                    <a:pt x="919" y="1073"/>
                    <a:pt x="907" y="1069"/>
                    <a:pt x="902" y="1066"/>
                  </a:cubicBezTo>
                  <a:cubicBezTo>
                    <a:pt x="897" y="1063"/>
                    <a:pt x="895" y="1060"/>
                    <a:pt x="893" y="1057"/>
                  </a:cubicBezTo>
                  <a:cubicBezTo>
                    <a:pt x="891" y="1054"/>
                    <a:pt x="890" y="1050"/>
                    <a:pt x="890" y="1045"/>
                  </a:cubicBezTo>
                  <a:cubicBezTo>
                    <a:pt x="890" y="1040"/>
                    <a:pt x="896" y="1034"/>
                    <a:pt x="896" y="1029"/>
                  </a:cubicBezTo>
                  <a:cubicBezTo>
                    <a:pt x="896" y="1024"/>
                    <a:pt x="888" y="1021"/>
                    <a:pt x="888" y="1017"/>
                  </a:cubicBezTo>
                  <a:cubicBezTo>
                    <a:pt x="888" y="1013"/>
                    <a:pt x="891" y="1005"/>
                    <a:pt x="897" y="1002"/>
                  </a:cubicBezTo>
                  <a:cubicBezTo>
                    <a:pt x="903" y="999"/>
                    <a:pt x="918" y="1002"/>
                    <a:pt x="923" y="999"/>
                  </a:cubicBezTo>
                  <a:cubicBezTo>
                    <a:pt x="928" y="996"/>
                    <a:pt x="931" y="987"/>
                    <a:pt x="927" y="984"/>
                  </a:cubicBezTo>
                  <a:cubicBezTo>
                    <a:pt x="923" y="981"/>
                    <a:pt x="905" y="975"/>
                    <a:pt x="897" y="979"/>
                  </a:cubicBezTo>
                  <a:cubicBezTo>
                    <a:pt x="889" y="983"/>
                    <a:pt x="884" y="1004"/>
                    <a:pt x="876" y="1009"/>
                  </a:cubicBezTo>
                  <a:cubicBezTo>
                    <a:pt x="868" y="1014"/>
                    <a:pt x="849" y="1013"/>
                    <a:pt x="849" y="1011"/>
                  </a:cubicBezTo>
                  <a:cubicBezTo>
                    <a:pt x="849" y="1009"/>
                    <a:pt x="875" y="999"/>
                    <a:pt x="875" y="994"/>
                  </a:cubicBezTo>
                  <a:cubicBezTo>
                    <a:pt x="875" y="989"/>
                    <a:pt x="851" y="987"/>
                    <a:pt x="848" y="982"/>
                  </a:cubicBezTo>
                  <a:cubicBezTo>
                    <a:pt x="845" y="977"/>
                    <a:pt x="852" y="968"/>
                    <a:pt x="855" y="963"/>
                  </a:cubicBezTo>
                  <a:cubicBezTo>
                    <a:pt x="858" y="958"/>
                    <a:pt x="860" y="953"/>
                    <a:pt x="864" y="951"/>
                  </a:cubicBezTo>
                  <a:cubicBezTo>
                    <a:pt x="868" y="949"/>
                    <a:pt x="880" y="953"/>
                    <a:pt x="882" y="949"/>
                  </a:cubicBezTo>
                  <a:cubicBezTo>
                    <a:pt x="884" y="945"/>
                    <a:pt x="878" y="933"/>
                    <a:pt x="876" y="927"/>
                  </a:cubicBezTo>
                  <a:cubicBezTo>
                    <a:pt x="874" y="921"/>
                    <a:pt x="870" y="917"/>
                    <a:pt x="870" y="913"/>
                  </a:cubicBezTo>
                  <a:cubicBezTo>
                    <a:pt x="870" y="909"/>
                    <a:pt x="870" y="903"/>
                    <a:pt x="873" y="903"/>
                  </a:cubicBezTo>
                  <a:cubicBezTo>
                    <a:pt x="876" y="903"/>
                    <a:pt x="886" y="910"/>
                    <a:pt x="890" y="910"/>
                  </a:cubicBezTo>
                  <a:cubicBezTo>
                    <a:pt x="894" y="910"/>
                    <a:pt x="897" y="911"/>
                    <a:pt x="900" y="906"/>
                  </a:cubicBezTo>
                  <a:cubicBezTo>
                    <a:pt x="903" y="901"/>
                    <a:pt x="907" y="887"/>
                    <a:pt x="909" y="880"/>
                  </a:cubicBezTo>
                  <a:cubicBezTo>
                    <a:pt x="911" y="873"/>
                    <a:pt x="912" y="866"/>
                    <a:pt x="911" y="861"/>
                  </a:cubicBezTo>
                  <a:cubicBezTo>
                    <a:pt x="910" y="856"/>
                    <a:pt x="906" y="857"/>
                    <a:pt x="905" y="852"/>
                  </a:cubicBezTo>
                  <a:cubicBezTo>
                    <a:pt x="904" y="847"/>
                    <a:pt x="907" y="834"/>
                    <a:pt x="906" y="829"/>
                  </a:cubicBezTo>
                  <a:cubicBezTo>
                    <a:pt x="905" y="824"/>
                    <a:pt x="903" y="821"/>
                    <a:pt x="900" y="819"/>
                  </a:cubicBezTo>
                  <a:cubicBezTo>
                    <a:pt x="897" y="817"/>
                    <a:pt x="890" y="818"/>
                    <a:pt x="887" y="814"/>
                  </a:cubicBezTo>
                  <a:cubicBezTo>
                    <a:pt x="884" y="810"/>
                    <a:pt x="882" y="799"/>
                    <a:pt x="882" y="793"/>
                  </a:cubicBezTo>
                  <a:cubicBezTo>
                    <a:pt x="882" y="787"/>
                    <a:pt x="886" y="783"/>
                    <a:pt x="885" y="777"/>
                  </a:cubicBezTo>
                  <a:cubicBezTo>
                    <a:pt x="884" y="771"/>
                    <a:pt x="880" y="757"/>
                    <a:pt x="875" y="754"/>
                  </a:cubicBezTo>
                  <a:cubicBezTo>
                    <a:pt x="870" y="751"/>
                    <a:pt x="863" y="756"/>
                    <a:pt x="857" y="756"/>
                  </a:cubicBezTo>
                  <a:cubicBezTo>
                    <a:pt x="851" y="756"/>
                    <a:pt x="843" y="755"/>
                    <a:pt x="840" y="753"/>
                  </a:cubicBezTo>
                  <a:cubicBezTo>
                    <a:pt x="837" y="751"/>
                    <a:pt x="840" y="747"/>
                    <a:pt x="839" y="741"/>
                  </a:cubicBezTo>
                  <a:cubicBezTo>
                    <a:pt x="838" y="735"/>
                    <a:pt x="837" y="724"/>
                    <a:pt x="836" y="718"/>
                  </a:cubicBezTo>
                  <a:cubicBezTo>
                    <a:pt x="835" y="712"/>
                    <a:pt x="832" y="707"/>
                    <a:pt x="834" y="702"/>
                  </a:cubicBezTo>
                  <a:cubicBezTo>
                    <a:pt x="836" y="697"/>
                    <a:pt x="840" y="690"/>
                    <a:pt x="846" y="690"/>
                  </a:cubicBezTo>
                  <a:cubicBezTo>
                    <a:pt x="852" y="690"/>
                    <a:pt x="864" y="698"/>
                    <a:pt x="872" y="700"/>
                  </a:cubicBezTo>
                  <a:cubicBezTo>
                    <a:pt x="880" y="702"/>
                    <a:pt x="891" y="701"/>
                    <a:pt x="897" y="700"/>
                  </a:cubicBezTo>
                  <a:cubicBezTo>
                    <a:pt x="903" y="699"/>
                    <a:pt x="908" y="696"/>
                    <a:pt x="911" y="691"/>
                  </a:cubicBezTo>
                  <a:cubicBezTo>
                    <a:pt x="914" y="686"/>
                    <a:pt x="910" y="675"/>
                    <a:pt x="914" y="670"/>
                  </a:cubicBezTo>
                  <a:cubicBezTo>
                    <a:pt x="918" y="665"/>
                    <a:pt x="931" y="668"/>
                    <a:pt x="935" y="658"/>
                  </a:cubicBezTo>
                  <a:cubicBezTo>
                    <a:pt x="939" y="648"/>
                    <a:pt x="936" y="625"/>
                    <a:pt x="936" y="612"/>
                  </a:cubicBezTo>
                  <a:cubicBezTo>
                    <a:pt x="936" y="599"/>
                    <a:pt x="939" y="589"/>
                    <a:pt x="936" y="580"/>
                  </a:cubicBezTo>
                  <a:cubicBezTo>
                    <a:pt x="933" y="571"/>
                    <a:pt x="926" y="563"/>
                    <a:pt x="920" y="555"/>
                  </a:cubicBezTo>
                  <a:cubicBezTo>
                    <a:pt x="914" y="547"/>
                    <a:pt x="906" y="537"/>
                    <a:pt x="900" y="532"/>
                  </a:cubicBezTo>
                  <a:cubicBezTo>
                    <a:pt x="894" y="527"/>
                    <a:pt x="889" y="523"/>
                    <a:pt x="885" y="522"/>
                  </a:cubicBezTo>
                  <a:cubicBezTo>
                    <a:pt x="881" y="521"/>
                    <a:pt x="877" y="519"/>
                    <a:pt x="875" y="523"/>
                  </a:cubicBezTo>
                  <a:cubicBezTo>
                    <a:pt x="873" y="527"/>
                    <a:pt x="874" y="546"/>
                    <a:pt x="872" y="549"/>
                  </a:cubicBezTo>
                  <a:cubicBezTo>
                    <a:pt x="870" y="552"/>
                    <a:pt x="870" y="545"/>
                    <a:pt x="860" y="544"/>
                  </a:cubicBezTo>
                  <a:cubicBezTo>
                    <a:pt x="850" y="543"/>
                    <a:pt x="822" y="544"/>
                    <a:pt x="810" y="541"/>
                  </a:cubicBezTo>
                  <a:cubicBezTo>
                    <a:pt x="798" y="538"/>
                    <a:pt x="795" y="523"/>
                    <a:pt x="789" y="523"/>
                  </a:cubicBezTo>
                  <a:cubicBezTo>
                    <a:pt x="783" y="523"/>
                    <a:pt x="780" y="537"/>
                    <a:pt x="774" y="541"/>
                  </a:cubicBezTo>
                  <a:cubicBezTo>
                    <a:pt x="768" y="545"/>
                    <a:pt x="764" y="546"/>
                    <a:pt x="755" y="549"/>
                  </a:cubicBezTo>
                  <a:cubicBezTo>
                    <a:pt x="746" y="552"/>
                    <a:pt x="725" y="556"/>
                    <a:pt x="717" y="558"/>
                  </a:cubicBezTo>
                  <a:cubicBezTo>
                    <a:pt x="709" y="560"/>
                    <a:pt x="711" y="561"/>
                    <a:pt x="707" y="562"/>
                  </a:cubicBezTo>
                  <a:cubicBezTo>
                    <a:pt x="703" y="563"/>
                    <a:pt x="697" y="565"/>
                    <a:pt x="690" y="564"/>
                  </a:cubicBezTo>
                  <a:cubicBezTo>
                    <a:pt x="683" y="563"/>
                    <a:pt x="673" y="559"/>
                    <a:pt x="666" y="553"/>
                  </a:cubicBezTo>
                  <a:cubicBezTo>
                    <a:pt x="659" y="547"/>
                    <a:pt x="658" y="537"/>
                    <a:pt x="648" y="528"/>
                  </a:cubicBezTo>
                  <a:cubicBezTo>
                    <a:pt x="638" y="519"/>
                    <a:pt x="617" y="503"/>
                    <a:pt x="608" y="496"/>
                  </a:cubicBezTo>
                  <a:cubicBezTo>
                    <a:pt x="599" y="489"/>
                    <a:pt x="599" y="484"/>
                    <a:pt x="594" y="483"/>
                  </a:cubicBezTo>
                  <a:cubicBezTo>
                    <a:pt x="589" y="482"/>
                    <a:pt x="580" y="485"/>
                    <a:pt x="575" y="487"/>
                  </a:cubicBezTo>
                  <a:cubicBezTo>
                    <a:pt x="570" y="489"/>
                    <a:pt x="571" y="495"/>
                    <a:pt x="566" y="493"/>
                  </a:cubicBezTo>
                  <a:cubicBezTo>
                    <a:pt x="561" y="491"/>
                    <a:pt x="551" y="482"/>
                    <a:pt x="545" y="477"/>
                  </a:cubicBezTo>
                  <a:cubicBezTo>
                    <a:pt x="539" y="472"/>
                    <a:pt x="533" y="469"/>
                    <a:pt x="531" y="463"/>
                  </a:cubicBezTo>
                  <a:cubicBezTo>
                    <a:pt x="529" y="457"/>
                    <a:pt x="522" y="445"/>
                    <a:pt x="530" y="442"/>
                  </a:cubicBezTo>
                  <a:cubicBezTo>
                    <a:pt x="538" y="439"/>
                    <a:pt x="566" y="445"/>
                    <a:pt x="578" y="445"/>
                  </a:cubicBezTo>
                  <a:cubicBezTo>
                    <a:pt x="590" y="445"/>
                    <a:pt x="587" y="440"/>
                    <a:pt x="600" y="442"/>
                  </a:cubicBezTo>
                  <a:cubicBezTo>
                    <a:pt x="613" y="444"/>
                    <a:pt x="644" y="454"/>
                    <a:pt x="659" y="456"/>
                  </a:cubicBezTo>
                  <a:cubicBezTo>
                    <a:pt x="674" y="458"/>
                    <a:pt x="681" y="457"/>
                    <a:pt x="689" y="457"/>
                  </a:cubicBezTo>
                  <a:cubicBezTo>
                    <a:pt x="697" y="457"/>
                    <a:pt x="698" y="462"/>
                    <a:pt x="705" y="459"/>
                  </a:cubicBezTo>
                  <a:cubicBezTo>
                    <a:pt x="712" y="456"/>
                    <a:pt x="718" y="445"/>
                    <a:pt x="729" y="438"/>
                  </a:cubicBezTo>
                  <a:cubicBezTo>
                    <a:pt x="740" y="431"/>
                    <a:pt x="759" y="423"/>
                    <a:pt x="773" y="415"/>
                  </a:cubicBezTo>
                  <a:cubicBezTo>
                    <a:pt x="787" y="407"/>
                    <a:pt x="802" y="398"/>
                    <a:pt x="816" y="390"/>
                  </a:cubicBezTo>
                  <a:cubicBezTo>
                    <a:pt x="830" y="382"/>
                    <a:pt x="853" y="377"/>
                    <a:pt x="857" y="367"/>
                  </a:cubicBezTo>
                  <a:cubicBezTo>
                    <a:pt x="861" y="357"/>
                    <a:pt x="850" y="336"/>
                    <a:pt x="842" y="330"/>
                  </a:cubicBezTo>
                  <a:cubicBezTo>
                    <a:pt x="834" y="324"/>
                    <a:pt x="827" y="331"/>
                    <a:pt x="812" y="333"/>
                  </a:cubicBezTo>
                  <a:cubicBezTo>
                    <a:pt x="797" y="335"/>
                    <a:pt x="765" y="343"/>
                    <a:pt x="753" y="345"/>
                  </a:cubicBezTo>
                  <a:cubicBezTo>
                    <a:pt x="741" y="347"/>
                    <a:pt x="743" y="346"/>
                    <a:pt x="737" y="343"/>
                  </a:cubicBezTo>
                  <a:cubicBezTo>
                    <a:pt x="731" y="340"/>
                    <a:pt x="720" y="332"/>
                    <a:pt x="714" y="327"/>
                  </a:cubicBezTo>
                  <a:cubicBezTo>
                    <a:pt x="708" y="322"/>
                    <a:pt x="705" y="315"/>
                    <a:pt x="698" y="312"/>
                  </a:cubicBezTo>
                  <a:cubicBezTo>
                    <a:pt x="691" y="309"/>
                    <a:pt x="679" y="313"/>
                    <a:pt x="669" y="307"/>
                  </a:cubicBezTo>
                  <a:cubicBezTo>
                    <a:pt x="659" y="301"/>
                    <a:pt x="644" y="280"/>
                    <a:pt x="636" y="276"/>
                  </a:cubicBezTo>
                  <a:cubicBezTo>
                    <a:pt x="628" y="272"/>
                    <a:pt x="629" y="278"/>
                    <a:pt x="620" y="282"/>
                  </a:cubicBezTo>
                  <a:cubicBezTo>
                    <a:pt x="611" y="286"/>
                    <a:pt x="589" y="301"/>
                    <a:pt x="582" y="300"/>
                  </a:cubicBezTo>
                  <a:cubicBezTo>
                    <a:pt x="575" y="299"/>
                    <a:pt x="580" y="285"/>
                    <a:pt x="579" y="276"/>
                  </a:cubicBezTo>
                  <a:cubicBezTo>
                    <a:pt x="578" y="267"/>
                    <a:pt x="576" y="253"/>
                    <a:pt x="573" y="246"/>
                  </a:cubicBezTo>
                  <a:cubicBezTo>
                    <a:pt x="570" y="239"/>
                    <a:pt x="568" y="240"/>
                    <a:pt x="561" y="234"/>
                  </a:cubicBezTo>
                  <a:cubicBezTo>
                    <a:pt x="554" y="228"/>
                    <a:pt x="537" y="217"/>
                    <a:pt x="531" y="207"/>
                  </a:cubicBezTo>
                  <a:cubicBezTo>
                    <a:pt x="525" y="197"/>
                    <a:pt x="529" y="182"/>
                    <a:pt x="524" y="172"/>
                  </a:cubicBezTo>
                  <a:cubicBezTo>
                    <a:pt x="519" y="162"/>
                    <a:pt x="508" y="154"/>
                    <a:pt x="503" y="148"/>
                  </a:cubicBezTo>
                  <a:cubicBezTo>
                    <a:pt x="498" y="142"/>
                    <a:pt x="497" y="141"/>
                    <a:pt x="495" y="133"/>
                  </a:cubicBezTo>
                  <a:cubicBezTo>
                    <a:pt x="493" y="125"/>
                    <a:pt x="495" y="109"/>
                    <a:pt x="492" y="102"/>
                  </a:cubicBezTo>
                  <a:cubicBezTo>
                    <a:pt x="489" y="95"/>
                    <a:pt x="489" y="90"/>
                    <a:pt x="474" y="88"/>
                  </a:cubicBezTo>
                  <a:cubicBezTo>
                    <a:pt x="459" y="86"/>
                    <a:pt x="415" y="92"/>
                    <a:pt x="399" y="87"/>
                  </a:cubicBezTo>
                  <a:cubicBezTo>
                    <a:pt x="383" y="82"/>
                    <a:pt x="384" y="60"/>
                    <a:pt x="378" y="55"/>
                  </a:cubicBezTo>
                  <a:cubicBezTo>
                    <a:pt x="372" y="50"/>
                    <a:pt x="367" y="52"/>
                    <a:pt x="360" y="55"/>
                  </a:cubicBezTo>
                  <a:cubicBezTo>
                    <a:pt x="353" y="58"/>
                    <a:pt x="353" y="71"/>
                    <a:pt x="336" y="73"/>
                  </a:cubicBezTo>
                  <a:cubicBezTo>
                    <a:pt x="319" y="75"/>
                    <a:pt x="275" y="68"/>
                    <a:pt x="258" y="67"/>
                  </a:cubicBezTo>
                  <a:cubicBezTo>
                    <a:pt x="241" y="66"/>
                    <a:pt x="237" y="69"/>
                    <a:pt x="233" y="64"/>
                  </a:cubicBezTo>
                  <a:cubicBezTo>
                    <a:pt x="229" y="59"/>
                    <a:pt x="235" y="43"/>
                    <a:pt x="233" y="36"/>
                  </a:cubicBezTo>
                  <a:cubicBezTo>
                    <a:pt x="231" y="29"/>
                    <a:pt x="225" y="26"/>
                    <a:pt x="222" y="21"/>
                  </a:cubicBezTo>
                  <a:cubicBezTo>
                    <a:pt x="219" y="16"/>
                    <a:pt x="221" y="6"/>
                    <a:pt x="215" y="3"/>
                  </a:cubicBezTo>
                  <a:cubicBezTo>
                    <a:pt x="209" y="0"/>
                    <a:pt x="193" y="0"/>
                    <a:pt x="183" y="3"/>
                  </a:cubicBezTo>
                  <a:cubicBezTo>
                    <a:pt x="173" y="6"/>
                    <a:pt x="160" y="16"/>
                    <a:pt x="152" y="24"/>
                  </a:cubicBezTo>
                  <a:cubicBezTo>
                    <a:pt x="144" y="32"/>
                    <a:pt x="141" y="41"/>
                    <a:pt x="134" y="49"/>
                  </a:cubicBezTo>
                  <a:cubicBezTo>
                    <a:pt x="127" y="57"/>
                    <a:pt x="117" y="66"/>
                    <a:pt x="110" y="73"/>
                  </a:cubicBezTo>
                  <a:cubicBezTo>
                    <a:pt x="103" y="80"/>
                    <a:pt x="98" y="84"/>
                    <a:pt x="90" y="90"/>
                  </a:cubicBezTo>
                  <a:cubicBezTo>
                    <a:pt x="82" y="96"/>
                    <a:pt x="74" y="103"/>
                    <a:pt x="65" y="111"/>
                  </a:cubicBezTo>
                  <a:cubicBezTo>
                    <a:pt x="56" y="119"/>
                    <a:pt x="42" y="134"/>
                    <a:pt x="35" y="139"/>
                  </a:cubicBezTo>
                  <a:cubicBezTo>
                    <a:pt x="28" y="144"/>
                    <a:pt x="25" y="141"/>
                    <a:pt x="20" y="142"/>
                  </a:cubicBezTo>
                  <a:cubicBezTo>
                    <a:pt x="15" y="143"/>
                    <a:pt x="6" y="140"/>
                    <a:pt x="3" y="148"/>
                  </a:cubicBezTo>
                  <a:cubicBezTo>
                    <a:pt x="0" y="156"/>
                    <a:pt x="3" y="176"/>
                    <a:pt x="5" y="190"/>
                  </a:cubicBezTo>
                  <a:cubicBezTo>
                    <a:pt x="7" y="204"/>
                    <a:pt x="12" y="223"/>
                    <a:pt x="15" y="234"/>
                  </a:cubicBezTo>
                  <a:cubicBezTo>
                    <a:pt x="18" y="245"/>
                    <a:pt x="19" y="252"/>
                    <a:pt x="23" y="256"/>
                  </a:cubicBezTo>
                  <a:cubicBezTo>
                    <a:pt x="27" y="260"/>
                    <a:pt x="34" y="255"/>
                    <a:pt x="38" y="258"/>
                  </a:cubicBezTo>
                  <a:cubicBezTo>
                    <a:pt x="42" y="261"/>
                    <a:pt x="42" y="265"/>
                    <a:pt x="45" y="277"/>
                  </a:cubicBezTo>
                  <a:cubicBezTo>
                    <a:pt x="48" y="289"/>
                    <a:pt x="53" y="319"/>
                    <a:pt x="56" y="333"/>
                  </a:cubicBezTo>
                  <a:cubicBezTo>
                    <a:pt x="59" y="347"/>
                    <a:pt x="56" y="351"/>
                    <a:pt x="66" y="364"/>
                  </a:cubicBezTo>
                  <a:cubicBezTo>
                    <a:pt x="76" y="377"/>
                    <a:pt x="101" y="403"/>
                    <a:pt x="116" y="409"/>
                  </a:cubicBezTo>
                  <a:cubicBezTo>
                    <a:pt x="131" y="415"/>
                    <a:pt x="143" y="399"/>
                    <a:pt x="159" y="400"/>
                  </a:cubicBezTo>
                  <a:cubicBezTo>
                    <a:pt x="175" y="401"/>
                    <a:pt x="202" y="412"/>
                    <a:pt x="212" y="417"/>
                  </a:cubicBezTo>
                  <a:cubicBezTo>
                    <a:pt x="222" y="422"/>
                    <a:pt x="222" y="427"/>
                    <a:pt x="222" y="432"/>
                  </a:cubicBezTo>
                  <a:cubicBezTo>
                    <a:pt x="222" y="437"/>
                    <a:pt x="214" y="439"/>
                    <a:pt x="210" y="445"/>
                  </a:cubicBezTo>
                  <a:cubicBezTo>
                    <a:pt x="206" y="451"/>
                    <a:pt x="200" y="458"/>
                    <a:pt x="200" y="466"/>
                  </a:cubicBezTo>
                  <a:cubicBezTo>
                    <a:pt x="200" y="474"/>
                    <a:pt x="202" y="485"/>
                    <a:pt x="207" y="492"/>
                  </a:cubicBezTo>
                  <a:cubicBezTo>
                    <a:pt x="212" y="499"/>
                    <a:pt x="221" y="503"/>
                    <a:pt x="228" y="508"/>
                  </a:cubicBezTo>
                  <a:cubicBezTo>
                    <a:pt x="235" y="513"/>
                    <a:pt x="245" y="516"/>
                    <a:pt x="252" y="523"/>
                  </a:cubicBezTo>
                  <a:cubicBezTo>
                    <a:pt x="259" y="530"/>
                    <a:pt x="264" y="540"/>
                    <a:pt x="272" y="550"/>
                  </a:cubicBezTo>
                  <a:cubicBezTo>
                    <a:pt x="280" y="560"/>
                    <a:pt x="289" y="575"/>
                    <a:pt x="300" y="585"/>
                  </a:cubicBezTo>
                  <a:cubicBezTo>
                    <a:pt x="311" y="595"/>
                    <a:pt x="327" y="602"/>
                    <a:pt x="338" y="609"/>
                  </a:cubicBezTo>
                  <a:cubicBezTo>
                    <a:pt x="349" y="616"/>
                    <a:pt x="356" y="620"/>
                    <a:pt x="365" y="625"/>
                  </a:cubicBezTo>
                  <a:cubicBezTo>
                    <a:pt x="374" y="630"/>
                    <a:pt x="385" y="636"/>
                    <a:pt x="392" y="639"/>
                  </a:cubicBezTo>
                  <a:cubicBezTo>
                    <a:pt x="399" y="642"/>
                    <a:pt x="401" y="640"/>
                    <a:pt x="405" y="642"/>
                  </a:cubicBezTo>
                  <a:cubicBezTo>
                    <a:pt x="409" y="644"/>
                    <a:pt x="414" y="647"/>
                    <a:pt x="417" y="652"/>
                  </a:cubicBezTo>
                  <a:cubicBezTo>
                    <a:pt x="420" y="657"/>
                    <a:pt x="420" y="667"/>
                    <a:pt x="425" y="672"/>
                  </a:cubicBezTo>
                  <a:cubicBezTo>
                    <a:pt x="430" y="677"/>
                    <a:pt x="438" y="678"/>
                    <a:pt x="446" y="684"/>
                  </a:cubicBezTo>
                  <a:cubicBezTo>
                    <a:pt x="454" y="690"/>
                    <a:pt x="467" y="703"/>
                    <a:pt x="476" y="711"/>
                  </a:cubicBezTo>
                  <a:cubicBezTo>
                    <a:pt x="485" y="719"/>
                    <a:pt x="491" y="723"/>
                    <a:pt x="498" y="733"/>
                  </a:cubicBezTo>
                  <a:close/>
                </a:path>
              </a:pathLst>
            </a:custGeom>
            <a:noFill/>
            <a:ln w="9525" cap="flat"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74" name="Freeform 1845"/>
            <p:cNvSpPr>
              <a:spLocks/>
            </p:cNvSpPr>
            <p:nvPr/>
          </p:nvSpPr>
          <p:spPr bwMode="auto">
            <a:xfrm>
              <a:off x="5991225" y="4533978"/>
              <a:ext cx="36513" cy="28575"/>
            </a:xfrm>
            <a:custGeom>
              <a:avLst/>
              <a:gdLst>
                <a:gd name="T0" fmla="*/ 2147483647 w 23"/>
                <a:gd name="T1" fmla="*/ 2147483647 h 18"/>
                <a:gd name="T2" fmla="*/ 2147483647 w 23"/>
                <a:gd name="T3" fmla="*/ 0 h 18"/>
                <a:gd name="T4" fmla="*/ 0 w 23"/>
                <a:gd name="T5" fmla="*/ 0 h 18"/>
                <a:gd name="T6" fmla="*/ 2147483647 w 23"/>
                <a:gd name="T7" fmla="*/ 2147483647 h 18"/>
                <a:gd name="T8" fmla="*/ 0 60000 65536"/>
                <a:gd name="T9" fmla="*/ 0 60000 65536"/>
                <a:gd name="T10" fmla="*/ 0 60000 65536"/>
                <a:gd name="T11" fmla="*/ 0 60000 65536"/>
                <a:gd name="T12" fmla="*/ 0 w 23"/>
                <a:gd name="T13" fmla="*/ 0 h 18"/>
                <a:gd name="T14" fmla="*/ 23 w 23"/>
                <a:gd name="T15" fmla="*/ 18 h 18"/>
              </a:gdLst>
              <a:ahLst/>
              <a:cxnLst>
                <a:cxn ang="T8">
                  <a:pos x="T0" y="T1"/>
                </a:cxn>
                <a:cxn ang="T9">
                  <a:pos x="T2" y="T3"/>
                </a:cxn>
                <a:cxn ang="T10">
                  <a:pos x="T4" y="T5"/>
                </a:cxn>
                <a:cxn ang="T11">
                  <a:pos x="T6" y="T7"/>
                </a:cxn>
              </a:cxnLst>
              <a:rect l="T12" t="T13" r="T14" b="T15"/>
              <a:pathLst>
                <a:path w="23" h="18">
                  <a:moveTo>
                    <a:pt x="2" y="18"/>
                  </a:moveTo>
                  <a:lnTo>
                    <a:pt x="23" y="0"/>
                  </a:lnTo>
                  <a:lnTo>
                    <a:pt x="0" y="0"/>
                  </a:lnTo>
                  <a:lnTo>
                    <a:pt x="2" y="18"/>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75" name="Freeform 1846"/>
            <p:cNvSpPr>
              <a:spLocks/>
            </p:cNvSpPr>
            <p:nvPr/>
          </p:nvSpPr>
          <p:spPr bwMode="auto">
            <a:xfrm>
              <a:off x="5915025" y="4805441"/>
              <a:ext cx="85725" cy="61913"/>
            </a:xfrm>
            <a:custGeom>
              <a:avLst/>
              <a:gdLst>
                <a:gd name="T0" fmla="*/ 2147483647 w 54"/>
                <a:gd name="T1" fmla="*/ 2147483647 h 39"/>
                <a:gd name="T2" fmla="*/ 2147483647 w 54"/>
                <a:gd name="T3" fmla="*/ 2147483647 h 39"/>
                <a:gd name="T4" fmla="*/ 0 w 54"/>
                <a:gd name="T5" fmla="*/ 0 h 39"/>
                <a:gd name="T6" fmla="*/ 2147483647 w 54"/>
                <a:gd name="T7" fmla="*/ 2147483647 h 39"/>
                <a:gd name="T8" fmla="*/ 2147483647 w 54"/>
                <a:gd name="T9" fmla="*/ 2147483647 h 39"/>
                <a:gd name="T10" fmla="*/ 0 60000 65536"/>
                <a:gd name="T11" fmla="*/ 0 60000 65536"/>
                <a:gd name="T12" fmla="*/ 0 60000 65536"/>
                <a:gd name="T13" fmla="*/ 0 60000 65536"/>
                <a:gd name="T14" fmla="*/ 0 60000 65536"/>
                <a:gd name="T15" fmla="*/ 0 w 54"/>
                <a:gd name="T16" fmla="*/ 0 h 39"/>
                <a:gd name="T17" fmla="*/ 54 w 54"/>
                <a:gd name="T18" fmla="*/ 39 h 39"/>
              </a:gdLst>
              <a:ahLst/>
              <a:cxnLst>
                <a:cxn ang="T10">
                  <a:pos x="T0" y="T1"/>
                </a:cxn>
                <a:cxn ang="T11">
                  <a:pos x="T2" y="T3"/>
                </a:cxn>
                <a:cxn ang="T12">
                  <a:pos x="T4" y="T5"/>
                </a:cxn>
                <a:cxn ang="T13">
                  <a:pos x="T6" y="T7"/>
                </a:cxn>
                <a:cxn ang="T14">
                  <a:pos x="T8" y="T9"/>
                </a:cxn>
              </a:cxnLst>
              <a:rect l="T15" t="T16" r="T17" b="T18"/>
              <a:pathLst>
                <a:path w="54" h="39">
                  <a:moveTo>
                    <a:pt x="54" y="39"/>
                  </a:moveTo>
                  <a:lnTo>
                    <a:pt x="12" y="34"/>
                  </a:lnTo>
                  <a:lnTo>
                    <a:pt x="0" y="0"/>
                  </a:lnTo>
                  <a:lnTo>
                    <a:pt x="54" y="12"/>
                  </a:lnTo>
                  <a:lnTo>
                    <a:pt x="54" y="39"/>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grpSp>
          <p:nvGrpSpPr>
            <p:cNvPr id="676" name="Group 1847"/>
            <p:cNvGrpSpPr>
              <a:grpSpLocks/>
            </p:cNvGrpSpPr>
            <p:nvPr/>
          </p:nvGrpSpPr>
          <p:grpSpPr bwMode="auto">
            <a:xfrm>
              <a:off x="4238625" y="2425778"/>
              <a:ext cx="1806575" cy="2411413"/>
              <a:chOff x="2920" y="1610"/>
              <a:chExt cx="1138" cy="1519"/>
            </a:xfrm>
          </p:grpSpPr>
          <p:sp>
            <p:nvSpPr>
              <p:cNvPr id="926" name="Freeform 1848"/>
              <p:cNvSpPr>
                <a:spLocks/>
              </p:cNvSpPr>
              <p:nvPr/>
            </p:nvSpPr>
            <p:spPr bwMode="auto">
              <a:xfrm>
                <a:off x="2920" y="1610"/>
                <a:ext cx="1138" cy="1519"/>
              </a:xfrm>
              <a:custGeom>
                <a:avLst/>
                <a:gdLst>
                  <a:gd name="T0" fmla="*/ 1138 w 1138"/>
                  <a:gd name="T1" fmla="*/ 1519 h 1519"/>
                  <a:gd name="T2" fmla="*/ 1076 w 1138"/>
                  <a:gd name="T3" fmla="*/ 1481 h 1519"/>
                  <a:gd name="T4" fmla="*/ 992 w 1138"/>
                  <a:gd name="T5" fmla="*/ 1427 h 1519"/>
                  <a:gd name="T6" fmla="*/ 936 w 1138"/>
                  <a:gd name="T7" fmla="*/ 1357 h 1519"/>
                  <a:gd name="T8" fmla="*/ 896 w 1138"/>
                  <a:gd name="T9" fmla="*/ 1287 h 1519"/>
                  <a:gd name="T10" fmla="*/ 870 w 1138"/>
                  <a:gd name="T11" fmla="*/ 1195 h 1519"/>
                  <a:gd name="T12" fmla="*/ 854 w 1138"/>
                  <a:gd name="T13" fmla="*/ 1123 h 1519"/>
                  <a:gd name="T14" fmla="*/ 818 w 1138"/>
                  <a:gd name="T15" fmla="*/ 1087 h 1519"/>
                  <a:gd name="T16" fmla="*/ 746 w 1138"/>
                  <a:gd name="T17" fmla="*/ 1035 h 1519"/>
                  <a:gd name="T18" fmla="*/ 676 w 1138"/>
                  <a:gd name="T19" fmla="*/ 993 h 1519"/>
                  <a:gd name="T20" fmla="*/ 614 w 1138"/>
                  <a:gd name="T21" fmla="*/ 915 h 1519"/>
                  <a:gd name="T22" fmla="*/ 538 w 1138"/>
                  <a:gd name="T23" fmla="*/ 827 h 1519"/>
                  <a:gd name="T24" fmla="*/ 444 w 1138"/>
                  <a:gd name="T25" fmla="*/ 719 h 1519"/>
                  <a:gd name="T26" fmla="*/ 410 w 1138"/>
                  <a:gd name="T27" fmla="*/ 611 h 1519"/>
                  <a:gd name="T28" fmla="*/ 388 w 1138"/>
                  <a:gd name="T29" fmla="*/ 541 h 1519"/>
                  <a:gd name="T30" fmla="*/ 370 w 1138"/>
                  <a:gd name="T31" fmla="*/ 461 h 1519"/>
                  <a:gd name="T32" fmla="*/ 338 w 1138"/>
                  <a:gd name="T33" fmla="*/ 407 h 1519"/>
                  <a:gd name="T34" fmla="*/ 292 w 1138"/>
                  <a:gd name="T35" fmla="*/ 381 h 1519"/>
                  <a:gd name="T36" fmla="*/ 240 w 1138"/>
                  <a:gd name="T37" fmla="*/ 343 h 1519"/>
                  <a:gd name="T38" fmla="*/ 196 w 1138"/>
                  <a:gd name="T39" fmla="*/ 311 h 1519"/>
                  <a:gd name="T40" fmla="*/ 158 w 1138"/>
                  <a:gd name="T41" fmla="*/ 259 h 1519"/>
                  <a:gd name="T42" fmla="*/ 148 w 1138"/>
                  <a:gd name="T43" fmla="*/ 149 h 1519"/>
                  <a:gd name="T44" fmla="*/ 146 w 1138"/>
                  <a:gd name="T45" fmla="*/ 91 h 1519"/>
                  <a:gd name="T46" fmla="*/ 148 w 1138"/>
                  <a:gd name="T47" fmla="*/ 41 h 1519"/>
                  <a:gd name="T48" fmla="*/ 116 w 1138"/>
                  <a:gd name="T49" fmla="*/ 13 h 1519"/>
                  <a:gd name="T50" fmla="*/ 60 w 1138"/>
                  <a:gd name="T51" fmla="*/ 1 h 1519"/>
                  <a:gd name="T52" fmla="*/ 0 w 1138"/>
                  <a:gd name="T53" fmla="*/ 7 h 15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8"/>
                  <a:gd name="T82" fmla="*/ 0 h 1519"/>
                  <a:gd name="T83" fmla="*/ 1138 w 1138"/>
                  <a:gd name="T84" fmla="*/ 1519 h 15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8" h="1519">
                    <a:moveTo>
                      <a:pt x="1138" y="1519"/>
                    </a:moveTo>
                    <a:cubicBezTo>
                      <a:pt x="1119" y="1507"/>
                      <a:pt x="1100" y="1496"/>
                      <a:pt x="1076" y="1481"/>
                    </a:cubicBezTo>
                    <a:cubicBezTo>
                      <a:pt x="1052" y="1466"/>
                      <a:pt x="1015" y="1448"/>
                      <a:pt x="992" y="1427"/>
                    </a:cubicBezTo>
                    <a:cubicBezTo>
                      <a:pt x="969" y="1406"/>
                      <a:pt x="952" y="1380"/>
                      <a:pt x="936" y="1357"/>
                    </a:cubicBezTo>
                    <a:cubicBezTo>
                      <a:pt x="920" y="1334"/>
                      <a:pt x="907" y="1314"/>
                      <a:pt x="896" y="1287"/>
                    </a:cubicBezTo>
                    <a:cubicBezTo>
                      <a:pt x="885" y="1260"/>
                      <a:pt x="877" y="1222"/>
                      <a:pt x="870" y="1195"/>
                    </a:cubicBezTo>
                    <a:cubicBezTo>
                      <a:pt x="863" y="1168"/>
                      <a:pt x="863" y="1141"/>
                      <a:pt x="854" y="1123"/>
                    </a:cubicBezTo>
                    <a:cubicBezTo>
                      <a:pt x="845" y="1105"/>
                      <a:pt x="836" y="1102"/>
                      <a:pt x="818" y="1087"/>
                    </a:cubicBezTo>
                    <a:cubicBezTo>
                      <a:pt x="800" y="1072"/>
                      <a:pt x="770" y="1051"/>
                      <a:pt x="746" y="1035"/>
                    </a:cubicBezTo>
                    <a:cubicBezTo>
                      <a:pt x="722" y="1019"/>
                      <a:pt x="698" y="1013"/>
                      <a:pt x="676" y="993"/>
                    </a:cubicBezTo>
                    <a:cubicBezTo>
                      <a:pt x="654" y="973"/>
                      <a:pt x="637" y="943"/>
                      <a:pt x="614" y="915"/>
                    </a:cubicBezTo>
                    <a:cubicBezTo>
                      <a:pt x="591" y="887"/>
                      <a:pt x="566" y="860"/>
                      <a:pt x="538" y="827"/>
                    </a:cubicBezTo>
                    <a:cubicBezTo>
                      <a:pt x="510" y="794"/>
                      <a:pt x="465" y="755"/>
                      <a:pt x="444" y="719"/>
                    </a:cubicBezTo>
                    <a:cubicBezTo>
                      <a:pt x="423" y="683"/>
                      <a:pt x="419" y="640"/>
                      <a:pt x="410" y="611"/>
                    </a:cubicBezTo>
                    <a:cubicBezTo>
                      <a:pt x="401" y="582"/>
                      <a:pt x="395" y="566"/>
                      <a:pt x="388" y="541"/>
                    </a:cubicBezTo>
                    <a:cubicBezTo>
                      <a:pt x="381" y="516"/>
                      <a:pt x="378" y="483"/>
                      <a:pt x="370" y="461"/>
                    </a:cubicBezTo>
                    <a:cubicBezTo>
                      <a:pt x="362" y="439"/>
                      <a:pt x="351" y="420"/>
                      <a:pt x="338" y="407"/>
                    </a:cubicBezTo>
                    <a:cubicBezTo>
                      <a:pt x="325" y="394"/>
                      <a:pt x="308" y="392"/>
                      <a:pt x="292" y="381"/>
                    </a:cubicBezTo>
                    <a:cubicBezTo>
                      <a:pt x="276" y="370"/>
                      <a:pt x="256" y="355"/>
                      <a:pt x="240" y="343"/>
                    </a:cubicBezTo>
                    <a:cubicBezTo>
                      <a:pt x="224" y="331"/>
                      <a:pt x="210" y="325"/>
                      <a:pt x="196" y="311"/>
                    </a:cubicBezTo>
                    <a:cubicBezTo>
                      <a:pt x="182" y="297"/>
                      <a:pt x="166" y="286"/>
                      <a:pt x="158" y="259"/>
                    </a:cubicBezTo>
                    <a:cubicBezTo>
                      <a:pt x="150" y="232"/>
                      <a:pt x="150" y="177"/>
                      <a:pt x="148" y="149"/>
                    </a:cubicBezTo>
                    <a:cubicBezTo>
                      <a:pt x="146" y="121"/>
                      <a:pt x="146" y="109"/>
                      <a:pt x="146" y="91"/>
                    </a:cubicBezTo>
                    <a:cubicBezTo>
                      <a:pt x="146" y="73"/>
                      <a:pt x="153" y="54"/>
                      <a:pt x="148" y="41"/>
                    </a:cubicBezTo>
                    <a:cubicBezTo>
                      <a:pt x="143" y="28"/>
                      <a:pt x="131" y="20"/>
                      <a:pt x="116" y="13"/>
                    </a:cubicBezTo>
                    <a:cubicBezTo>
                      <a:pt x="101" y="6"/>
                      <a:pt x="79" y="2"/>
                      <a:pt x="60" y="1"/>
                    </a:cubicBezTo>
                    <a:cubicBezTo>
                      <a:pt x="41" y="0"/>
                      <a:pt x="20" y="3"/>
                      <a:pt x="0" y="7"/>
                    </a:cubicBezTo>
                  </a:path>
                </a:pathLst>
              </a:custGeom>
              <a:noFill/>
              <a:ln w="9525" cap="flat"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927" name="Freeform 1849"/>
              <p:cNvSpPr>
                <a:spLocks/>
              </p:cNvSpPr>
              <p:nvPr/>
            </p:nvSpPr>
            <p:spPr bwMode="auto">
              <a:xfrm>
                <a:off x="2920" y="1610"/>
                <a:ext cx="1138" cy="1519"/>
              </a:xfrm>
              <a:custGeom>
                <a:avLst/>
                <a:gdLst>
                  <a:gd name="T0" fmla="*/ 1138 w 1138"/>
                  <a:gd name="T1" fmla="*/ 1519 h 1519"/>
                  <a:gd name="T2" fmla="*/ 1076 w 1138"/>
                  <a:gd name="T3" fmla="*/ 1481 h 1519"/>
                  <a:gd name="T4" fmla="*/ 992 w 1138"/>
                  <a:gd name="T5" fmla="*/ 1427 h 1519"/>
                  <a:gd name="T6" fmla="*/ 936 w 1138"/>
                  <a:gd name="T7" fmla="*/ 1357 h 1519"/>
                  <a:gd name="T8" fmla="*/ 896 w 1138"/>
                  <a:gd name="T9" fmla="*/ 1287 h 1519"/>
                  <a:gd name="T10" fmla="*/ 870 w 1138"/>
                  <a:gd name="T11" fmla="*/ 1195 h 1519"/>
                  <a:gd name="T12" fmla="*/ 854 w 1138"/>
                  <a:gd name="T13" fmla="*/ 1123 h 1519"/>
                  <a:gd name="T14" fmla="*/ 818 w 1138"/>
                  <a:gd name="T15" fmla="*/ 1087 h 1519"/>
                  <a:gd name="T16" fmla="*/ 746 w 1138"/>
                  <a:gd name="T17" fmla="*/ 1035 h 1519"/>
                  <a:gd name="T18" fmla="*/ 676 w 1138"/>
                  <a:gd name="T19" fmla="*/ 993 h 1519"/>
                  <a:gd name="T20" fmla="*/ 614 w 1138"/>
                  <a:gd name="T21" fmla="*/ 915 h 1519"/>
                  <a:gd name="T22" fmla="*/ 538 w 1138"/>
                  <a:gd name="T23" fmla="*/ 827 h 1519"/>
                  <a:gd name="T24" fmla="*/ 444 w 1138"/>
                  <a:gd name="T25" fmla="*/ 719 h 1519"/>
                  <a:gd name="T26" fmla="*/ 410 w 1138"/>
                  <a:gd name="T27" fmla="*/ 611 h 1519"/>
                  <a:gd name="T28" fmla="*/ 388 w 1138"/>
                  <a:gd name="T29" fmla="*/ 541 h 1519"/>
                  <a:gd name="T30" fmla="*/ 370 w 1138"/>
                  <a:gd name="T31" fmla="*/ 461 h 1519"/>
                  <a:gd name="T32" fmla="*/ 338 w 1138"/>
                  <a:gd name="T33" fmla="*/ 407 h 1519"/>
                  <a:gd name="T34" fmla="*/ 292 w 1138"/>
                  <a:gd name="T35" fmla="*/ 381 h 1519"/>
                  <a:gd name="T36" fmla="*/ 240 w 1138"/>
                  <a:gd name="T37" fmla="*/ 343 h 1519"/>
                  <a:gd name="T38" fmla="*/ 196 w 1138"/>
                  <a:gd name="T39" fmla="*/ 311 h 1519"/>
                  <a:gd name="T40" fmla="*/ 158 w 1138"/>
                  <a:gd name="T41" fmla="*/ 259 h 1519"/>
                  <a:gd name="T42" fmla="*/ 148 w 1138"/>
                  <a:gd name="T43" fmla="*/ 149 h 1519"/>
                  <a:gd name="T44" fmla="*/ 146 w 1138"/>
                  <a:gd name="T45" fmla="*/ 91 h 1519"/>
                  <a:gd name="T46" fmla="*/ 148 w 1138"/>
                  <a:gd name="T47" fmla="*/ 41 h 1519"/>
                  <a:gd name="T48" fmla="*/ 116 w 1138"/>
                  <a:gd name="T49" fmla="*/ 13 h 1519"/>
                  <a:gd name="T50" fmla="*/ 60 w 1138"/>
                  <a:gd name="T51" fmla="*/ 1 h 1519"/>
                  <a:gd name="T52" fmla="*/ 0 w 1138"/>
                  <a:gd name="T53" fmla="*/ 7 h 15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8"/>
                  <a:gd name="T82" fmla="*/ 0 h 1519"/>
                  <a:gd name="T83" fmla="*/ 1138 w 1138"/>
                  <a:gd name="T84" fmla="*/ 1519 h 15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8" h="1519">
                    <a:moveTo>
                      <a:pt x="1138" y="1519"/>
                    </a:moveTo>
                    <a:cubicBezTo>
                      <a:pt x="1119" y="1507"/>
                      <a:pt x="1100" y="1496"/>
                      <a:pt x="1076" y="1481"/>
                    </a:cubicBezTo>
                    <a:cubicBezTo>
                      <a:pt x="1052" y="1466"/>
                      <a:pt x="1015" y="1448"/>
                      <a:pt x="992" y="1427"/>
                    </a:cubicBezTo>
                    <a:cubicBezTo>
                      <a:pt x="969" y="1406"/>
                      <a:pt x="952" y="1380"/>
                      <a:pt x="936" y="1357"/>
                    </a:cubicBezTo>
                    <a:cubicBezTo>
                      <a:pt x="920" y="1334"/>
                      <a:pt x="907" y="1314"/>
                      <a:pt x="896" y="1287"/>
                    </a:cubicBezTo>
                    <a:cubicBezTo>
                      <a:pt x="885" y="1260"/>
                      <a:pt x="877" y="1222"/>
                      <a:pt x="870" y="1195"/>
                    </a:cubicBezTo>
                    <a:cubicBezTo>
                      <a:pt x="863" y="1168"/>
                      <a:pt x="863" y="1141"/>
                      <a:pt x="854" y="1123"/>
                    </a:cubicBezTo>
                    <a:cubicBezTo>
                      <a:pt x="845" y="1105"/>
                      <a:pt x="836" y="1102"/>
                      <a:pt x="818" y="1087"/>
                    </a:cubicBezTo>
                    <a:cubicBezTo>
                      <a:pt x="800" y="1072"/>
                      <a:pt x="770" y="1051"/>
                      <a:pt x="746" y="1035"/>
                    </a:cubicBezTo>
                    <a:cubicBezTo>
                      <a:pt x="722" y="1019"/>
                      <a:pt x="698" y="1013"/>
                      <a:pt x="676" y="993"/>
                    </a:cubicBezTo>
                    <a:cubicBezTo>
                      <a:pt x="654" y="973"/>
                      <a:pt x="637" y="943"/>
                      <a:pt x="614" y="915"/>
                    </a:cubicBezTo>
                    <a:cubicBezTo>
                      <a:pt x="591" y="887"/>
                      <a:pt x="566" y="860"/>
                      <a:pt x="538" y="827"/>
                    </a:cubicBezTo>
                    <a:cubicBezTo>
                      <a:pt x="510" y="794"/>
                      <a:pt x="465" y="755"/>
                      <a:pt x="444" y="719"/>
                    </a:cubicBezTo>
                    <a:cubicBezTo>
                      <a:pt x="423" y="683"/>
                      <a:pt x="419" y="640"/>
                      <a:pt x="410" y="611"/>
                    </a:cubicBezTo>
                    <a:cubicBezTo>
                      <a:pt x="401" y="582"/>
                      <a:pt x="395" y="566"/>
                      <a:pt x="388" y="541"/>
                    </a:cubicBezTo>
                    <a:cubicBezTo>
                      <a:pt x="381" y="516"/>
                      <a:pt x="378" y="483"/>
                      <a:pt x="370" y="461"/>
                    </a:cubicBezTo>
                    <a:cubicBezTo>
                      <a:pt x="362" y="439"/>
                      <a:pt x="351" y="420"/>
                      <a:pt x="338" y="407"/>
                    </a:cubicBezTo>
                    <a:cubicBezTo>
                      <a:pt x="325" y="394"/>
                      <a:pt x="308" y="392"/>
                      <a:pt x="292" y="381"/>
                    </a:cubicBezTo>
                    <a:cubicBezTo>
                      <a:pt x="276" y="370"/>
                      <a:pt x="256" y="355"/>
                      <a:pt x="240" y="343"/>
                    </a:cubicBezTo>
                    <a:cubicBezTo>
                      <a:pt x="224" y="331"/>
                      <a:pt x="210" y="325"/>
                      <a:pt x="196" y="311"/>
                    </a:cubicBezTo>
                    <a:cubicBezTo>
                      <a:pt x="182" y="297"/>
                      <a:pt x="166" y="286"/>
                      <a:pt x="158" y="259"/>
                    </a:cubicBezTo>
                    <a:cubicBezTo>
                      <a:pt x="150" y="232"/>
                      <a:pt x="150" y="177"/>
                      <a:pt x="148" y="149"/>
                    </a:cubicBezTo>
                    <a:cubicBezTo>
                      <a:pt x="146" y="121"/>
                      <a:pt x="146" y="109"/>
                      <a:pt x="146" y="91"/>
                    </a:cubicBezTo>
                    <a:cubicBezTo>
                      <a:pt x="146" y="73"/>
                      <a:pt x="153" y="54"/>
                      <a:pt x="148" y="41"/>
                    </a:cubicBezTo>
                    <a:cubicBezTo>
                      <a:pt x="143" y="28"/>
                      <a:pt x="131" y="20"/>
                      <a:pt x="116" y="13"/>
                    </a:cubicBezTo>
                    <a:cubicBezTo>
                      <a:pt x="101" y="6"/>
                      <a:pt x="79" y="2"/>
                      <a:pt x="60" y="1"/>
                    </a:cubicBezTo>
                    <a:cubicBezTo>
                      <a:pt x="41" y="0"/>
                      <a:pt x="20" y="3"/>
                      <a:pt x="0" y="7"/>
                    </a:cubicBezTo>
                  </a:path>
                </a:pathLst>
              </a:custGeom>
              <a:noFill/>
              <a:ln w="9525" cap="flat" cmpd="sng">
                <a:solidFill>
                  <a:srgbClr val="CC00FF"/>
                </a:solidFill>
                <a:prstDash val="lg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grpSp>
        <p:sp>
          <p:nvSpPr>
            <p:cNvPr id="677" name="Freeform 1850"/>
            <p:cNvSpPr>
              <a:spLocks/>
            </p:cNvSpPr>
            <p:nvPr/>
          </p:nvSpPr>
          <p:spPr bwMode="auto">
            <a:xfrm>
              <a:off x="5162550" y="4433966"/>
              <a:ext cx="71438" cy="66675"/>
            </a:xfrm>
            <a:custGeom>
              <a:avLst/>
              <a:gdLst>
                <a:gd name="T0" fmla="*/ 2147483647 w 45"/>
                <a:gd name="T1" fmla="*/ 2147483647 h 42"/>
                <a:gd name="T2" fmla="*/ 2147483647 w 45"/>
                <a:gd name="T3" fmla="*/ 2147483647 h 42"/>
                <a:gd name="T4" fmla="*/ 2147483647 w 45"/>
                <a:gd name="T5" fmla="*/ 2147483647 h 42"/>
                <a:gd name="T6" fmla="*/ 2147483647 w 45"/>
                <a:gd name="T7" fmla="*/ 2147483647 h 42"/>
                <a:gd name="T8" fmla="*/ 2147483647 w 45"/>
                <a:gd name="T9" fmla="*/ 2147483647 h 42"/>
                <a:gd name="T10" fmla="*/ 2147483647 w 45"/>
                <a:gd name="T11" fmla="*/ 2147483647 h 42"/>
                <a:gd name="T12" fmla="*/ 2147483647 w 45"/>
                <a:gd name="T13" fmla="*/ 2147483647 h 42"/>
                <a:gd name="T14" fmla="*/ 0 60000 65536"/>
                <a:gd name="T15" fmla="*/ 0 60000 65536"/>
                <a:gd name="T16" fmla="*/ 0 60000 65536"/>
                <a:gd name="T17" fmla="*/ 0 60000 65536"/>
                <a:gd name="T18" fmla="*/ 0 60000 65536"/>
                <a:gd name="T19" fmla="*/ 0 60000 65536"/>
                <a:gd name="T20" fmla="*/ 0 60000 65536"/>
                <a:gd name="T21" fmla="*/ 0 w 45"/>
                <a:gd name="T22" fmla="*/ 0 h 42"/>
                <a:gd name="T23" fmla="*/ 45 w 45"/>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42">
                  <a:moveTo>
                    <a:pt x="26" y="42"/>
                  </a:moveTo>
                  <a:cubicBezTo>
                    <a:pt x="19" y="42"/>
                    <a:pt x="6" y="35"/>
                    <a:pt x="3" y="30"/>
                  </a:cubicBezTo>
                  <a:cubicBezTo>
                    <a:pt x="0" y="25"/>
                    <a:pt x="2" y="18"/>
                    <a:pt x="5" y="13"/>
                  </a:cubicBezTo>
                  <a:cubicBezTo>
                    <a:pt x="8" y="8"/>
                    <a:pt x="14" y="2"/>
                    <a:pt x="20" y="1"/>
                  </a:cubicBezTo>
                  <a:cubicBezTo>
                    <a:pt x="26" y="0"/>
                    <a:pt x="35" y="5"/>
                    <a:pt x="39" y="10"/>
                  </a:cubicBezTo>
                  <a:cubicBezTo>
                    <a:pt x="43" y="15"/>
                    <a:pt x="45" y="24"/>
                    <a:pt x="44" y="28"/>
                  </a:cubicBezTo>
                  <a:cubicBezTo>
                    <a:pt x="43" y="32"/>
                    <a:pt x="33" y="42"/>
                    <a:pt x="26" y="42"/>
                  </a:cubicBezTo>
                  <a:close/>
                </a:path>
              </a:pathLst>
            </a:custGeom>
            <a:solidFill>
              <a:srgbClr val="66FFFF"/>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78" name="Freeform 1851"/>
            <p:cNvSpPr>
              <a:spLocks/>
            </p:cNvSpPr>
            <p:nvPr/>
          </p:nvSpPr>
          <p:spPr bwMode="auto">
            <a:xfrm>
              <a:off x="4953000" y="3986291"/>
              <a:ext cx="1576388" cy="990600"/>
            </a:xfrm>
            <a:custGeom>
              <a:avLst/>
              <a:gdLst>
                <a:gd name="T0" fmla="*/ 0 w 993"/>
                <a:gd name="T1" fmla="*/ 2147483647 h 624"/>
                <a:gd name="T2" fmla="*/ 2147483647 w 993"/>
                <a:gd name="T3" fmla="*/ 2147483647 h 624"/>
                <a:gd name="T4" fmla="*/ 2147483647 w 993"/>
                <a:gd name="T5" fmla="*/ 2147483647 h 624"/>
                <a:gd name="T6" fmla="*/ 2147483647 w 993"/>
                <a:gd name="T7" fmla="*/ 2147483647 h 624"/>
                <a:gd name="T8" fmla="*/ 2147483647 w 993"/>
                <a:gd name="T9" fmla="*/ 2147483647 h 624"/>
                <a:gd name="T10" fmla="*/ 2147483647 w 993"/>
                <a:gd name="T11" fmla="*/ 2147483647 h 624"/>
                <a:gd name="T12" fmla="*/ 2147483647 w 993"/>
                <a:gd name="T13" fmla="*/ 2147483647 h 624"/>
                <a:gd name="T14" fmla="*/ 2147483647 w 993"/>
                <a:gd name="T15" fmla="*/ 2147483647 h 624"/>
                <a:gd name="T16" fmla="*/ 2147483647 w 993"/>
                <a:gd name="T17" fmla="*/ 2147483647 h 624"/>
                <a:gd name="T18" fmla="*/ 2147483647 w 993"/>
                <a:gd name="T19" fmla="*/ 2147483647 h 624"/>
                <a:gd name="T20" fmla="*/ 2147483647 w 993"/>
                <a:gd name="T21" fmla="*/ 2147483647 h 624"/>
                <a:gd name="T22" fmla="*/ 2147483647 w 993"/>
                <a:gd name="T23" fmla="*/ 2147483647 h 624"/>
                <a:gd name="T24" fmla="*/ 2147483647 w 993"/>
                <a:gd name="T25" fmla="*/ 2147483647 h 624"/>
                <a:gd name="T26" fmla="*/ 2147483647 w 993"/>
                <a:gd name="T27" fmla="*/ 2147483647 h 624"/>
                <a:gd name="T28" fmla="*/ 2147483647 w 993"/>
                <a:gd name="T29" fmla="*/ 2147483647 h 624"/>
                <a:gd name="T30" fmla="*/ 2147483647 w 993"/>
                <a:gd name="T31" fmla="*/ 2147483647 h 624"/>
                <a:gd name="T32" fmla="*/ 2147483647 w 993"/>
                <a:gd name="T33" fmla="*/ 2147483647 h 624"/>
                <a:gd name="T34" fmla="*/ 2147483647 w 993"/>
                <a:gd name="T35" fmla="*/ 0 h 6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93"/>
                <a:gd name="T55" fmla="*/ 0 h 624"/>
                <a:gd name="T56" fmla="*/ 993 w 993"/>
                <a:gd name="T57" fmla="*/ 624 h 6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93" h="624">
                  <a:moveTo>
                    <a:pt x="0" y="517"/>
                  </a:moveTo>
                  <a:cubicBezTo>
                    <a:pt x="5" y="532"/>
                    <a:pt x="20" y="596"/>
                    <a:pt x="32" y="610"/>
                  </a:cubicBezTo>
                  <a:cubicBezTo>
                    <a:pt x="44" y="624"/>
                    <a:pt x="57" y="610"/>
                    <a:pt x="74" y="600"/>
                  </a:cubicBezTo>
                  <a:cubicBezTo>
                    <a:pt x="91" y="590"/>
                    <a:pt x="116" y="567"/>
                    <a:pt x="134" y="552"/>
                  </a:cubicBezTo>
                  <a:cubicBezTo>
                    <a:pt x="152" y="537"/>
                    <a:pt x="171" y="519"/>
                    <a:pt x="185" y="510"/>
                  </a:cubicBezTo>
                  <a:cubicBezTo>
                    <a:pt x="199" y="501"/>
                    <a:pt x="204" y="497"/>
                    <a:pt x="219" y="496"/>
                  </a:cubicBezTo>
                  <a:cubicBezTo>
                    <a:pt x="234" y="495"/>
                    <a:pt x="260" y="500"/>
                    <a:pt x="273" y="504"/>
                  </a:cubicBezTo>
                  <a:cubicBezTo>
                    <a:pt x="286" y="508"/>
                    <a:pt x="287" y="515"/>
                    <a:pt x="296" y="517"/>
                  </a:cubicBezTo>
                  <a:cubicBezTo>
                    <a:pt x="305" y="519"/>
                    <a:pt x="314" y="521"/>
                    <a:pt x="326" y="517"/>
                  </a:cubicBezTo>
                  <a:cubicBezTo>
                    <a:pt x="338" y="513"/>
                    <a:pt x="343" y="517"/>
                    <a:pt x="371" y="490"/>
                  </a:cubicBezTo>
                  <a:cubicBezTo>
                    <a:pt x="399" y="463"/>
                    <a:pt x="462" y="394"/>
                    <a:pt x="497" y="355"/>
                  </a:cubicBezTo>
                  <a:cubicBezTo>
                    <a:pt x="532" y="316"/>
                    <a:pt x="554" y="295"/>
                    <a:pt x="584" y="258"/>
                  </a:cubicBezTo>
                  <a:cubicBezTo>
                    <a:pt x="614" y="221"/>
                    <a:pt x="654" y="160"/>
                    <a:pt x="680" y="135"/>
                  </a:cubicBezTo>
                  <a:cubicBezTo>
                    <a:pt x="706" y="110"/>
                    <a:pt x="717" y="118"/>
                    <a:pt x="743" y="109"/>
                  </a:cubicBezTo>
                  <a:cubicBezTo>
                    <a:pt x="769" y="100"/>
                    <a:pt x="801" y="91"/>
                    <a:pt x="834" y="79"/>
                  </a:cubicBezTo>
                  <a:cubicBezTo>
                    <a:pt x="867" y="67"/>
                    <a:pt x="920" y="49"/>
                    <a:pt x="944" y="39"/>
                  </a:cubicBezTo>
                  <a:cubicBezTo>
                    <a:pt x="968" y="29"/>
                    <a:pt x="972" y="28"/>
                    <a:pt x="980" y="21"/>
                  </a:cubicBezTo>
                  <a:cubicBezTo>
                    <a:pt x="988" y="14"/>
                    <a:pt x="990" y="7"/>
                    <a:pt x="993"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79" name="Freeform 1852"/>
            <p:cNvSpPr>
              <a:spLocks/>
            </p:cNvSpPr>
            <p:nvPr/>
          </p:nvSpPr>
          <p:spPr bwMode="auto">
            <a:xfrm>
              <a:off x="5657850" y="4035503"/>
              <a:ext cx="438150" cy="469900"/>
            </a:xfrm>
            <a:custGeom>
              <a:avLst/>
              <a:gdLst>
                <a:gd name="T0" fmla="*/ 2147483647 w 276"/>
                <a:gd name="T1" fmla="*/ 2147483647 h 296"/>
                <a:gd name="T2" fmla="*/ 0 w 276"/>
                <a:gd name="T3" fmla="*/ 2147483647 h 296"/>
                <a:gd name="T4" fmla="*/ 2147483647 w 276"/>
                <a:gd name="T5" fmla="*/ 2147483647 h 296"/>
                <a:gd name="T6" fmla="*/ 2147483647 w 276"/>
                <a:gd name="T7" fmla="*/ 2147483647 h 296"/>
                <a:gd name="T8" fmla="*/ 2147483647 w 276"/>
                <a:gd name="T9" fmla="*/ 2147483647 h 296"/>
                <a:gd name="T10" fmla="*/ 2147483647 w 276"/>
                <a:gd name="T11" fmla="*/ 2147483647 h 296"/>
                <a:gd name="T12" fmla="*/ 2147483647 w 276"/>
                <a:gd name="T13" fmla="*/ 2147483647 h 296"/>
                <a:gd name="T14" fmla="*/ 2147483647 w 276"/>
                <a:gd name="T15" fmla="*/ 2147483647 h 296"/>
                <a:gd name="T16" fmla="*/ 2147483647 w 276"/>
                <a:gd name="T17" fmla="*/ 2147483647 h 296"/>
                <a:gd name="T18" fmla="*/ 2147483647 w 276"/>
                <a:gd name="T19" fmla="*/ 2147483647 h 296"/>
                <a:gd name="T20" fmla="*/ 2147483647 w 276"/>
                <a:gd name="T21" fmla="*/ 2147483647 h 296"/>
                <a:gd name="T22" fmla="*/ 2147483647 w 276"/>
                <a:gd name="T23" fmla="*/ 0 h 296"/>
                <a:gd name="T24" fmla="*/ 2147483647 w 276"/>
                <a:gd name="T25" fmla="*/ 2147483647 h 296"/>
                <a:gd name="T26" fmla="*/ 2147483647 w 276"/>
                <a:gd name="T27" fmla="*/ 2147483647 h 296"/>
                <a:gd name="T28" fmla="*/ 2147483647 w 276"/>
                <a:gd name="T29" fmla="*/ 2147483647 h 296"/>
                <a:gd name="T30" fmla="*/ 2147483647 w 276"/>
                <a:gd name="T31" fmla="*/ 2147483647 h 296"/>
                <a:gd name="T32" fmla="*/ 2147483647 w 276"/>
                <a:gd name="T33" fmla="*/ 2147483647 h 296"/>
                <a:gd name="T34" fmla="*/ 2147483647 w 276"/>
                <a:gd name="T35" fmla="*/ 2147483647 h 296"/>
                <a:gd name="T36" fmla="*/ 2147483647 w 276"/>
                <a:gd name="T37" fmla="*/ 2147483647 h 296"/>
                <a:gd name="T38" fmla="*/ 2147483647 w 276"/>
                <a:gd name="T39" fmla="*/ 2147483647 h 296"/>
                <a:gd name="T40" fmla="*/ 2147483647 w 276"/>
                <a:gd name="T41" fmla="*/ 2147483647 h 296"/>
                <a:gd name="T42" fmla="*/ 2147483647 w 276"/>
                <a:gd name="T43" fmla="*/ 2147483647 h 296"/>
                <a:gd name="T44" fmla="*/ 2147483647 w 276"/>
                <a:gd name="T45" fmla="*/ 2147483647 h 296"/>
                <a:gd name="T46" fmla="*/ 2147483647 w 276"/>
                <a:gd name="T47" fmla="*/ 2147483647 h 296"/>
                <a:gd name="T48" fmla="*/ 2147483647 w 276"/>
                <a:gd name="T49" fmla="*/ 2147483647 h 29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6"/>
                <a:gd name="T76" fmla="*/ 0 h 296"/>
                <a:gd name="T77" fmla="*/ 276 w 276"/>
                <a:gd name="T78" fmla="*/ 296 h 29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6" h="296">
                  <a:moveTo>
                    <a:pt x="27" y="158"/>
                  </a:moveTo>
                  <a:lnTo>
                    <a:pt x="0" y="126"/>
                  </a:lnTo>
                  <a:lnTo>
                    <a:pt x="2" y="111"/>
                  </a:lnTo>
                  <a:lnTo>
                    <a:pt x="26" y="110"/>
                  </a:lnTo>
                  <a:lnTo>
                    <a:pt x="41" y="141"/>
                  </a:lnTo>
                  <a:lnTo>
                    <a:pt x="90" y="125"/>
                  </a:lnTo>
                  <a:lnTo>
                    <a:pt x="90" y="108"/>
                  </a:lnTo>
                  <a:lnTo>
                    <a:pt x="66" y="105"/>
                  </a:lnTo>
                  <a:lnTo>
                    <a:pt x="70" y="71"/>
                  </a:lnTo>
                  <a:lnTo>
                    <a:pt x="134" y="37"/>
                  </a:lnTo>
                  <a:lnTo>
                    <a:pt x="176" y="3"/>
                  </a:lnTo>
                  <a:lnTo>
                    <a:pt x="228" y="0"/>
                  </a:lnTo>
                  <a:lnTo>
                    <a:pt x="276" y="89"/>
                  </a:lnTo>
                  <a:lnTo>
                    <a:pt x="245" y="110"/>
                  </a:lnTo>
                  <a:lnTo>
                    <a:pt x="221" y="185"/>
                  </a:lnTo>
                  <a:lnTo>
                    <a:pt x="233" y="197"/>
                  </a:lnTo>
                  <a:lnTo>
                    <a:pt x="210" y="293"/>
                  </a:lnTo>
                  <a:lnTo>
                    <a:pt x="164" y="296"/>
                  </a:lnTo>
                  <a:lnTo>
                    <a:pt x="162" y="248"/>
                  </a:lnTo>
                  <a:lnTo>
                    <a:pt x="156" y="227"/>
                  </a:lnTo>
                  <a:lnTo>
                    <a:pt x="116" y="198"/>
                  </a:lnTo>
                  <a:lnTo>
                    <a:pt x="129" y="162"/>
                  </a:lnTo>
                  <a:lnTo>
                    <a:pt x="120" y="156"/>
                  </a:lnTo>
                  <a:lnTo>
                    <a:pt x="27" y="192"/>
                  </a:lnTo>
                  <a:lnTo>
                    <a:pt x="27" y="158"/>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80" name="Freeform 1853"/>
            <p:cNvSpPr>
              <a:spLocks/>
            </p:cNvSpPr>
            <p:nvPr/>
          </p:nvSpPr>
          <p:spPr bwMode="auto">
            <a:xfrm>
              <a:off x="3224213" y="2821066"/>
              <a:ext cx="2751138" cy="3303588"/>
            </a:xfrm>
            <a:custGeom>
              <a:avLst/>
              <a:gdLst>
                <a:gd name="T0" fmla="*/ 2147483647 w 1733"/>
                <a:gd name="T1" fmla="*/ 2147483647 h 2081"/>
                <a:gd name="T2" fmla="*/ 2147483647 w 1733"/>
                <a:gd name="T3" fmla="*/ 2147483647 h 2081"/>
                <a:gd name="T4" fmla="*/ 2147483647 w 1733"/>
                <a:gd name="T5" fmla="*/ 2147483647 h 2081"/>
                <a:gd name="T6" fmla="*/ 2147483647 w 1733"/>
                <a:gd name="T7" fmla="*/ 2147483647 h 2081"/>
                <a:gd name="T8" fmla="*/ 2147483647 w 1733"/>
                <a:gd name="T9" fmla="*/ 2147483647 h 2081"/>
                <a:gd name="T10" fmla="*/ 2147483647 w 1733"/>
                <a:gd name="T11" fmla="*/ 2147483647 h 2081"/>
                <a:gd name="T12" fmla="*/ 2147483647 w 1733"/>
                <a:gd name="T13" fmla="*/ 2147483647 h 2081"/>
                <a:gd name="T14" fmla="*/ 2147483647 w 1733"/>
                <a:gd name="T15" fmla="*/ 2147483647 h 2081"/>
                <a:gd name="T16" fmla="*/ 2147483647 w 1733"/>
                <a:gd name="T17" fmla="*/ 2147483647 h 2081"/>
                <a:gd name="T18" fmla="*/ 2147483647 w 1733"/>
                <a:gd name="T19" fmla="*/ 2147483647 h 2081"/>
                <a:gd name="T20" fmla="*/ 2147483647 w 1733"/>
                <a:gd name="T21" fmla="*/ 2147483647 h 2081"/>
                <a:gd name="T22" fmla="*/ 2147483647 w 1733"/>
                <a:gd name="T23" fmla="*/ 2147483647 h 2081"/>
                <a:gd name="T24" fmla="*/ 2147483647 w 1733"/>
                <a:gd name="T25" fmla="*/ 2147483647 h 2081"/>
                <a:gd name="T26" fmla="*/ 2147483647 w 1733"/>
                <a:gd name="T27" fmla="*/ 2147483647 h 2081"/>
                <a:gd name="T28" fmla="*/ 2147483647 w 1733"/>
                <a:gd name="T29" fmla="*/ 2147483647 h 2081"/>
                <a:gd name="T30" fmla="*/ 2147483647 w 1733"/>
                <a:gd name="T31" fmla="*/ 2147483647 h 2081"/>
                <a:gd name="T32" fmla="*/ 2147483647 w 1733"/>
                <a:gd name="T33" fmla="*/ 2147483647 h 2081"/>
                <a:gd name="T34" fmla="*/ 2147483647 w 1733"/>
                <a:gd name="T35" fmla="*/ 2147483647 h 2081"/>
                <a:gd name="T36" fmla="*/ 2147483647 w 1733"/>
                <a:gd name="T37" fmla="*/ 2147483647 h 2081"/>
                <a:gd name="T38" fmla="*/ 2147483647 w 1733"/>
                <a:gd name="T39" fmla="*/ 2147483647 h 2081"/>
                <a:gd name="T40" fmla="*/ 2147483647 w 1733"/>
                <a:gd name="T41" fmla="*/ 2147483647 h 2081"/>
                <a:gd name="T42" fmla="*/ 2147483647 w 1733"/>
                <a:gd name="T43" fmla="*/ 2147483647 h 2081"/>
                <a:gd name="T44" fmla="*/ 2147483647 w 1733"/>
                <a:gd name="T45" fmla="*/ 2147483647 h 2081"/>
                <a:gd name="T46" fmla="*/ 2147483647 w 1733"/>
                <a:gd name="T47" fmla="*/ 2147483647 h 2081"/>
                <a:gd name="T48" fmla="*/ 2147483647 w 1733"/>
                <a:gd name="T49" fmla="*/ 2147483647 h 2081"/>
                <a:gd name="T50" fmla="*/ 2147483647 w 1733"/>
                <a:gd name="T51" fmla="*/ 2147483647 h 2081"/>
                <a:gd name="T52" fmla="*/ 0 w 1733"/>
                <a:gd name="T53" fmla="*/ 0 h 208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33"/>
                <a:gd name="T82" fmla="*/ 0 h 2081"/>
                <a:gd name="T83" fmla="*/ 1733 w 1733"/>
                <a:gd name="T84" fmla="*/ 2081 h 208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33" h="2081">
                  <a:moveTo>
                    <a:pt x="1733" y="2081"/>
                  </a:moveTo>
                  <a:cubicBezTo>
                    <a:pt x="1721" y="2062"/>
                    <a:pt x="1679" y="2006"/>
                    <a:pt x="1658" y="1964"/>
                  </a:cubicBezTo>
                  <a:cubicBezTo>
                    <a:pt x="1637" y="1922"/>
                    <a:pt x="1626" y="1870"/>
                    <a:pt x="1608" y="1829"/>
                  </a:cubicBezTo>
                  <a:cubicBezTo>
                    <a:pt x="1590" y="1788"/>
                    <a:pt x="1582" y="1770"/>
                    <a:pt x="1547" y="1718"/>
                  </a:cubicBezTo>
                  <a:cubicBezTo>
                    <a:pt x="1512" y="1666"/>
                    <a:pt x="1453" y="1571"/>
                    <a:pt x="1397" y="1515"/>
                  </a:cubicBezTo>
                  <a:cubicBezTo>
                    <a:pt x="1341" y="1459"/>
                    <a:pt x="1256" y="1435"/>
                    <a:pt x="1209" y="1382"/>
                  </a:cubicBezTo>
                  <a:cubicBezTo>
                    <a:pt x="1162" y="1329"/>
                    <a:pt x="1133" y="1241"/>
                    <a:pt x="1113" y="1199"/>
                  </a:cubicBezTo>
                  <a:cubicBezTo>
                    <a:pt x="1093" y="1157"/>
                    <a:pt x="1097" y="1158"/>
                    <a:pt x="1088" y="1131"/>
                  </a:cubicBezTo>
                  <a:cubicBezTo>
                    <a:pt x="1079" y="1104"/>
                    <a:pt x="1067" y="1061"/>
                    <a:pt x="1061" y="1037"/>
                  </a:cubicBezTo>
                  <a:cubicBezTo>
                    <a:pt x="1055" y="1013"/>
                    <a:pt x="1054" y="1006"/>
                    <a:pt x="1049" y="988"/>
                  </a:cubicBezTo>
                  <a:cubicBezTo>
                    <a:pt x="1044" y="970"/>
                    <a:pt x="1037" y="950"/>
                    <a:pt x="1030" y="929"/>
                  </a:cubicBezTo>
                  <a:cubicBezTo>
                    <a:pt x="1023" y="909"/>
                    <a:pt x="1017" y="886"/>
                    <a:pt x="1007" y="863"/>
                  </a:cubicBezTo>
                  <a:cubicBezTo>
                    <a:pt x="997" y="840"/>
                    <a:pt x="987" y="816"/>
                    <a:pt x="972" y="792"/>
                  </a:cubicBezTo>
                  <a:cubicBezTo>
                    <a:pt x="957" y="768"/>
                    <a:pt x="930" y="735"/>
                    <a:pt x="916" y="718"/>
                  </a:cubicBezTo>
                  <a:cubicBezTo>
                    <a:pt x="902" y="701"/>
                    <a:pt x="897" y="697"/>
                    <a:pt x="886" y="687"/>
                  </a:cubicBezTo>
                  <a:cubicBezTo>
                    <a:pt x="875" y="678"/>
                    <a:pt x="869" y="671"/>
                    <a:pt x="848" y="660"/>
                  </a:cubicBezTo>
                  <a:cubicBezTo>
                    <a:pt x="828" y="649"/>
                    <a:pt x="791" y="633"/>
                    <a:pt x="763" y="622"/>
                  </a:cubicBezTo>
                  <a:cubicBezTo>
                    <a:pt x="735" y="611"/>
                    <a:pt x="707" y="602"/>
                    <a:pt x="681" y="594"/>
                  </a:cubicBezTo>
                  <a:cubicBezTo>
                    <a:pt x="655" y="586"/>
                    <a:pt x="630" y="584"/>
                    <a:pt x="605" y="575"/>
                  </a:cubicBezTo>
                  <a:cubicBezTo>
                    <a:pt x="580" y="566"/>
                    <a:pt x="554" y="554"/>
                    <a:pt x="530" y="542"/>
                  </a:cubicBezTo>
                  <a:cubicBezTo>
                    <a:pt x="506" y="530"/>
                    <a:pt x="483" y="517"/>
                    <a:pt x="463" y="504"/>
                  </a:cubicBezTo>
                  <a:cubicBezTo>
                    <a:pt x="443" y="491"/>
                    <a:pt x="426" y="479"/>
                    <a:pt x="408" y="461"/>
                  </a:cubicBezTo>
                  <a:cubicBezTo>
                    <a:pt x="390" y="444"/>
                    <a:pt x="367" y="416"/>
                    <a:pt x="352" y="398"/>
                  </a:cubicBezTo>
                  <a:cubicBezTo>
                    <a:pt x="337" y="380"/>
                    <a:pt x="331" y="370"/>
                    <a:pt x="321" y="351"/>
                  </a:cubicBezTo>
                  <a:cubicBezTo>
                    <a:pt x="311" y="332"/>
                    <a:pt x="311" y="322"/>
                    <a:pt x="293" y="285"/>
                  </a:cubicBezTo>
                  <a:cubicBezTo>
                    <a:pt x="275" y="248"/>
                    <a:pt x="264" y="176"/>
                    <a:pt x="215" y="129"/>
                  </a:cubicBezTo>
                  <a:cubicBezTo>
                    <a:pt x="166" y="82"/>
                    <a:pt x="45" y="27"/>
                    <a:pt x="0"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681" name="Freeform 1854"/>
            <p:cNvSpPr>
              <a:spLocks/>
            </p:cNvSpPr>
            <p:nvPr/>
          </p:nvSpPr>
          <p:spPr bwMode="auto">
            <a:xfrm>
              <a:off x="4857750" y="4654628"/>
              <a:ext cx="95250" cy="84138"/>
            </a:xfrm>
            <a:custGeom>
              <a:avLst/>
              <a:gdLst>
                <a:gd name="T0" fmla="*/ 2147483647 w 60"/>
                <a:gd name="T1" fmla="*/ 0 h 53"/>
                <a:gd name="T2" fmla="*/ 0 w 60"/>
                <a:gd name="T3" fmla="*/ 2147483647 h 53"/>
                <a:gd name="T4" fmla="*/ 2147483647 w 60"/>
                <a:gd name="T5" fmla="*/ 2147483647 h 53"/>
                <a:gd name="T6" fmla="*/ 2147483647 w 60"/>
                <a:gd name="T7" fmla="*/ 0 h 53"/>
                <a:gd name="T8" fmla="*/ 0 60000 65536"/>
                <a:gd name="T9" fmla="*/ 0 60000 65536"/>
                <a:gd name="T10" fmla="*/ 0 60000 65536"/>
                <a:gd name="T11" fmla="*/ 0 60000 65536"/>
                <a:gd name="T12" fmla="*/ 0 w 60"/>
                <a:gd name="T13" fmla="*/ 0 h 53"/>
                <a:gd name="T14" fmla="*/ 60 w 60"/>
                <a:gd name="T15" fmla="*/ 53 h 53"/>
              </a:gdLst>
              <a:ahLst/>
              <a:cxnLst>
                <a:cxn ang="T8">
                  <a:pos x="T0" y="T1"/>
                </a:cxn>
                <a:cxn ang="T9">
                  <a:pos x="T2" y="T3"/>
                </a:cxn>
                <a:cxn ang="T10">
                  <a:pos x="T4" y="T5"/>
                </a:cxn>
                <a:cxn ang="T11">
                  <a:pos x="T6" y="T7"/>
                </a:cxn>
              </a:cxnLst>
              <a:rect l="T12" t="T13" r="T14" b="T15"/>
              <a:pathLst>
                <a:path w="60" h="53">
                  <a:moveTo>
                    <a:pt x="6" y="0"/>
                  </a:moveTo>
                  <a:lnTo>
                    <a:pt x="0" y="53"/>
                  </a:lnTo>
                  <a:lnTo>
                    <a:pt x="60" y="24"/>
                  </a:lnTo>
                  <a:lnTo>
                    <a:pt x="6" y="0"/>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82" name="Freeform 1855"/>
            <p:cNvSpPr>
              <a:spLocks/>
            </p:cNvSpPr>
            <p:nvPr/>
          </p:nvSpPr>
          <p:spPr bwMode="auto">
            <a:xfrm>
              <a:off x="4746625" y="4653041"/>
              <a:ext cx="247650" cy="220663"/>
            </a:xfrm>
            <a:custGeom>
              <a:avLst/>
              <a:gdLst>
                <a:gd name="T0" fmla="*/ 2147483647 w 156"/>
                <a:gd name="T1" fmla="*/ 2147483647 h 139"/>
                <a:gd name="T2" fmla="*/ 2147483647 w 156"/>
                <a:gd name="T3" fmla="*/ 2147483647 h 139"/>
                <a:gd name="T4" fmla="*/ 2147483647 w 156"/>
                <a:gd name="T5" fmla="*/ 2147483647 h 139"/>
                <a:gd name="T6" fmla="*/ 2147483647 w 156"/>
                <a:gd name="T7" fmla="*/ 2147483647 h 139"/>
                <a:gd name="T8" fmla="*/ 2147483647 w 156"/>
                <a:gd name="T9" fmla="*/ 2147483647 h 139"/>
                <a:gd name="T10" fmla="*/ 0 w 156"/>
                <a:gd name="T11" fmla="*/ 2147483647 h 139"/>
                <a:gd name="T12" fmla="*/ 2147483647 w 156"/>
                <a:gd name="T13" fmla="*/ 2147483647 h 139"/>
                <a:gd name="T14" fmla="*/ 2147483647 w 156"/>
                <a:gd name="T15" fmla="*/ 2147483647 h 139"/>
                <a:gd name="T16" fmla="*/ 2147483647 w 156"/>
                <a:gd name="T17" fmla="*/ 0 h 139"/>
                <a:gd name="T18" fmla="*/ 2147483647 w 156"/>
                <a:gd name="T19" fmla="*/ 2147483647 h 139"/>
                <a:gd name="T20" fmla="*/ 2147483647 w 156"/>
                <a:gd name="T21" fmla="*/ 2147483647 h 139"/>
                <a:gd name="T22" fmla="*/ 2147483647 w 156"/>
                <a:gd name="T23" fmla="*/ 2147483647 h 139"/>
                <a:gd name="T24" fmla="*/ 2147483647 w 156"/>
                <a:gd name="T25" fmla="*/ 2147483647 h 139"/>
                <a:gd name="T26" fmla="*/ 2147483647 w 156"/>
                <a:gd name="T27" fmla="*/ 2147483647 h 139"/>
                <a:gd name="T28" fmla="*/ 2147483647 w 156"/>
                <a:gd name="T29" fmla="*/ 2147483647 h 1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6"/>
                <a:gd name="T46" fmla="*/ 0 h 139"/>
                <a:gd name="T47" fmla="*/ 156 w 156"/>
                <a:gd name="T48" fmla="*/ 139 h 1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6" h="139">
                  <a:moveTo>
                    <a:pt x="72" y="126"/>
                  </a:moveTo>
                  <a:lnTo>
                    <a:pt x="72" y="138"/>
                  </a:lnTo>
                  <a:lnTo>
                    <a:pt x="21" y="139"/>
                  </a:lnTo>
                  <a:lnTo>
                    <a:pt x="7" y="118"/>
                  </a:lnTo>
                  <a:lnTo>
                    <a:pt x="25" y="97"/>
                  </a:lnTo>
                  <a:lnTo>
                    <a:pt x="0" y="96"/>
                  </a:lnTo>
                  <a:lnTo>
                    <a:pt x="9" y="49"/>
                  </a:lnTo>
                  <a:lnTo>
                    <a:pt x="45" y="10"/>
                  </a:lnTo>
                  <a:lnTo>
                    <a:pt x="78" y="0"/>
                  </a:lnTo>
                  <a:lnTo>
                    <a:pt x="69" y="57"/>
                  </a:lnTo>
                  <a:lnTo>
                    <a:pt x="90" y="46"/>
                  </a:lnTo>
                  <a:lnTo>
                    <a:pt x="148" y="63"/>
                  </a:lnTo>
                  <a:lnTo>
                    <a:pt x="156" y="96"/>
                  </a:lnTo>
                  <a:lnTo>
                    <a:pt x="126" y="126"/>
                  </a:lnTo>
                  <a:lnTo>
                    <a:pt x="72" y="126"/>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683" name="Text Box 1856"/>
            <p:cNvSpPr txBox="1">
              <a:spLocks noChangeArrowheads="1"/>
            </p:cNvSpPr>
            <p:nvPr/>
          </p:nvSpPr>
          <p:spPr bwMode="auto">
            <a:xfrm>
              <a:off x="3811588" y="3525916"/>
              <a:ext cx="207963"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61 </a:t>
              </a:r>
            </a:p>
          </p:txBody>
        </p:sp>
        <p:sp>
          <p:nvSpPr>
            <p:cNvPr id="684" name="Text Box 1857"/>
            <p:cNvSpPr txBox="1">
              <a:spLocks noChangeArrowheads="1"/>
            </p:cNvSpPr>
            <p:nvPr/>
          </p:nvSpPr>
          <p:spPr bwMode="auto">
            <a:xfrm>
              <a:off x="5059363" y="5010228"/>
              <a:ext cx="207963"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61 </a:t>
              </a:r>
            </a:p>
          </p:txBody>
        </p:sp>
        <p:sp>
          <p:nvSpPr>
            <p:cNvPr id="685" name="Text Box 1858"/>
            <p:cNvSpPr txBox="1">
              <a:spLocks noChangeArrowheads="1"/>
            </p:cNvSpPr>
            <p:nvPr/>
          </p:nvSpPr>
          <p:spPr bwMode="auto">
            <a:xfrm>
              <a:off x="1562100" y="3945016"/>
              <a:ext cx="207963"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44 </a:t>
              </a:r>
            </a:p>
          </p:txBody>
        </p:sp>
        <p:sp>
          <p:nvSpPr>
            <p:cNvPr id="686" name="Text Box 1859"/>
            <p:cNvSpPr txBox="1">
              <a:spLocks noChangeArrowheads="1"/>
            </p:cNvSpPr>
            <p:nvPr/>
          </p:nvSpPr>
          <p:spPr bwMode="auto">
            <a:xfrm>
              <a:off x="6764338" y="3632278"/>
              <a:ext cx="2254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800" b="1">
                  <a:solidFill>
                    <a:srgbClr val="000000"/>
                  </a:solidFill>
                </a:rPr>
                <a:t>Köln</a:t>
              </a:r>
            </a:p>
          </p:txBody>
        </p:sp>
        <p:sp>
          <p:nvSpPr>
            <p:cNvPr id="687" name="Text Box 1860"/>
            <p:cNvSpPr txBox="1">
              <a:spLocks noChangeArrowheads="1"/>
            </p:cNvSpPr>
            <p:nvPr/>
          </p:nvSpPr>
          <p:spPr bwMode="auto">
            <a:xfrm>
              <a:off x="4562475" y="4587953"/>
              <a:ext cx="2476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Kerpen</a:t>
              </a:r>
            </a:p>
          </p:txBody>
        </p:sp>
        <p:sp>
          <p:nvSpPr>
            <p:cNvPr id="688" name="Text Box 1861"/>
            <p:cNvSpPr txBox="1">
              <a:spLocks noChangeArrowheads="1"/>
            </p:cNvSpPr>
            <p:nvPr/>
          </p:nvSpPr>
          <p:spPr bwMode="auto">
            <a:xfrm>
              <a:off x="857250" y="2116216"/>
              <a:ext cx="44450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Hückelhoven</a:t>
              </a:r>
            </a:p>
          </p:txBody>
        </p:sp>
        <p:grpSp>
          <p:nvGrpSpPr>
            <p:cNvPr id="689" name="Group 1862"/>
            <p:cNvGrpSpPr>
              <a:grpSpLocks/>
            </p:cNvGrpSpPr>
            <p:nvPr/>
          </p:nvGrpSpPr>
          <p:grpSpPr bwMode="auto">
            <a:xfrm>
              <a:off x="3803650" y="2217816"/>
              <a:ext cx="100013" cy="104775"/>
              <a:chOff x="2243" y="1799"/>
              <a:chExt cx="97" cy="98"/>
            </a:xfrm>
          </p:grpSpPr>
          <p:sp>
            <p:nvSpPr>
              <p:cNvPr id="918" name="Oval 1863"/>
              <p:cNvSpPr>
                <a:spLocks noChangeArrowheads="1"/>
              </p:cNvSpPr>
              <p:nvPr/>
            </p:nvSpPr>
            <p:spPr bwMode="auto">
              <a:xfrm>
                <a:off x="2244" y="1800"/>
                <a:ext cx="96" cy="97"/>
              </a:xfrm>
              <a:prstGeom prst="ellipse">
                <a:avLst/>
              </a:prstGeom>
              <a:solidFill>
                <a:srgbClr val="C5101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919" name="Oval 1864"/>
              <p:cNvSpPr>
                <a:spLocks noChangeArrowheads="1"/>
              </p:cNvSpPr>
              <p:nvPr/>
            </p:nvSpPr>
            <p:spPr bwMode="auto">
              <a:xfrm>
                <a:off x="2243" y="1799"/>
                <a:ext cx="97" cy="98"/>
              </a:xfrm>
              <a:prstGeom prst="ellipse">
                <a:avLst/>
              </a:pr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920" name="Freeform 1865"/>
              <p:cNvSpPr>
                <a:spLocks/>
              </p:cNvSpPr>
              <p:nvPr/>
            </p:nvSpPr>
            <p:spPr bwMode="auto">
              <a:xfrm>
                <a:off x="2275" y="1810"/>
                <a:ext cx="38" cy="36"/>
              </a:xfrm>
              <a:custGeom>
                <a:avLst/>
                <a:gdLst>
                  <a:gd name="T0" fmla="*/ 3 w 75"/>
                  <a:gd name="T1" fmla="*/ 0 h 73"/>
                  <a:gd name="T2" fmla="*/ 2 w 75"/>
                  <a:gd name="T3" fmla="*/ 0 h 73"/>
                  <a:gd name="T4" fmla="*/ 0 w 75"/>
                  <a:gd name="T5" fmla="*/ 1 h 73"/>
                  <a:gd name="T6" fmla="*/ 1 w 75"/>
                  <a:gd name="T7" fmla="*/ 2 h 73"/>
                  <a:gd name="T8" fmla="*/ 3 w 75"/>
                  <a:gd name="T9" fmla="*/ 0 h 73"/>
                  <a:gd name="T10" fmla="*/ 0 60000 65536"/>
                  <a:gd name="T11" fmla="*/ 0 60000 65536"/>
                  <a:gd name="T12" fmla="*/ 0 60000 65536"/>
                  <a:gd name="T13" fmla="*/ 0 60000 65536"/>
                  <a:gd name="T14" fmla="*/ 0 60000 65536"/>
                  <a:gd name="T15" fmla="*/ 0 w 75"/>
                  <a:gd name="T16" fmla="*/ 0 h 73"/>
                  <a:gd name="T17" fmla="*/ 75 w 75"/>
                  <a:gd name="T18" fmla="*/ 73 h 73"/>
                </a:gdLst>
                <a:ahLst/>
                <a:cxnLst>
                  <a:cxn ang="T10">
                    <a:pos x="T0" y="T1"/>
                  </a:cxn>
                  <a:cxn ang="T11">
                    <a:pos x="T2" y="T3"/>
                  </a:cxn>
                  <a:cxn ang="T12">
                    <a:pos x="T4" y="T5"/>
                  </a:cxn>
                  <a:cxn ang="T13">
                    <a:pos x="T6" y="T7"/>
                  </a:cxn>
                  <a:cxn ang="T14">
                    <a:pos x="T8" y="T9"/>
                  </a:cxn>
                </a:cxnLst>
                <a:rect l="T15" t="T16" r="T17" b="T18"/>
                <a:pathLst>
                  <a:path w="75" h="73">
                    <a:moveTo>
                      <a:pt x="75" y="14"/>
                    </a:moveTo>
                    <a:lnTo>
                      <a:pt x="61" y="0"/>
                    </a:lnTo>
                    <a:lnTo>
                      <a:pt x="0" y="59"/>
                    </a:lnTo>
                    <a:lnTo>
                      <a:pt x="14" y="73"/>
                    </a:lnTo>
                    <a:lnTo>
                      <a:pt x="7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21" name="Rectangle 1866"/>
              <p:cNvSpPr>
                <a:spLocks noChangeArrowheads="1"/>
              </p:cNvSpPr>
              <p:nvPr/>
            </p:nvSpPr>
            <p:spPr bwMode="auto">
              <a:xfrm>
                <a:off x="2279" y="1838"/>
                <a:ext cx="32" cy="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922" name="Freeform 1867"/>
              <p:cNvSpPr>
                <a:spLocks/>
              </p:cNvSpPr>
              <p:nvPr/>
            </p:nvSpPr>
            <p:spPr bwMode="auto">
              <a:xfrm>
                <a:off x="2266" y="1838"/>
                <a:ext cx="16" cy="10"/>
              </a:xfrm>
              <a:custGeom>
                <a:avLst/>
                <a:gdLst>
                  <a:gd name="T0" fmla="*/ 1 w 31"/>
                  <a:gd name="T1" fmla="*/ 1 h 19"/>
                  <a:gd name="T2" fmla="*/ 0 w 31"/>
                  <a:gd name="T3" fmla="*/ 1 h 19"/>
                  <a:gd name="T4" fmla="*/ 1 w 31"/>
                  <a:gd name="T5" fmla="*/ 1 h 19"/>
                  <a:gd name="T6" fmla="*/ 1 w 31"/>
                  <a:gd name="T7" fmla="*/ 0 h 19"/>
                  <a:gd name="T8" fmla="*/ 1 w 31"/>
                  <a:gd name="T9" fmla="*/ 1 h 19"/>
                  <a:gd name="T10" fmla="*/ 1 w 31"/>
                  <a:gd name="T11" fmla="*/ 1 h 19"/>
                  <a:gd name="T12" fmla="*/ 0 60000 65536"/>
                  <a:gd name="T13" fmla="*/ 0 60000 65536"/>
                  <a:gd name="T14" fmla="*/ 0 60000 65536"/>
                  <a:gd name="T15" fmla="*/ 0 60000 65536"/>
                  <a:gd name="T16" fmla="*/ 0 60000 65536"/>
                  <a:gd name="T17" fmla="*/ 0 60000 65536"/>
                  <a:gd name="T18" fmla="*/ 0 w 31"/>
                  <a:gd name="T19" fmla="*/ 0 h 19"/>
                  <a:gd name="T20" fmla="*/ 31 w 3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1" h="19">
                    <a:moveTo>
                      <a:pt x="17" y="1"/>
                    </a:moveTo>
                    <a:lnTo>
                      <a:pt x="0" y="19"/>
                    </a:lnTo>
                    <a:lnTo>
                      <a:pt x="24" y="19"/>
                    </a:lnTo>
                    <a:lnTo>
                      <a:pt x="24" y="0"/>
                    </a:lnTo>
                    <a:lnTo>
                      <a:pt x="31" y="15"/>
                    </a:lnTo>
                    <a:lnTo>
                      <a:pt x="1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23" name="Freeform 1868"/>
              <p:cNvSpPr>
                <a:spLocks/>
              </p:cNvSpPr>
              <p:nvPr/>
            </p:nvSpPr>
            <p:spPr bwMode="auto">
              <a:xfrm>
                <a:off x="2284" y="1839"/>
                <a:ext cx="30" cy="30"/>
              </a:xfrm>
              <a:custGeom>
                <a:avLst/>
                <a:gdLst>
                  <a:gd name="T0" fmla="*/ 1 w 61"/>
                  <a:gd name="T1" fmla="*/ 1 h 60"/>
                  <a:gd name="T2" fmla="*/ 1 w 61"/>
                  <a:gd name="T3" fmla="*/ 0 h 60"/>
                  <a:gd name="T4" fmla="*/ 0 w 61"/>
                  <a:gd name="T5" fmla="*/ 2 h 60"/>
                  <a:gd name="T6" fmla="*/ 0 w 61"/>
                  <a:gd name="T7" fmla="*/ 2 h 60"/>
                  <a:gd name="T8" fmla="*/ 1 w 61"/>
                  <a:gd name="T9" fmla="*/ 1 h 60"/>
                  <a:gd name="T10" fmla="*/ 0 60000 65536"/>
                  <a:gd name="T11" fmla="*/ 0 60000 65536"/>
                  <a:gd name="T12" fmla="*/ 0 60000 65536"/>
                  <a:gd name="T13" fmla="*/ 0 60000 65536"/>
                  <a:gd name="T14" fmla="*/ 0 60000 65536"/>
                  <a:gd name="T15" fmla="*/ 0 w 61"/>
                  <a:gd name="T16" fmla="*/ 0 h 60"/>
                  <a:gd name="T17" fmla="*/ 61 w 61"/>
                  <a:gd name="T18" fmla="*/ 60 h 60"/>
                </a:gdLst>
                <a:ahLst/>
                <a:cxnLst>
                  <a:cxn ang="T10">
                    <a:pos x="T0" y="T1"/>
                  </a:cxn>
                  <a:cxn ang="T11">
                    <a:pos x="T2" y="T3"/>
                  </a:cxn>
                  <a:cxn ang="T12">
                    <a:pos x="T4" y="T5"/>
                  </a:cxn>
                  <a:cxn ang="T13">
                    <a:pos x="T6" y="T7"/>
                  </a:cxn>
                  <a:cxn ang="T14">
                    <a:pos x="T8" y="T9"/>
                  </a:cxn>
                </a:cxnLst>
                <a:rect l="T15" t="T16" r="T17" b="T18"/>
                <a:pathLst>
                  <a:path w="61" h="60">
                    <a:moveTo>
                      <a:pt x="61" y="14"/>
                    </a:moveTo>
                    <a:lnTo>
                      <a:pt x="47" y="0"/>
                    </a:lnTo>
                    <a:lnTo>
                      <a:pt x="0" y="46"/>
                    </a:lnTo>
                    <a:lnTo>
                      <a:pt x="14" y="60"/>
                    </a:lnTo>
                    <a:lnTo>
                      <a:pt x="6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24" name="Freeform 1869"/>
              <p:cNvSpPr>
                <a:spLocks/>
              </p:cNvSpPr>
              <p:nvPr/>
            </p:nvSpPr>
            <p:spPr bwMode="auto">
              <a:xfrm>
                <a:off x="2307" y="1838"/>
                <a:ext cx="15" cy="10"/>
              </a:xfrm>
              <a:custGeom>
                <a:avLst/>
                <a:gdLst>
                  <a:gd name="T0" fmla="*/ 1 w 29"/>
                  <a:gd name="T1" fmla="*/ 0 h 19"/>
                  <a:gd name="T2" fmla="*/ 1 w 29"/>
                  <a:gd name="T3" fmla="*/ 0 h 19"/>
                  <a:gd name="T4" fmla="*/ 1 w 29"/>
                  <a:gd name="T5" fmla="*/ 1 h 19"/>
                  <a:gd name="T6" fmla="*/ 0 w 29"/>
                  <a:gd name="T7" fmla="*/ 1 h 19"/>
                  <a:gd name="T8" fmla="*/ 1 w 29"/>
                  <a:gd name="T9" fmla="*/ 1 h 19"/>
                  <a:gd name="T10" fmla="*/ 1 w 29"/>
                  <a:gd name="T11" fmla="*/ 0 h 19"/>
                  <a:gd name="T12" fmla="*/ 0 60000 65536"/>
                  <a:gd name="T13" fmla="*/ 0 60000 65536"/>
                  <a:gd name="T14" fmla="*/ 0 60000 65536"/>
                  <a:gd name="T15" fmla="*/ 0 60000 65536"/>
                  <a:gd name="T16" fmla="*/ 0 60000 65536"/>
                  <a:gd name="T17" fmla="*/ 0 60000 65536"/>
                  <a:gd name="T18" fmla="*/ 0 w 29"/>
                  <a:gd name="T19" fmla="*/ 0 h 19"/>
                  <a:gd name="T20" fmla="*/ 29 w 2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9" h="19">
                    <a:moveTo>
                      <a:pt x="7" y="0"/>
                    </a:moveTo>
                    <a:lnTo>
                      <a:pt x="29" y="0"/>
                    </a:lnTo>
                    <a:lnTo>
                      <a:pt x="14" y="15"/>
                    </a:lnTo>
                    <a:lnTo>
                      <a:pt x="0" y="1"/>
                    </a:lnTo>
                    <a:lnTo>
                      <a:pt x="7" y="1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25" name="Freeform 1870"/>
              <p:cNvSpPr>
                <a:spLocks/>
              </p:cNvSpPr>
              <p:nvPr/>
            </p:nvSpPr>
            <p:spPr bwMode="auto">
              <a:xfrm>
                <a:off x="2271" y="1857"/>
                <a:ext cx="25" cy="24"/>
              </a:xfrm>
              <a:custGeom>
                <a:avLst/>
                <a:gdLst>
                  <a:gd name="T0" fmla="*/ 2 w 50"/>
                  <a:gd name="T1" fmla="*/ 0 h 49"/>
                  <a:gd name="T2" fmla="*/ 1 w 50"/>
                  <a:gd name="T3" fmla="*/ 0 h 49"/>
                  <a:gd name="T4" fmla="*/ 0 w 50"/>
                  <a:gd name="T5" fmla="*/ 1 h 49"/>
                  <a:gd name="T6" fmla="*/ 2 w 50"/>
                  <a:gd name="T7" fmla="*/ 0 h 49"/>
                  <a:gd name="T8" fmla="*/ 0 60000 65536"/>
                  <a:gd name="T9" fmla="*/ 0 60000 65536"/>
                  <a:gd name="T10" fmla="*/ 0 60000 65536"/>
                  <a:gd name="T11" fmla="*/ 0 60000 65536"/>
                  <a:gd name="T12" fmla="*/ 0 w 50"/>
                  <a:gd name="T13" fmla="*/ 0 h 49"/>
                  <a:gd name="T14" fmla="*/ 50 w 50"/>
                  <a:gd name="T15" fmla="*/ 49 h 49"/>
                </a:gdLst>
                <a:ahLst/>
                <a:cxnLst>
                  <a:cxn ang="T8">
                    <a:pos x="T0" y="T1"/>
                  </a:cxn>
                  <a:cxn ang="T9">
                    <a:pos x="T2" y="T3"/>
                  </a:cxn>
                  <a:cxn ang="T10">
                    <a:pos x="T4" y="T5"/>
                  </a:cxn>
                  <a:cxn ang="T11">
                    <a:pos x="T6" y="T7"/>
                  </a:cxn>
                </a:cxnLst>
                <a:rect l="T12" t="T13" r="T14" b="T15"/>
                <a:pathLst>
                  <a:path w="50" h="49">
                    <a:moveTo>
                      <a:pt x="50" y="30"/>
                    </a:moveTo>
                    <a:lnTo>
                      <a:pt x="21" y="0"/>
                    </a:lnTo>
                    <a:lnTo>
                      <a:pt x="0" y="49"/>
                    </a:lnTo>
                    <a:lnTo>
                      <a:pt x="5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690" name="Group 1871"/>
            <p:cNvGrpSpPr>
              <a:grpSpLocks/>
            </p:cNvGrpSpPr>
            <p:nvPr/>
          </p:nvGrpSpPr>
          <p:grpSpPr bwMode="auto">
            <a:xfrm>
              <a:off x="4606925" y="3121103"/>
              <a:ext cx="153988" cy="100013"/>
              <a:chOff x="3860" y="1588"/>
              <a:chExt cx="126" cy="82"/>
            </a:xfrm>
          </p:grpSpPr>
          <p:sp>
            <p:nvSpPr>
              <p:cNvPr id="903" name="Rectangle 1872"/>
              <p:cNvSpPr>
                <a:spLocks noChangeArrowheads="1"/>
              </p:cNvSpPr>
              <p:nvPr/>
            </p:nvSpPr>
            <p:spPr bwMode="auto">
              <a:xfrm>
                <a:off x="3863" y="1590"/>
                <a:ext cx="122" cy="79"/>
              </a:xfrm>
              <a:prstGeom prst="rect">
                <a:avLst/>
              </a:prstGeom>
              <a:solidFill>
                <a:srgbClr val="C510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904" name="Rectangle 1873"/>
              <p:cNvSpPr>
                <a:spLocks noChangeArrowheads="1"/>
              </p:cNvSpPr>
              <p:nvPr/>
            </p:nvSpPr>
            <p:spPr bwMode="auto">
              <a:xfrm>
                <a:off x="3863" y="1588"/>
                <a:ext cx="12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905" name="Rectangle 1874"/>
              <p:cNvSpPr>
                <a:spLocks noChangeArrowheads="1"/>
              </p:cNvSpPr>
              <p:nvPr/>
            </p:nvSpPr>
            <p:spPr bwMode="auto">
              <a:xfrm>
                <a:off x="3981" y="1590"/>
                <a:ext cx="5" cy="7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906" name="Freeform 1875"/>
              <p:cNvSpPr>
                <a:spLocks/>
              </p:cNvSpPr>
              <p:nvPr/>
            </p:nvSpPr>
            <p:spPr bwMode="auto">
              <a:xfrm>
                <a:off x="3981" y="1588"/>
                <a:ext cx="5" cy="5"/>
              </a:xfrm>
              <a:custGeom>
                <a:avLst/>
                <a:gdLst>
                  <a:gd name="T0" fmla="*/ 0 w 11"/>
                  <a:gd name="T1" fmla="*/ 0 h 10"/>
                  <a:gd name="T2" fmla="*/ 0 w 11"/>
                  <a:gd name="T3" fmla="*/ 0 h 10"/>
                  <a:gd name="T4" fmla="*/ 0 w 11"/>
                  <a:gd name="T5" fmla="*/ 1 h 10"/>
                  <a:gd name="T6" fmla="*/ 0 w 11"/>
                  <a:gd name="T7" fmla="*/ 1 h 10"/>
                  <a:gd name="T8" fmla="*/ 0 w 11"/>
                  <a:gd name="T9" fmla="*/ 1 h 10"/>
                  <a:gd name="T10" fmla="*/ 0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0"/>
                    </a:moveTo>
                    <a:lnTo>
                      <a:pt x="11" y="0"/>
                    </a:lnTo>
                    <a:lnTo>
                      <a:pt x="11" y="5"/>
                    </a:lnTo>
                    <a:lnTo>
                      <a:pt x="0" y="5"/>
                    </a:lnTo>
                    <a:lnTo>
                      <a:pt x="6" y="1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07" name="Rectangle 1876"/>
              <p:cNvSpPr>
                <a:spLocks noChangeArrowheads="1"/>
              </p:cNvSpPr>
              <p:nvPr/>
            </p:nvSpPr>
            <p:spPr bwMode="auto">
              <a:xfrm>
                <a:off x="3863" y="1665"/>
                <a:ext cx="12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908" name="Freeform 1877"/>
              <p:cNvSpPr>
                <a:spLocks/>
              </p:cNvSpPr>
              <p:nvPr/>
            </p:nvSpPr>
            <p:spPr bwMode="auto">
              <a:xfrm>
                <a:off x="3981" y="1665"/>
                <a:ext cx="5" cy="5"/>
              </a:xfrm>
              <a:custGeom>
                <a:avLst/>
                <a:gdLst>
                  <a:gd name="T0" fmla="*/ 0 w 11"/>
                  <a:gd name="T1" fmla="*/ 1 h 10"/>
                  <a:gd name="T2" fmla="*/ 0 w 11"/>
                  <a:gd name="T3" fmla="*/ 1 h 10"/>
                  <a:gd name="T4" fmla="*/ 0 w 11"/>
                  <a:gd name="T5" fmla="*/ 1 h 10"/>
                  <a:gd name="T6" fmla="*/ 0 w 11"/>
                  <a:gd name="T7" fmla="*/ 0 h 10"/>
                  <a:gd name="T8" fmla="*/ 0 w 11"/>
                  <a:gd name="T9" fmla="*/ 1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5"/>
                    </a:moveTo>
                    <a:lnTo>
                      <a:pt x="11" y="10"/>
                    </a:lnTo>
                    <a:lnTo>
                      <a:pt x="6" y="10"/>
                    </a:lnTo>
                    <a:lnTo>
                      <a:pt x="6" y="0"/>
                    </a:lnTo>
                    <a:lnTo>
                      <a:pt x="0" y="5"/>
                    </a:lnTo>
                    <a:lnTo>
                      <a:pt x="1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09" name="Rectangle 1878"/>
              <p:cNvSpPr>
                <a:spLocks noChangeArrowheads="1"/>
              </p:cNvSpPr>
              <p:nvPr/>
            </p:nvSpPr>
            <p:spPr bwMode="auto">
              <a:xfrm>
                <a:off x="3860" y="1590"/>
                <a:ext cx="5" cy="7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910" name="Freeform 1879"/>
              <p:cNvSpPr>
                <a:spLocks/>
              </p:cNvSpPr>
              <p:nvPr/>
            </p:nvSpPr>
            <p:spPr bwMode="auto">
              <a:xfrm>
                <a:off x="3860" y="1665"/>
                <a:ext cx="5" cy="5"/>
              </a:xfrm>
              <a:custGeom>
                <a:avLst/>
                <a:gdLst>
                  <a:gd name="T0" fmla="*/ 0 w 11"/>
                  <a:gd name="T1" fmla="*/ 1 h 10"/>
                  <a:gd name="T2" fmla="*/ 0 w 11"/>
                  <a:gd name="T3" fmla="*/ 1 h 10"/>
                  <a:gd name="T4" fmla="*/ 0 w 11"/>
                  <a:gd name="T5" fmla="*/ 1 h 10"/>
                  <a:gd name="T6" fmla="*/ 0 w 11"/>
                  <a:gd name="T7" fmla="*/ 1 h 10"/>
                  <a:gd name="T8" fmla="*/ 0 w 11"/>
                  <a:gd name="T9" fmla="*/ 0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10"/>
                    </a:moveTo>
                    <a:lnTo>
                      <a:pt x="0" y="10"/>
                    </a:lnTo>
                    <a:lnTo>
                      <a:pt x="0" y="5"/>
                    </a:lnTo>
                    <a:lnTo>
                      <a:pt x="11" y="5"/>
                    </a:lnTo>
                    <a:lnTo>
                      <a:pt x="6" y="0"/>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11" name="Freeform 1880"/>
              <p:cNvSpPr>
                <a:spLocks/>
              </p:cNvSpPr>
              <p:nvPr/>
            </p:nvSpPr>
            <p:spPr bwMode="auto">
              <a:xfrm>
                <a:off x="3860" y="1588"/>
                <a:ext cx="5" cy="5"/>
              </a:xfrm>
              <a:custGeom>
                <a:avLst/>
                <a:gdLst>
                  <a:gd name="T0" fmla="*/ 0 w 11"/>
                  <a:gd name="T1" fmla="*/ 1 h 10"/>
                  <a:gd name="T2" fmla="*/ 0 w 11"/>
                  <a:gd name="T3" fmla="*/ 0 h 10"/>
                  <a:gd name="T4" fmla="*/ 0 w 11"/>
                  <a:gd name="T5" fmla="*/ 0 h 10"/>
                  <a:gd name="T6" fmla="*/ 0 w 11"/>
                  <a:gd name="T7" fmla="*/ 1 h 10"/>
                  <a:gd name="T8" fmla="*/ 0 w 11"/>
                  <a:gd name="T9" fmla="*/ 1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0" y="0"/>
                    </a:lnTo>
                    <a:lnTo>
                      <a:pt x="6" y="0"/>
                    </a:lnTo>
                    <a:lnTo>
                      <a:pt x="6" y="10"/>
                    </a:lnTo>
                    <a:lnTo>
                      <a:pt x="11" y="5"/>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12" name="Freeform 1881"/>
              <p:cNvSpPr>
                <a:spLocks/>
              </p:cNvSpPr>
              <p:nvPr/>
            </p:nvSpPr>
            <p:spPr bwMode="auto">
              <a:xfrm>
                <a:off x="3905" y="1596"/>
                <a:ext cx="34" cy="33"/>
              </a:xfrm>
              <a:custGeom>
                <a:avLst/>
                <a:gdLst>
                  <a:gd name="T0" fmla="*/ 3 w 66"/>
                  <a:gd name="T1" fmla="*/ 0 h 67"/>
                  <a:gd name="T2" fmla="*/ 2 w 66"/>
                  <a:gd name="T3" fmla="*/ 0 h 67"/>
                  <a:gd name="T4" fmla="*/ 0 w 66"/>
                  <a:gd name="T5" fmla="*/ 1 h 67"/>
                  <a:gd name="T6" fmla="*/ 1 w 66"/>
                  <a:gd name="T7" fmla="*/ 2 h 67"/>
                  <a:gd name="T8" fmla="*/ 3 w 66"/>
                  <a:gd name="T9" fmla="*/ 0 h 67"/>
                  <a:gd name="T10" fmla="*/ 0 60000 65536"/>
                  <a:gd name="T11" fmla="*/ 0 60000 65536"/>
                  <a:gd name="T12" fmla="*/ 0 60000 65536"/>
                  <a:gd name="T13" fmla="*/ 0 60000 65536"/>
                  <a:gd name="T14" fmla="*/ 0 60000 65536"/>
                  <a:gd name="T15" fmla="*/ 0 w 66"/>
                  <a:gd name="T16" fmla="*/ 0 h 67"/>
                  <a:gd name="T17" fmla="*/ 66 w 66"/>
                  <a:gd name="T18" fmla="*/ 67 h 67"/>
                </a:gdLst>
                <a:ahLst/>
                <a:cxnLst>
                  <a:cxn ang="T10">
                    <a:pos x="T0" y="T1"/>
                  </a:cxn>
                  <a:cxn ang="T11">
                    <a:pos x="T2" y="T3"/>
                  </a:cxn>
                  <a:cxn ang="T12">
                    <a:pos x="T4" y="T5"/>
                  </a:cxn>
                  <a:cxn ang="T13">
                    <a:pos x="T6" y="T7"/>
                  </a:cxn>
                  <a:cxn ang="T14">
                    <a:pos x="T8" y="T9"/>
                  </a:cxn>
                </a:cxnLst>
                <a:rect l="T15" t="T16" r="T17" b="T18"/>
                <a:pathLst>
                  <a:path w="66" h="67">
                    <a:moveTo>
                      <a:pt x="66" y="13"/>
                    </a:moveTo>
                    <a:lnTo>
                      <a:pt x="54" y="0"/>
                    </a:lnTo>
                    <a:lnTo>
                      <a:pt x="0" y="54"/>
                    </a:lnTo>
                    <a:lnTo>
                      <a:pt x="12" y="67"/>
                    </a:lnTo>
                    <a:lnTo>
                      <a:pt x="6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13" name="Rectangle 1882"/>
              <p:cNvSpPr>
                <a:spLocks noChangeArrowheads="1"/>
              </p:cNvSpPr>
              <p:nvPr/>
            </p:nvSpPr>
            <p:spPr bwMode="auto">
              <a:xfrm>
                <a:off x="3909" y="1621"/>
                <a:ext cx="29" cy="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914" name="Freeform 1883"/>
              <p:cNvSpPr>
                <a:spLocks/>
              </p:cNvSpPr>
              <p:nvPr/>
            </p:nvSpPr>
            <p:spPr bwMode="auto">
              <a:xfrm>
                <a:off x="3898" y="1621"/>
                <a:ext cx="14" cy="9"/>
              </a:xfrm>
              <a:custGeom>
                <a:avLst/>
                <a:gdLst>
                  <a:gd name="T0" fmla="*/ 1 w 26"/>
                  <a:gd name="T1" fmla="*/ 1 h 17"/>
                  <a:gd name="T2" fmla="*/ 0 w 26"/>
                  <a:gd name="T3" fmla="*/ 1 h 17"/>
                  <a:gd name="T4" fmla="*/ 1 w 26"/>
                  <a:gd name="T5" fmla="*/ 1 h 17"/>
                  <a:gd name="T6" fmla="*/ 1 w 26"/>
                  <a:gd name="T7" fmla="*/ 0 h 17"/>
                  <a:gd name="T8" fmla="*/ 1 w 26"/>
                  <a:gd name="T9" fmla="*/ 1 h 17"/>
                  <a:gd name="T10" fmla="*/ 1 w 26"/>
                  <a:gd name="T11" fmla="*/ 1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14" y="3"/>
                    </a:moveTo>
                    <a:lnTo>
                      <a:pt x="0" y="17"/>
                    </a:lnTo>
                    <a:lnTo>
                      <a:pt x="21" y="17"/>
                    </a:lnTo>
                    <a:lnTo>
                      <a:pt x="21" y="0"/>
                    </a:lnTo>
                    <a:lnTo>
                      <a:pt x="26" y="16"/>
                    </a:lnTo>
                    <a:lnTo>
                      <a:pt x="1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15" name="Freeform 1884"/>
              <p:cNvSpPr>
                <a:spLocks/>
              </p:cNvSpPr>
              <p:nvPr/>
            </p:nvSpPr>
            <p:spPr bwMode="auto">
              <a:xfrm>
                <a:off x="3913" y="1623"/>
                <a:ext cx="27" cy="27"/>
              </a:xfrm>
              <a:custGeom>
                <a:avLst/>
                <a:gdLst>
                  <a:gd name="T0" fmla="*/ 2 w 54"/>
                  <a:gd name="T1" fmla="*/ 1 h 54"/>
                  <a:gd name="T2" fmla="*/ 2 w 54"/>
                  <a:gd name="T3" fmla="*/ 0 h 54"/>
                  <a:gd name="T4" fmla="*/ 0 w 54"/>
                  <a:gd name="T5" fmla="*/ 2 h 54"/>
                  <a:gd name="T6" fmla="*/ 1 w 54"/>
                  <a:gd name="T7" fmla="*/ 2 h 54"/>
                  <a:gd name="T8" fmla="*/ 2 w 54"/>
                  <a:gd name="T9" fmla="*/ 1 h 54"/>
                  <a:gd name="T10" fmla="*/ 0 60000 65536"/>
                  <a:gd name="T11" fmla="*/ 0 60000 65536"/>
                  <a:gd name="T12" fmla="*/ 0 60000 65536"/>
                  <a:gd name="T13" fmla="*/ 0 60000 65536"/>
                  <a:gd name="T14" fmla="*/ 0 60000 65536"/>
                  <a:gd name="T15" fmla="*/ 0 w 54"/>
                  <a:gd name="T16" fmla="*/ 0 h 54"/>
                  <a:gd name="T17" fmla="*/ 54 w 54"/>
                  <a:gd name="T18" fmla="*/ 54 h 54"/>
                </a:gdLst>
                <a:ahLst/>
                <a:cxnLst>
                  <a:cxn ang="T10">
                    <a:pos x="T0" y="T1"/>
                  </a:cxn>
                  <a:cxn ang="T11">
                    <a:pos x="T2" y="T3"/>
                  </a:cxn>
                  <a:cxn ang="T12">
                    <a:pos x="T4" y="T5"/>
                  </a:cxn>
                  <a:cxn ang="T13">
                    <a:pos x="T6" y="T7"/>
                  </a:cxn>
                  <a:cxn ang="T14">
                    <a:pos x="T8" y="T9"/>
                  </a:cxn>
                </a:cxnLst>
                <a:rect l="T15" t="T16" r="T17" b="T18"/>
                <a:pathLst>
                  <a:path w="54" h="54">
                    <a:moveTo>
                      <a:pt x="54" y="13"/>
                    </a:moveTo>
                    <a:lnTo>
                      <a:pt x="41" y="0"/>
                    </a:lnTo>
                    <a:lnTo>
                      <a:pt x="0" y="42"/>
                    </a:lnTo>
                    <a:lnTo>
                      <a:pt x="12" y="54"/>
                    </a:lnTo>
                    <a:lnTo>
                      <a:pt x="5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16" name="Freeform 1885"/>
              <p:cNvSpPr>
                <a:spLocks/>
              </p:cNvSpPr>
              <p:nvPr/>
            </p:nvSpPr>
            <p:spPr bwMode="auto">
              <a:xfrm>
                <a:off x="3934" y="1621"/>
                <a:ext cx="14" cy="9"/>
              </a:xfrm>
              <a:custGeom>
                <a:avLst/>
                <a:gdLst>
                  <a:gd name="T0" fmla="*/ 1 w 28"/>
                  <a:gd name="T1" fmla="*/ 0 h 17"/>
                  <a:gd name="T2" fmla="*/ 1 w 28"/>
                  <a:gd name="T3" fmla="*/ 0 h 17"/>
                  <a:gd name="T4" fmla="*/ 1 w 28"/>
                  <a:gd name="T5" fmla="*/ 1 h 17"/>
                  <a:gd name="T6" fmla="*/ 0 w 28"/>
                  <a:gd name="T7" fmla="*/ 1 h 17"/>
                  <a:gd name="T8" fmla="*/ 1 w 28"/>
                  <a:gd name="T9" fmla="*/ 1 h 17"/>
                  <a:gd name="T10" fmla="*/ 1 w 28"/>
                  <a:gd name="T11" fmla="*/ 0 h 17"/>
                  <a:gd name="T12" fmla="*/ 0 60000 65536"/>
                  <a:gd name="T13" fmla="*/ 0 60000 65536"/>
                  <a:gd name="T14" fmla="*/ 0 60000 65536"/>
                  <a:gd name="T15" fmla="*/ 0 60000 65536"/>
                  <a:gd name="T16" fmla="*/ 0 60000 65536"/>
                  <a:gd name="T17" fmla="*/ 0 60000 65536"/>
                  <a:gd name="T18" fmla="*/ 0 w 28"/>
                  <a:gd name="T19" fmla="*/ 0 h 17"/>
                  <a:gd name="T20" fmla="*/ 28 w 28"/>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8" h="17">
                    <a:moveTo>
                      <a:pt x="7" y="0"/>
                    </a:moveTo>
                    <a:lnTo>
                      <a:pt x="28" y="0"/>
                    </a:lnTo>
                    <a:lnTo>
                      <a:pt x="13" y="16"/>
                    </a:lnTo>
                    <a:lnTo>
                      <a:pt x="0" y="3"/>
                    </a:lnTo>
                    <a:lnTo>
                      <a:pt x="7" y="17"/>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17" name="Freeform 1886"/>
              <p:cNvSpPr>
                <a:spLocks/>
              </p:cNvSpPr>
              <p:nvPr/>
            </p:nvSpPr>
            <p:spPr bwMode="auto">
              <a:xfrm>
                <a:off x="3901" y="1639"/>
                <a:ext cx="24" cy="23"/>
              </a:xfrm>
              <a:custGeom>
                <a:avLst/>
                <a:gdLst>
                  <a:gd name="T0" fmla="*/ 2 w 47"/>
                  <a:gd name="T1" fmla="*/ 1 h 45"/>
                  <a:gd name="T2" fmla="*/ 1 w 47"/>
                  <a:gd name="T3" fmla="*/ 0 h 45"/>
                  <a:gd name="T4" fmla="*/ 0 w 47"/>
                  <a:gd name="T5" fmla="*/ 2 h 45"/>
                  <a:gd name="T6" fmla="*/ 2 w 47"/>
                  <a:gd name="T7" fmla="*/ 1 h 45"/>
                  <a:gd name="T8" fmla="*/ 0 60000 65536"/>
                  <a:gd name="T9" fmla="*/ 0 60000 65536"/>
                  <a:gd name="T10" fmla="*/ 0 60000 65536"/>
                  <a:gd name="T11" fmla="*/ 0 60000 65536"/>
                  <a:gd name="T12" fmla="*/ 0 w 47"/>
                  <a:gd name="T13" fmla="*/ 0 h 45"/>
                  <a:gd name="T14" fmla="*/ 47 w 47"/>
                  <a:gd name="T15" fmla="*/ 45 h 45"/>
                </a:gdLst>
                <a:ahLst/>
                <a:cxnLst>
                  <a:cxn ang="T8">
                    <a:pos x="T0" y="T1"/>
                  </a:cxn>
                  <a:cxn ang="T9">
                    <a:pos x="T2" y="T3"/>
                  </a:cxn>
                  <a:cxn ang="T10">
                    <a:pos x="T4" y="T5"/>
                  </a:cxn>
                  <a:cxn ang="T11">
                    <a:pos x="T6" y="T7"/>
                  </a:cxn>
                </a:cxnLst>
                <a:rect l="T12" t="T13" r="T14" b="T15"/>
                <a:pathLst>
                  <a:path w="47" h="45">
                    <a:moveTo>
                      <a:pt x="47" y="26"/>
                    </a:moveTo>
                    <a:lnTo>
                      <a:pt x="19" y="0"/>
                    </a:lnTo>
                    <a:lnTo>
                      <a:pt x="0" y="45"/>
                    </a:lnTo>
                    <a:lnTo>
                      <a:pt x="4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691" name="Text Box 1887"/>
            <p:cNvSpPr txBox="1">
              <a:spLocks noChangeArrowheads="1"/>
            </p:cNvSpPr>
            <p:nvPr/>
          </p:nvSpPr>
          <p:spPr bwMode="auto">
            <a:xfrm>
              <a:off x="2967038" y="5673803"/>
              <a:ext cx="2095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Düren</a:t>
              </a:r>
            </a:p>
          </p:txBody>
        </p:sp>
        <p:sp>
          <p:nvSpPr>
            <p:cNvPr id="692" name="Text Box 1888"/>
            <p:cNvSpPr txBox="1">
              <a:spLocks noChangeArrowheads="1"/>
            </p:cNvSpPr>
            <p:nvPr/>
          </p:nvSpPr>
          <p:spPr bwMode="auto">
            <a:xfrm>
              <a:off x="4106863" y="1647903"/>
              <a:ext cx="4603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Grevenbroich</a:t>
              </a:r>
            </a:p>
          </p:txBody>
        </p:sp>
        <p:sp>
          <p:nvSpPr>
            <p:cNvPr id="693" name="Text Box 1889"/>
            <p:cNvSpPr txBox="1">
              <a:spLocks noChangeArrowheads="1"/>
            </p:cNvSpPr>
            <p:nvPr/>
          </p:nvSpPr>
          <p:spPr bwMode="auto">
            <a:xfrm>
              <a:off x="6605588" y="5237241"/>
              <a:ext cx="1793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Brühl</a:t>
              </a:r>
            </a:p>
          </p:txBody>
        </p:sp>
        <p:sp>
          <p:nvSpPr>
            <p:cNvPr id="694" name="Text Box 1890"/>
            <p:cNvSpPr txBox="1">
              <a:spLocks noChangeArrowheads="1"/>
            </p:cNvSpPr>
            <p:nvPr/>
          </p:nvSpPr>
          <p:spPr bwMode="auto">
            <a:xfrm>
              <a:off x="5780088" y="4122816"/>
              <a:ext cx="2809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Frechen</a:t>
              </a:r>
            </a:p>
          </p:txBody>
        </p:sp>
        <p:sp>
          <p:nvSpPr>
            <p:cNvPr id="695" name="Text Box 1891"/>
            <p:cNvSpPr txBox="1">
              <a:spLocks noChangeArrowheads="1"/>
            </p:cNvSpPr>
            <p:nvPr/>
          </p:nvSpPr>
          <p:spPr bwMode="auto">
            <a:xfrm>
              <a:off x="7075488" y="5723016"/>
              <a:ext cx="35401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Wesseling</a:t>
              </a:r>
            </a:p>
          </p:txBody>
        </p:sp>
        <p:sp>
          <p:nvSpPr>
            <p:cNvPr id="696" name="Text Box 1892"/>
            <p:cNvSpPr txBox="1">
              <a:spLocks noChangeArrowheads="1"/>
            </p:cNvSpPr>
            <p:nvPr/>
          </p:nvSpPr>
          <p:spPr bwMode="auto">
            <a:xfrm>
              <a:off x="3352800" y="3175078"/>
              <a:ext cx="29051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Bedburg</a:t>
              </a:r>
            </a:p>
          </p:txBody>
        </p:sp>
        <p:grpSp>
          <p:nvGrpSpPr>
            <p:cNvPr id="697" name="Group 1893"/>
            <p:cNvGrpSpPr>
              <a:grpSpLocks/>
            </p:cNvGrpSpPr>
            <p:nvPr/>
          </p:nvGrpSpPr>
          <p:grpSpPr bwMode="auto">
            <a:xfrm>
              <a:off x="4149725" y="2376566"/>
              <a:ext cx="100013" cy="104775"/>
              <a:chOff x="2243" y="1799"/>
              <a:chExt cx="97" cy="98"/>
            </a:xfrm>
          </p:grpSpPr>
          <p:sp>
            <p:nvSpPr>
              <p:cNvPr id="895" name="Oval 1894"/>
              <p:cNvSpPr>
                <a:spLocks noChangeArrowheads="1"/>
              </p:cNvSpPr>
              <p:nvPr/>
            </p:nvSpPr>
            <p:spPr bwMode="auto">
              <a:xfrm>
                <a:off x="2244" y="1800"/>
                <a:ext cx="96" cy="97"/>
              </a:xfrm>
              <a:prstGeom prst="ellipse">
                <a:avLst/>
              </a:prstGeom>
              <a:solidFill>
                <a:srgbClr val="C5101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96" name="Oval 1895"/>
              <p:cNvSpPr>
                <a:spLocks noChangeArrowheads="1"/>
              </p:cNvSpPr>
              <p:nvPr/>
            </p:nvSpPr>
            <p:spPr bwMode="auto">
              <a:xfrm>
                <a:off x="2243" y="1799"/>
                <a:ext cx="97" cy="98"/>
              </a:xfrm>
              <a:prstGeom prst="ellipse">
                <a:avLst/>
              </a:pr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97" name="Freeform 1896"/>
              <p:cNvSpPr>
                <a:spLocks/>
              </p:cNvSpPr>
              <p:nvPr/>
            </p:nvSpPr>
            <p:spPr bwMode="auto">
              <a:xfrm>
                <a:off x="2275" y="1810"/>
                <a:ext cx="38" cy="36"/>
              </a:xfrm>
              <a:custGeom>
                <a:avLst/>
                <a:gdLst>
                  <a:gd name="T0" fmla="*/ 3 w 75"/>
                  <a:gd name="T1" fmla="*/ 0 h 73"/>
                  <a:gd name="T2" fmla="*/ 2 w 75"/>
                  <a:gd name="T3" fmla="*/ 0 h 73"/>
                  <a:gd name="T4" fmla="*/ 0 w 75"/>
                  <a:gd name="T5" fmla="*/ 1 h 73"/>
                  <a:gd name="T6" fmla="*/ 1 w 75"/>
                  <a:gd name="T7" fmla="*/ 2 h 73"/>
                  <a:gd name="T8" fmla="*/ 3 w 75"/>
                  <a:gd name="T9" fmla="*/ 0 h 73"/>
                  <a:gd name="T10" fmla="*/ 0 60000 65536"/>
                  <a:gd name="T11" fmla="*/ 0 60000 65536"/>
                  <a:gd name="T12" fmla="*/ 0 60000 65536"/>
                  <a:gd name="T13" fmla="*/ 0 60000 65536"/>
                  <a:gd name="T14" fmla="*/ 0 60000 65536"/>
                  <a:gd name="T15" fmla="*/ 0 w 75"/>
                  <a:gd name="T16" fmla="*/ 0 h 73"/>
                  <a:gd name="T17" fmla="*/ 75 w 75"/>
                  <a:gd name="T18" fmla="*/ 73 h 73"/>
                </a:gdLst>
                <a:ahLst/>
                <a:cxnLst>
                  <a:cxn ang="T10">
                    <a:pos x="T0" y="T1"/>
                  </a:cxn>
                  <a:cxn ang="T11">
                    <a:pos x="T2" y="T3"/>
                  </a:cxn>
                  <a:cxn ang="T12">
                    <a:pos x="T4" y="T5"/>
                  </a:cxn>
                  <a:cxn ang="T13">
                    <a:pos x="T6" y="T7"/>
                  </a:cxn>
                  <a:cxn ang="T14">
                    <a:pos x="T8" y="T9"/>
                  </a:cxn>
                </a:cxnLst>
                <a:rect l="T15" t="T16" r="T17" b="T18"/>
                <a:pathLst>
                  <a:path w="75" h="73">
                    <a:moveTo>
                      <a:pt x="75" y="14"/>
                    </a:moveTo>
                    <a:lnTo>
                      <a:pt x="61" y="0"/>
                    </a:lnTo>
                    <a:lnTo>
                      <a:pt x="0" y="59"/>
                    </a:lnTo>
                    <a:lnTo>
                      <a:pt x="14" y="73"/>
                    </a:lnTo>
                    <a:lnTo>
                      <a:pt x="7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98" name="Rectangle 1897"/>
              <p:cNvSpPr>
                <a:spLocks noChangeArrowheads="1"/>
              </p:cNvSpPr>
              <p:nvPr/>
            </p:nvSpPr>
            <p:spPr bwMode="auto">
              <a:xfrm>
                <a:off x="2279" y="1838"/>
                <a:ext cx="32" cy="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99" name="Freeform 1898"/>
              <p:cNvSpPr>
                <a:spLocks/>
              </p:cNvSpPr>
              <p:nvPr/>
            </p:nvSpPr>
            <p:spPr bwMode="auto">
              <a:xfrm>
                <a:off x="2266" y="1838"/>
                <a:ext cx="16" cy="10"/>
              </a:xfrm>
              <a:custGeom>
                <a:avLst/>
                <a:gdLst>
                  <a:gd name="T0" fmla="*/ 1 w 31"/>
                  <a:gd name="T1" fmla="*/ 1 h 19"/>
                  <a:gd name="T2" fmla="*/ 0 w 31"/>
                  <a:gd name="T3" fmla="*/ 1 h 19"/>
                  <a:gd name="T4" fmla="*/ 1 w 31"/>
                  <a:gd name="T5" fmla="*/ 1 h 19"/>
                  <a:gd name="T6" fmla="*/ 1 w 31"/>
                  <a:gd name="T7" fmla="*/ 0 h 19"/>
                  <a:gd name="T8" fmla="*/ 1 w 31"/>
                  <a:gd name="T9" fmla="*/ 1 h 19"/>
                  <a:gd name="T10" fmla="*/ 1 w 31"/>
                  <a:gd name="T11" fmla="*/ 1 h 19"/>
                  <a:gd name="T12" fmla="*/ 0 60000 65536"/>
                  <a:gd name="T13" fmla="*/ 0 60000 65536"/>
                  <a:gd name="T14" fmla="*/ 0 60000 65536"/>
                  <a:gd name="T15" fmla="*/ 0 60000 65536"/>
                  <a:gd name="T16" fmla="*/ 0 60000 65536"/>
                  <a:gd name="T17" fmla="*/ 0 60000 65536"/>
                  <a:gd name="T18" fmla="*/ 0 w 31"/>
                  <a:gd name="T19" fmla="*/ 0 h 19"/>
                  <a:gd name="T20" fmla="*/ 31 w 3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1" h="19">
                    <a:moveTo>
                      <a:pt x="17" y="1"/>
                    </a:moveTo>
                    <a:lnTo>
                      <a:pt x="0" y="19"/>
                    </a:lnTo>
                    <a:lnTo>
                      <a:pt x="24" y="19"/>
                    </a:lnTo>
                    <a:lnTo>
                      <a:pt x="24" y="0"/>
                    </a:lnTo>
                    <a:lnTo>
                      <a:pt x="31" y="15"/>
                    </a:lnTo>
                    <a:lnTo>
                      <a:pt x="1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00" name="Freeform 1899"/>
              <p:cNvSpPr>
                <a:spLocks/>
              </p:cNvSpPr>
              <p:nvPr/>
            </p:nvSpPr>
            <p:spPr bwMode="auto">
              <a:xfrm>
                <a:off x="2284" y="1839"/>
                <a:ext cx="30" cy="30"/>
              </a:xfrm>
              <a:custGeom>
                <a:avLst/>
                <a:gdLst>
                  <a:gd name="T0" fmla="*/ 1 w 61"/>
                  <a:gd name="T1" fmla="*/ 1 h 60"/>
                  <a:gd name="T2" fmla="*/ 1 w 61"/>
                  <a:gd name="T3" fmla="*/ 0 h 60"/>
                  <a:gd name="T4" fmla="*/ 0 w 61"/>
                  <a:gd name="T5" fmla="*/ 2 h 60"/>
                  <a:gd name="T6" fmla="*/ 0 w 61"/>
                  <a:gd name="T7" fmla="*/ 2 h 60"/>
                  <a:gd name="T8" fmla="*/ 1 w 61"/>
                  <a:gd name="T9" fmla="*/ 1 h 60"/>
                  <a:gd name="T10" fmla="*/ 0 60000 65536"/>
                  <a:gd name="T11" fmla="*/ 0 60000 65536"/>
                  <a:gd name="T12" fmla="*/ 0 60000 65536"/>
                  <a:gd name="T13" fmla="*/ 0 60000 65536"/>
                  <a:gd name="T14" fmla="*/ 0 60000 65536"/>
                  <a:gd name="T15" fmla="*/ 0 w 61"/>
                  <a:gd name="T16" fmla="*/ 0 h 60"/>
                  <a:gd name="T17" fmla="*/ 61 w 61"/>
                  <a:gd name="T18" fmla="*/ 60 h 60"/>
                </a:gdLst>
                <a:ahLst/>
                <a:cxnLst>
                  <a:cxn ang="T10">
                    <a:pos x="T0" y="T1"/>
                  </a:cxn>
                  <a:cxn ang="T11">
                    <a:pos x="T2" y="T3"/>
                  </a:cxn>
                  <a:cxn ang="T12">
                    <a:pos x="T4" y="T5"/>
                  </a:cxn>
                  <a:cxn ang="T13">
                    <a:pos x="T6" y="T7"/>
                  </a:cxn>
                  <a:cxn ang="T14">
                    <a:pos x="T8" y="T9"/>
                  </a:cxn>
                </a:cxnLst>
                <a:rect l="T15" t="T16" r="T17" b="T18"/>
                <a:pathLst>
                  <a:path w="61" h="60">
                    <a:moveTo>
                      <a:pt x="61" y="14"/>
                    </a:moveTo>
                    <a:lnTo>
                      <a:pt x="47" y="0"/>
                    </a:lnTo>
                    <a:lnTo>
                      <a:pt x="0" y="46"/>
                    </a:lnTo>
                    <a:lnTo>
                      <a:pt x="14" y="60"/>
                    </a:lnTo>
                    <a:lnTo>
                      <a:pt x="6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01" name="Freeform 1900"/>
              <p:cNvSpPr>
                <a:spLocks/>
              </p:cNvSpPr>
              <p:nvPr/>
            </p:nvSpPr>
            <p:spPr bwMode="auto">
              <a:xfrm>
                <a:off x="2307" y="1838"/>
                <a:ext cx="15" cy="10"/>
              </a:xfrm>
              <a:custGeom>
                <a:avLst/>
                <a:gdLst>
                  <a:gd name="T0" fmla="*/ 1 w 29"/>
                  <a:gd name="T1" fmla="*/ 0 h 19"/>
                  <a:gd name="T2" fmla="*/ 1 w 29"/>
                  <a:gd name="T3" fmla="*/ 0 h 19"/>
                  <a:gd name="T4" fmla="*/ 1 w 29"/>
                  <a:gd name="T5" fmla="*/ 1 h 19"/>
                  <a:gd name="T6" fmla="*/ 0 w 29"/>
                  <a:gd name="T7" fmla="*/ 1 h 19"/>
                  <a:gd name="T8" fmla="*/ 1 w 29"/>
                  <a:gd name="T9" fmla="*/ 1 h 19"/>
                  <a:gd name="T10" fmla="*/ 1 w 29"/>
                  <a:gd name="T11" fmla="*/ 0 h 19"/>
                  <a:gd name="T12" fmla="*/ 0 60000 65536"/>
                  <a:gd name="T13" fmla="*/ 0 60000 65536"/>
                  <a:gd name="T14" fmla="*/ 0 60000 65536"/>
                  <a:gd name="T15" fmla="*/ 0 60000 65536"/>
                  <a:gd name="T16" fmla="*/ 0 60000 65536"/>
                  <a:gd name="T17" fmla="*/ 0 60000 65536"/>
                  <a:gd name="T18" fmla="*/ 0 w 29"/>
                  <a:gd name="T19" fmla="*/ 0 h 19"/>
                  <a:gd name="T20" fmla="*/ 29 w 2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9" h="19">
                    <a:moveTo>
                      <a:pt x="7" y="0"/>
                    </a:moveTo>
                    <a:lnTo>
                      <a:pt x="29" y="0"/>
                    </a:lnTo>
                    <a:lnTo>
                      <a:pt x="14" y="15"/>
                    </a:lnTo>
                    <a:lnTo>
                      <a:pt x="0" y="1"/>
                    </a:lnTo>
                    <a:lnTo>
                      <a:pt x="7" y="1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902" name="Freeform 1901"/>
              <p:cNvSpPr>
                <a:spLocks/>
              </p:cNvSpPr>
              <p:nvPr/>
            </p:nvSpPr>
            <p:spPr bwMode="auto">
              <a:xfrm>
                <a:off x="2271" y="1857"/>
                <a:ext cx="25" cy="24"/>
              </a:xfrm>
              <a:custGeom>
                <a:avLst/>
                <a:gdLst>
                  <a:gd name="T0" fmla="*/ 2 w 50"/>
                  <a:gd name="T1" fmla="*/ 0 h 49"/>
                  <a:gd name="T2" fmla="*/ 1 w 50"/>
                  <a:gd name="T3" fmla="*/ 0 h 49"/>
                  <a:gd name="T4" fmla="*/ 0 w 50"/>
                  <a:gd name="T5" fmla="*/ 1 h 49"/>
                  <a:gd name="T6" fmla="*/ 2 w 50"/>
                  <a:gd name="T7" fmla="*/ 0 h 49"/>
                  <a:gd name="T8" fmla="*/ 0 60000 65536"/>
                  <a:gd name="T9" fmla="*/ 0 60000 65536"/>
                  <a:gd name="T10" fmla="*/ 0 60000 65536"/>
                  <a:gd name="T11" fmla="*/ 0 60000 65536"/>
                  <a:gd name="T12" fmla="*/ 0 w 50"/>
                  <a:gd name="T13" fmla="*/ 0 h 49"/>
                  <a:gd name="T14" fmla="*/ 50 w 50"/>
                  <a:gd name="T15" fmla="*/ 49 h 49"/>
                </a:gdLst>
                <a:ahLst/>
                <a:cxnLst>
                  <a:cxn ang="T8">
                    <a:pos x="T0" y="T1"/>
                  </a:cxn>
                  <a:cxn ang="T9">
                    <a:pos x="T2" y="T3"/>
                  </a:cxn>
                  <a:cxn ang="T10">
                    <a:pos x="T4" y="T5"/>
                  </a:cxn>
                  <a:cxn ang="T11">
                    <a:pos x="T6" y="T7"/>
                  </a:cxn>
                </a:cxnLst>
                <a:rect l="T12" t="T13" r="T14" b="T15"/>
                <a:pathLst>
                  <a:path w="50" h="49">
                    <a:moveTo>
                      <a:pt x="50" y="30"/>
                    </a:moveTo>
                    <a:lnTo>
                      <a:pt x="21" y="0"/>
                    </a:lnTo>
                    <a:lnTo>
                      <a:pt x="0" y="49"/>
                    </a:lnTo>
                    <a:lnTo>
                      <a:pt x="5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698" name="Text Box 1902"/>
            <p:cNvSpPr txBox="1">
              <a:spLocks noChangeArrowheads="1"/>
            </p:cNvSpPr>
            <p:nvPr/>
          </p:nvSpPr>
          <p:spPr bwMode="auto">
            <a:xfrm>
              <a:off x="3917950" y="2267028"/>
              <a:ext cx="504825" cy="101600"/>
            </a:xfrm>
            <a:prstGeom prst="rect">
              <a:avLst/>
            </a:prstGeom>
            <a:solidFill>
              <a:srgbClr val="FFFF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 Frimmersdorf </a:t>
              </a:r>
            </a:p>
          </p:txBody>
        </p:sp>
        <p:grpSp>
          <p:nvGrpSpPr>
            <p:cNvPr id="699" name="Group 1904"/>
            <p:cNvGrpSpPr>
              <a:grpSpLocks/>
            </p:cNvGrpSpPr>
            <p:nvPr/>
          </p:nvGrpSpPr>
          <p:grpSpPr bwMode="auto">
            <a:xfrm>
              <a:off x="4530725" y="2995691"/>
              <a:ext cx="100013" cy="104775"/>
              <a:chOff x="2243" y="1799"/>
              <a:chExt cx="97" cy="98"/>
            </a:xfrm>
          </p:grpSpPr>
          <p:sp>
            <p:nvSpPr>
              <p:cNvPr id="887" name="Oval 1905"/>
              <p:cNvSpPr>
                <a:spLocks noChangeArrowheads="1"/>
              </p:cNvSpPr>
              <p:nvPr/>
            </p:nvSpPr>
            <p:spPr bwMode="auto">
              <a:xfrm>
                <a:off x="2244" y="1800"/>
                <a:ext cx="96" cy="97"/>
              </a:xfrm>
              <a:prstGeom prst="ellipse">
                <a:avLst/>
              </a:prstGeom>
              <a:solidFill>
                <a:srgbClr val="C5101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88" name="Oval 1906"/>
              <p:cNvSpPr>
                <a:spLocks noChangeArrowheads="1"/>
              </p:cNvSpPr>
              <p:nvPr/>
            </p:nvSpPr>
            <p:spPr bwMode="auto">
              <a:xfrm>
                <a:off x="2243" y="1799"/>
                <a:ext cx="97" cy="98"/>
              </a:xfrm>
              <a:prstGeom prst="ellipse">
                <a:avLst/>
              </a:pr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89" name="Freeform 1907"/>
              <p:cNvSpPr>
                <a:spLocks/>
              </p:cNvSpPr>
              <p:nvPr/>
            </p:nvSpPr>
            <p:spPr bwMode="auto">
              <a:xfrm>
                <a:off x="2275" y="1810"/>
                <a:ext cx="38" cy="36"/>
              </a:xfrm>
              <a:custGeom>
                <a:avLst/>
                <a:gdLst>
                  <a:gd name="T0" fmla="*/ 3 w 75"/>
                  <a:gd name="T1" fmla="*/ 0 h 73"/>
                  <a:gd name="T2" fmla="*/ 2 w 75"/>
                  <a:gd name="T3" fmla="*/ 0 h 73"/>
                  <a:gd name="T4" fmla="*/ 0 w 75"/>
                  <a:gd name="T5" fmla="*/ 1 h 73"/>
                  <a:gd name="T6" fmla="*/ 1 w 75"/>
                  <a:gd name="T7" fmla="*/ 2 h 73"/>
                  <a:gd name="T8" fmla="*/ 3 w 75"/>
                  <a:gd name="T9" fmla="*/ 0 h 73"/>
                  <a:gd name="T10" fmla="*/ 0 60000 65536"/>
                  <a:gd name="T11" fmla="*/ 0 60000 65536"/>
                  <a:gd name="T12" fmla="*/ 0 60000 65536"/>
                  <a:gd name="T13" fmla="*/ 0 60000 65536"/>
                  <a:gd name="T14" fmla="*/ 0 60000 65536"/>
                  <a:gd name="T15" fmla="*/ 0 w 75"/>
                  <a:gd name="T16" fmla="*/ 0 h 73"/>
                  <a:gd name="T17" fmla="*/ 75 w 75"/>
                  <a:gd name="T18" fmla="*/ 73 h 73"/>
                </a:gdLst>
                <a:ahLst/>
                <a:cxnLst>
                  <a:cxn ang="T10">
                    <a:pos x="T0" y="T1"/>
                  </a:cxn>
                  <a:cxn ang="T11">
                    <a:pos x="T2" y="T3"/>
                  </a:cxn>
                  <a:cxn ang="T12">
                    <a:pos x="T4" y="T5"/>
                  </a:cxn>
                  <a:cxn ang="T13">
                    <a:pos x="T6" y="T7"/>
                  </a:cxn>
                  <a:cxn ang="T14">
                    <a:pos x="T8" y="T9"/>
                  </a:cxn>
                </a:cxnLst>
                <a:rect l="T15" t="T16" r="T17" b="T18"/>
                <a:pathLst>
                  <a:path w="75" h="73">
                    <a:moveTo>
                      <a:pt x="75" y="14"/>
                    </a:moveTo>
                    <a:lnTo>
                      <a:pt x="61" y="0"/>
                    </a:lnTo>
                    <a:lnTo>
                      <a:pt x="0" y="59"/>
                    </a:lnTo>
                    <a:lnTo>
                      <a:pt x="14" y="73"/>
                    </a:lnTo>
                    <a:lnTo>
                      <a:pt x="7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90" name="Rectangle 1908"/>
              <p:cNvSpPr>
                <a:spLocks noChangeArrowheads="1"/>
              </p:cNvSpPr>
              <p:nvPr/>
            </p:nvSpPr>
            <p:spPr bwMode="auto">
              <a:xfrm>
                <a:off x="2279" y="1838"/>
                <a:ext cx="32" cy="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91" name="Freeform 1909"/>
              <p:cNvSpPr>
                <a:spLocks/>
              </p:cNvSpPr>
              <p:nvPr/>
            </p:nvSpPr>
            <p:spPr bwMode="auto">
              <a:xfrm>
                <a:off x="2266" y="1838"/>
                <a:ext cx="16" cy="10"/>
              </a:xfrm>
              <a:custGeom>
                <a:avLst/>
                <a:gdLst>
                  <a:gd name="T0" fmla="*/ 1 w 31"/>
                  <a:gd name="T1" fmla="*/ 1 h 19"/>
                  <a:gd name="T2" fmla="*/ 0 w 31"/>
                  <a:gd name="T3" fmla="*/ 1 h 19"/>
                  <a:gd name="T4" fmla="*/ 1 w 31"/>
                  <a:gd name="T5" fmla="*/ 1 h 19"/>
                  <a:gd name="T6" fmla="*/ 1 w 31"/>
                  <a:gd name="T7" fmla="*/ 0 h 19"/>
                  <a:gd name="T8" fmla="*/ 1 w 31"/>
                  <a:gd name="T9" fmla="*/ 1 h 19"/>
                  <a:gd name="T10" fmla="*/ 1 w 31"/>
                  <a:gd name="T11" fmla="*/ 1 h 19"/>
                  <a:gd name="T12" fmla="*/ 0 60000 65536"/>
                  <a:gd name="T13" fmla="*/ 0 60000 65536"/>
                  <a:gd name="T14" fmla="*/ 0 60000 65536"/>
                  <a:gd name="T15" fmla="*/ 0 60000 65536"/>
                  <a:gd name="T16" fmla="*/ 0 60000 65536"/>
                  <a:gd name="T17" fmla="*/ 0 60000 65536"/>
                  <a:gd name="T18" fmla="*/ 0 w 31"/>
                  <a:gd name="T19" fmla="*/ 0 h 19"/>
                  <a:gd name="T20" fmla="*/ 31 w 3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1" h="19">
                    <a:moveTo>
                      <a:pt x="17" y="1"/>
                    </a:moveTo>
                    <a:lnTo>
                      <a:pt x="0" y="19"/>
                    </a:lnTo>
                    <a:lnTo>
                      <a:pt x="24" y="19"/>
                    </a:lnTo>
                    <a:lnTo>
                      <a:pt x="24" y="0"/>
                    </a:lnTo>
                    <a:lnTo>
                      <a:pt x="31" y="15"/>
                    </a:lnTo>
                    <a:lnTo>
                      <a:pt x="1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92" name="Freeform 1910"/>
              <p:cNvSpPr>
                <a:spLocks/>
              </p:cNvSpPr>
              <p:nvPr/>
            </p:nvSpPr>
            <p:spPr bwMode="auto">
              <a:xfrm>
                <a:off x="2284" y="1839"/>
                <a:ext cx="30" cy="30"/>
              </a:xfrm>
              <a:custGeom>
                <a:avLst/>
                <a:gdLst>
                  <a:gd name="T0" fmla="*/ 1 w 61"/>
                  <a:gd name="T1" fmla="*/ 1 h 60"/>
                  <a:gd name="T2" fmla="*/ 1 w 61"/>
                  <a:gd name="T3" fmla="*/ 0 h 60"/>
                  <a:gd name="T4" fmla="*/ 0 w 61"/>
                  <a:gd name="T5" fmla="*/ 2 h 60"/>
                  <a:gd name="T6" fmla="*/ 0 w 61"/>
                  <a:gd name="T7" fmla="*/ 2 h 60"/>
                  <a:gd name="T8" fmla="*/ 1 w 61"/>
                  <a:gd name="T9" fmla="*/ 1 h 60"/>
                  <a:gd name="T10" fmla="*/ 0 60000 65536"/>
                  <a:gd name="T11" fmla="*/ 0 60000 65536"/>
                  <a:gd name="T12" fmla="*/ 0 60000 65536"/>
                  <a:gd name="T13" fmla="*/ 0 60000 65536"/>
                  <a:gd name="T14" fmla="*/ 0 60000 65536"/>
                  <a:gd name="T15" fmla="*/ 0 w 61"/>
                  <a:gd name="T16" fmla="*/ 0 h 60"/>
                  <a:gd name="T17" fmla="*/ 61 w 61"/>
                  <a:gd name="T18" fmla="*/ 60 h 60"/>
                </a:gdLst>
                <a:ahLst/>
                <a:cxnLst>
                  <a:cxn ang="T10">
                    <a:pos x="T0" y="T1"/>
                  </a:cxn>
                  <a:cxn ang="T11">
                    <a:pos x="T2" y="T3"/>
                  </a:cxn>
                  <a:cxn ang="T12">
                    <a:pos x="T4" y="T5"/>
                  </a:cxn>
                  <a:cxn ang="T13">
                    <a:pos x="T6" y="T7"/>
                  </a:cxn>
                  <a:cxn ang="T14">
                    <a:pos x="T8" y="T9"/>
                  </a:cxn>
                </a:cxnLst>
                <a:rect l="T15" t="T16" r="T17" b="T18"/>
                <a:pathLst>
                  <a:path w="61" h="60">
                    <a:moveTo>
                      <a:pt x="61" y="14"/>
                    </a:moveTo>
                    <a:lnTo>
                      <a:pt x="47" y="0"/>
                    </a:lnTo>
                    <a:lnTo>
                      <a:pt x="0" y="46"/>
                    </a:lnTo>
                    <a:lnTo>
                      <a:pt x="14" y="60"/>
                    </a:lnTo>
                    <a:lnTo>
                      <a:pt x="6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93" name="Freeform 1911"/>
              <p:cNvSpPr>
                <a:spLocks/>
              </p:cNvSpPr>
              <p:nvPr/>
            </p:nvSpPr>
            <p:spPr bwMode="auto">
              <a:xfrm>
                <a:off x="2307" y="1838"/>
                <a:ext cx="15" cy="10"/>
              </a:xfrm>
              <a:custGeom>
                <a:avLst/>
                <a:gdLst>
                  <a:gd name="T0" fmla="*/ 1 w 29"/>
                  <a:gd name="T1" fmla="*/ 0 h 19"/>
                  <a:gd name="T2" fmla="*/ 1 w 29"/>
                  <a:gd name="T3" fmla="*/ 0 h 19"/>
                  <a:gd name="T4" fmla="*/ 1 w 29"/>
                  <a:gd name="T5" fmla="*/ 1 h 19"/>
                  <a:gd name="T6" fmla="*/ 0 w 29"/>
                  <a:gd name="T7" fmla="*/ 1 h 19"/>
                  <a:gd name="T8" fmla="*/ 1 w 29"/>
                  <a:gd name="T9" fmla="*/ 1 h 19"/>
                  <a:gd name="T10" fmla="*/ 1 w 29"/>
                  <a:gd name="T11" fmla="*/ 0 h 19"/>
                  <a:gd name="T12" fmla="*/ 0 60000 65536"/>
                  <a:gd name="T13" fmla="*/ 0 60000 65536"/>
                  <a:gd name="T14" fmla="*/ 0 60000 65536"/>
                  <a:gd name="T15" fmla="*/ 0 60000 65536"/>
                  <a:gd name="T16" fmla="*/ 0 60000 65536"/>
                  <a:gd name="T17" fmla="*/ 0 60000 65536"/>
                  <a:gd name="T18" fmla="*/ 0 w 29"/>
                  <a:gd name="T19" fmla="*/ 0 h 19"/>
                  <a:gd name="T20" fmla="*/ 29 w 2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9" h="19">
                    <a:moveTo>
                      <a:pt x="7" y="0"/>
                    </a:moveTo>
                    <a:lnTo>
                      <a:pt x="29" y="0"/>
                    </a:lnTo>
                    <a:lnTo>
                      <a:pt x="14" y="15"/>
                    </a:lnTo>
                    <a:lnTo>
                      <a:pt x="0" y="1"/>
                    </a:lnTo>
                    <a:lnTo>
                      <a:pt x="7" y="1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94" name="Freeform 1912"/>
              <p:cNvSpPr>
                <a:spLocks/>
              </p:cNvSpPr>
              <p:nvPr/>
            </p:nvSpPr>
            <p:spPr bwMode="auto">
              <a:xfrm>
                <a:off x="2271" y="1857"/>
                <a:ext cx="25" cy="24"/>
              </a:xfrm>
              <a:custGeom>
                <a:avLst/>
                <a:gdLst>
                  <a:gd name="T0" fmla="*/ 2 w 50"/>
                  <a:gd name="T1" fmla="*/ 0 h 49"/>
                  <a:gd name="T2" fmla="*/ 1 w 50"/>
                  <a:gd name="T3" fmla="*/ 0 h 49"/>
                  <a:gd name="T4" fmla="*/ 0 w 50"/>
                  <a:gd name="T5" fmla="*/ 1 h 49"/>
                  <a:gd name="T6" fmla="*/ 2 w 50"/>
                  <a:gd name="T7" fmla="*/ 0 h 49"/>
                  <a:gd name="T8" fmla="*/ 0 60000 65536"/>
                  <a:gd name="T9" fmla="*/ 0 60000 65536"/>
                  <a:gd name="T10" fmla="*/ 0 60000 65536"/>
                  <a:gd name="T11" fmla="*/ 0 60000 65536"/>
                  <a:gd name="T12" fmla="*/ 0 w 50"/>
                  <a:gd name="T13" fmla="*/ 0 h 49"/>
                  <a:gd name="T14" fmla="*/ 50 w 50"/>
                  <a:gd name="T15" fmla="*/ 49 h 49"/>
                </a:gdLst>
                <a:ahLst/>
                <a:cxnLst>
                  <a:cxn ang="T8">
                    <a:pos x="T0" y="T1"/>
                  </a:cxn>
                  <a:cxn ang="T9">
                    <a:pos x="T2" y="T3"/>
                  </a:cxn>
                  <a:cxn ang="T10">
                    <a:pos x="T4" y="T5"/>
                  </a:cxn>
                  <a:cxn ang="T11">
                    <a:pos x="T6" y="T7"/>
                  </a:cxn>
                </a:cxnLst>
                <a:rect l="T12" t="T13" r="T14" b="T15"/>
                <a:pathLst>
                  <a:path w="50" h="49">
                    <a:moveTo>
                      <a:pt x="50" y="30"/>
                    </a:moveTo>
                    <a:lnTo>
                      <a:pt x="21" y="0"/>
                    </a:lnTo>
                    <a:lnTo>
                      <a:pt x="0" y="49"/>
                    </a:lnTo>
                    <a:lnTo>
                      <a:pt x="5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700" name="Text Box 1913"/>
            <p:cNvSpPr txBox="1">
              <a:spLocks noChangeArrowheads="1"/>
            </p:cNvSpPr>
            <p:nvPr/>
          </p:nvSpPr>
          <p:spPr bwMode="auto">
            <a:xfrm>
              <a:off x="4702175" y="2917903"/>
              <a:ext cx="515938" cy="101600"/>
            </a:xfrm>
            <a:prstGeom prst="rect">
              <a:avLst/>
            </a:prstGeom>
            <a:solidFill>
              <a:srgbClr val="FFFF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 Niederaußem </a:t>
              </a:r>
            </a:p>
          </p:txBody>
        </p:sp>
        <p:sp>
          <p:nvSpPr>
            <p:cNvPr id="701" name="Text Box 1914"/>
            <p:cNvSpPr txBox="1">
              <a:spLocks noChangeArrowheads="1"/>
            </p:cNvSpPr>
            <p:nvPr/>
          </p:nvSpPr>
          <p:spPr bwMode="auto">
            <a:xfrm>
              <a:off x="4838700" y="3111578"/>
              <a:ext cx="506413" cy="101600"/>
            </a:xfrm>
            <a:prstGeom prst="rect">
              <a:avLst/>
            </a:prstGeom>
            <a:solidFill>
              <a:srgbClr val="FFFF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 Fortuna-Nord </a:t>
              </a:r>
            </a:p>
          </p:txBody>
        </p:sp>
        <p:sp>
          <p:nvSpPr>
            <p:cNvPr id="702" name="Text Box 1915"/>
            <p:cNvSpPr txBox="1">
              <a:spLocks noChangeArrowheads="1"/>
            </p:cNvSpPr>
            <p:nvPr/>
          </p:nvSpPr>
          <p:spPr bwMode="auto">
            <a:xfrm>
              <a:off x="6345238" y="4440316"/>
              <a:ext cx="1873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Hürth</a:t>
              </a:r>
            </a:p>
          </p:txBody>
        </p:sp>
        <p:grpSp>
          <p:nvGrpSpPr>
            <p:cNvPr id="703" name="Group 1916"/>
            <p:cNvGrpSpPr>
              <a:grpSpLocks/>
            </p:cNvGrpSpPr>
            <p:nvPr/>
          </p:nvGrpSpPr>
          <p:grpSpPr bwMode="auto">
            <a:xfrm>
              <a:off x="5645150" y="4362528"/>
              <a:ext cx="69850" cy="95250"/>
              <a:chOff x="3624" y="2948"/>
              <a:chExt cx="44" cy="60"/>
            </a:xfrm>
          </p:grpSpPr>
          <p:sp>
            <p:nvSpPr>
              <p:cNvPr id="885" name="Freeform 1917"/>
              <p:cNvSpPr>
                <a:spLocks/>
              </p:cNvSpPr>
              <p:nvPr/>
            </p:nvSpPr>
            <p:spPr bwMode="auto">
              <a:xfrm>
                <a:off x="3624" y="2948"/>
                <a:ext cx="44" cy="60"/>
              </a:xfrm>
              <a:custGeom>
                <a:avLst/>
                <a:gdLst>
                  <a:gd name="T0" fmla="*/ 8 w 44"/>
                  <a:gd name="T1" fmla="*/ 60 h 60"/>
                  <a:gd name="T2" fmla="*/ 6 w 44"/>
                  <a:gd name="T3" fmla="*/ 34 h 60"/>
                  <a:gd name="T4" fmla="*/ 44 w 44"/>
                  <a:gd name="T5" fmla="*/ 0 h 60"/>
                  <a:gd name="T6" fmla="*/ 0 60000 65536"/>
                  <a:gd name="T7" fmla="*/ 0 60000 65536"/>
                  <a:gd name="T8" fmla="*/ 0 60000 65536"/>
                  <a:gd name="T9" fmla="*/ 0 w 44"/>
                  <a:gd name="T10" fmla="*/ 0 h 60"/>
                  <a:gd name="T11" fmla="*/ 44 w 44"/>
                  <a:gd name="T12" fmla="*/ 60 h 60"/>
                </a:gdLst>
                <a:ahLst/>
                <a:cxnLst>
                  <a:cxn ang="T6">
                    <a:pos x="T0" y="T1"/>
                  </a:cxn>
                  <a:cxn ang="T7">
                    <a:pos x="T2" y="T3"/>
                  </a:cxn>
                  <a:cxn ang="T8">
                    <a:pos x="T4" y="T5"/>
                  </a:cxn>
                </a:cxnLst>
                <a:rect l="T9" t="T10" r="T11" b="T12"/>
                <a:pathLst>
                  <a:path w="44" h="60">
                    <a:moveTo>
                      <a:pt x="8" y="60"/>
                    </a:moveTo>
                    <a:cubicBezTo>
                      <a:pt x="4" y="52"/>
                      <a:pt x="0" y="44"/>
                      <a:pt x="6" y="34"/>
                    </a:cubicBezTo>
                    <a:cubicBezTo>
                      <a:pt x="12" y="24"/>
                      <a:pt x="38" y="6"/>
                      <a:pt x="44" y="0"/>
                    </a:cubicBezTo>
                  </a:path>
                </a:pathLst>
              </a:custGeom>
              <a:noFill/>
              <a:ln w="9525" cap="flat" cmpd="sng">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886" name="Freeform 1918"/>
              <p:cNvSpPr>
                <a:spLocks/>
              </p:cNvSpPr>
              <p:nvPr/>
            </p:nvSpPr>
            <p:spPr bwMode="auto">
              <a:xfrm>
                <a:off x="3624" y="2948"/>
                <a:ext cx="44" cy="60"/>
              </a:xfrm>
              <a:custGeom>
                <a:avLst/>
                <a:gdLst>
                  <a:gd name="T0" fmla="*/ 8 w 44"/>
                  <a:gd name="T1" fmla="*/ 60 h 60"/>
                  <a:gd name="T2" fmla="*/ 6 w 44"/>
                  <a:gd name="T3" fmla="*/ 34 h 60"/>
                  <a:gd name="T4" fmla="*/ 44 w 44"/>
                  <a:gd name="T5" fmla="*/ 0 h 60"/>
                  <a:gd name="T6" fmla="*/ 0 60000 65536"/>
                  <a:gd name="T7" fmla="*/ 0 60000 65536"/>
                  <a:gd name="T8" fmla="*/ 0 60000 65536"/>
                  <a:gd name="T9" fmla="*/ 0 w 44"/>
                  <a:gd name="T10" fmla="*/ 0 h 60"/>
                  <a:gd name="T11" fmla="*/ 44 w 44"/>
                  <a:gd name="T12" fmla="*/ 60 h 60"/>
                </a:gdLst>
                <a:ahLst/>
                <a:cxnLst>
                  <a:cxn ang="T6">
                    <a:pos x="T0" y="T1"/>
                  </a:cxn>
                  <a:cxn ang="T7">
                    <a:pos x="T2" y="T3"/>
                  </a:cxn>
                  <a:cxn ang="T8">
                    <a:pos x="T4" y="T5"/>
                  </a:cxn>
                </a:cxnLst>
                <a:rect l="T9" t="T10" r="T11" b="T12"/>
                <a:pathLst>
                  <a:path w="44" h="60">
                    <a:moveTo>
                      <a:pt x="8" y="60"/>
                    </a:moveTo>
                    <a:cubicBezTo>
                      <a:pt x="4" y="52"/>
                      <a:pt x="0" y="44"/>
                      <a:pt x="6" y="34"/>
                    </a:cubicBezTo>
                    <a:cubicBezTo>
                      <a:pt x="12" y="24"/>
                      <a:pt x="38" y="6"/>
                      <a:pt x="44" y="0"/>
                    </a:cubicBezTo>
                  </a:path>
                </a:pathLst>
              </a:custGeom>
              <a:noFill/>
              <a:ln w="9525" cap="flat" cmpd="sng">
                <a:solidFill>
                  <a:srgbClr val="CC00FF"/>
                </a:solidFill>
                <a:prstDash val="lg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grpSp>
        <p:grpSp>
          <p:nvGrpSpPr>
            <p:cNvPr id="704" name="Group 1919"/>
            <p:cNvGrpSpPr>
              <a:grpSpLocks/>
            </p:cNvGrpSpPr>
            <p:nvPr/>
          </p:nvGrpSpPr>
          <p:grpSpPr bwMode="auto">
            <a:xfrm>
              <a:off x="5678488" y="4345066"/>
              <a:ext cx="153988" cy="100013"/>
              <a:chOff x="3860" y="1588"/>
              <a:chExt cx="126" cy="82"/>
            </a:xfrm>
          </p:grpSpPr>
          <p:sp>
            <p:nvSpPr>
              <p:cNvPr id="870" name="Rectangle 1920"/>
              <p:cNvSpPr>
                <a:spLocks noChangeArrowheads="1"/>
              </p:cNvSpPr>
              <p:nvPr/>
            </p:nvSpPr>
            <p:spPr bwMode="auto">
              <a:xfrm>
                <a:off x="3863" y="1590"/>
                <a:ext cx="122" cy="79"/>
              </a:xfrm>
              <a:prstGeom prst="rect">
                <a:avLst/>
              </a:prstGeom>
              <a:solidFill>
                <a:srgbClr val="C510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71" name="Rectangle 1921"/>
              <p:cNvSpPr>
                <a:spLocks noChangeArrowheads="1"/>
              </p:cNvSpPr>
              <p:nvPr/>
            </p:nvSpPr>
            <p:spPr bwMode="auto">
              <a:xfrm>
                <a:off x="3863" y="1588"/>
                <a:ext cx="12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72" name="Rectangle 1922"/>
              <p:cNvSpPr>
                <a:spLocks noChangeArrowheads="1"/>
              </p:cNvSpPr>
              <p:nvPr/>
            </p:nvSpPr>
            <p:spPr bwMode="auto">
              <a:xfrm>
                <a:off x="3981" y="1590"/>
                <a:ext cx="5" cy="7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73" name="Freeform 1923"/>
              <p:cNvSpPr>
                <a:spLocks/>
              </p:cNvSpPr>
              <p:nvPr/>
            </p:nvSpPr>
            <p:spPr bwMode="auto">
              <a:xfrm>
                <a:off x="3981" y="1588"/>
                <a:ext cx="5" cy="5"/>
              </a:xfrm>
              <a:custGeom>
                <a:avLst/>
                <a:gdLst>
                  <a:gd name="T0" fmla="*/ 0 w 11"/>
                  <a:gd name="T1" fmla="*/ 0 h 10"/>
                  <a:gd name="T2" fmla="*/ 0 w 11"/>
                  <a:gd name="T3" fmla="*/ 0 h 10"/>
                  <a:gd name="T4" fmla="*/ 0 w 11"/>
                  <a:gd name="T5" fmla="*/ 1 h 10"/>
                  <a:gd name="T6" fmla="*/ 0 w 11"/>
                  <a:gd name="T7" fmla="*/ 1 h 10"/>
                  <a:gd name="T8" fmla="*/ 0 w 11"/>
                  <a:gd name="T9" fmla="*/ 1 h 10"/>
                  <a:gd name="T10" fmla="*/ 0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0"/>
                    </a:moveTo>
                    <a:lnTo>
                      <a:pt x="11" y="0"/>
                    </a:lnTo>
                    <a:lnTo>
                      <a:pt x="11" y="5"/>
                    </a:lnTo>
                    <a:lnTo>
                      <a:pt x="0" y="5"/>
                    </a:lnTo>
                    <a:lnTo>
                      <a:pt x="6" y="1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74" name="Rectangle 1924"/>
              <p:cNvSpPr>
                <a:spLocks noChangeArrowheads="1"/>
              </p:cNvSpPr>
              <p:nvPr/>
            </p:nvSpPr>
            <p:spPr bwMode="auto">
              <a:xfrm>
                <a:off x="3863" y="1665"/>
                <a:ext cx="12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75" name="Freeform 1925"/>
              <p:cNvSpPr>
                <a:spLocks/>
              </p:cNvSpPr>
              <p:nvPr/>
            </p:nvSpPr>
            <p:spPr bwMode="auto">
              <a:xfrm>
                <a:off x="3981" y="1665"/>
                <a:ext cx="5" cy="5"/>
              </a:xfrm>
              <a:custGeom>
                <a:avLst/>
                <a:gdLst>
                  <a:gd name="T0" fmla="*/ 0 w 11"/>
                  <a:gd name="T1" fmla="*/ 1 h 10"/>
                  <a:gd name="T2" fmla="*/ 0 w 11"/>
                  <a:gd name="T3" fmla="*/ 1 h 10"/>
                  <a:gd name="T4" fmla="*/ 0 w 11"/>
                  <a:gd name="T5" fmla="*/ 1 h 10"/>
                  <a:gd name="T6" fmla="*/ 0 w 11"/>
                  <a:gd name="T7" fmla="*/ 0 h 10"/>
                  <a:gd name="T8" fmla="*/ 0 w 11"/>
                  <a:gd name="T9" fmla="*/ 1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5"/>
                    </a:moveTo>
                    <a:lnTo>
                      <a:pt x="11" y="10"/>
                    </a:lnTo>
                    <a:lnTo>
                      <a:pt x="6" y="10"/>
                    </a:lnTo>
                    <a:lnTo>
                      <a:pt x="6" y="0"/>
                    </a:lnTo>
                    <a:lnTo>
                      <a:pt x="0" y="5"/>
                    </a:lnTo>
                    <a:lnTo>
                      <a:pt x="1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76" name="Rectangle 1926"/>
              <p:cNvSpPr>
                <a:spLocks noChangeArrowheads="1"/>
              </p:cNvSpPr>
              <p:nvPr/>
            </p:nvSpPr>
            <p:spPr bwMode="auto">
              <a:xfrm>
                <a:off x="3860" y="1590"/>
                <a:ext cx="5" cy="7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77" name="Freeform 1927"/>
              <p:cNvSpPr>
                <a:spLocks/>
              </p:cNvSpPr>
              <p:nvPr/>
            </p:nvSpPr>
            <p:spPr bwMode="auto">
              <a:xfrm>
                <a:off x="3860" y="1665"/>
                <a:ext cx="5" cy="5"/>
              </a:xfrm>
              <a:custGeom>
                <a:avLst/>
                <a:gdLst>
                  <a:gd name="T0" fmla="*/ 0 w 11"/>
                  <a:gd name="T1" fmla="*/ 1 h 10"/>
                  <a:gd name="T2" fmla="*/ 0 w 11"/>
                  <a:gd name="T3" fmla="*/ 1 h 10"/>
                  <a:gd name="T4" fmla="*/ 0 w 11"/>
                  <a:gd name="T5" fmla="*/ 1 h 10"/>
                  <a:gd name="T6" fmla="*/ 0 w 11"/>
                  <a:gd name="T7" fmla="*/ 1 h 10"/>
                  <a:gd name="T8" fmla="*/ 0 w 11"/>
                  <a:gd name="T9" fmla="*/ 0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10"/>
                    </a:moveTo>
                    <a:lnTo>
                      <a:pt x="0" y="10"/>
                    </a:lnTo>
                    <a:lnTo>
                      <a:pt x="0" y="5"/>
                    </a:lnTo>
                    <a:lnTo>
                      <a:pt x="11" y="5"/>
                    </a:lnTo>
                    <a:lnTo>
                      <a:pt x="6" y="0"/>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78" name="Freeform 1928"/>
              <p:cNvSpPr>
                <a:spLocks/>
              </p:cNvSpPr>
              <p:nvPr/>
            </p:nvSpPr>
            <p:spPr bwMode="auto">
              <a:xfrm>
                <a:off x="3860" y="1588"/>
                <a:ext cx="5" cy="5"/>
              </a:xfrm>
              <a:custGeom>
                <a:avLst/>
                <a:gdLst>
                  <a:gd name="T0" fmla="*/ 0 w 11"/>
                  <a:gd name="T1" fmla="*/ 1 h 10"/>
                  <a:gd name="T2" fmla="*/ 0 w 11"/>
                  <a:gd name="T3" fmla="*/ 0 h 10"/>
                  <a:gd name="T4" fmla="*/ 0 w 11"/>
                  <a:gd name="T5" fmla="*/ 0 h 10"/>
                  <a:gd name="T6" fmla="*/ 0 w 11"/>
                  <a:gd name="T7" fmla="*/ 1 h 10"/>
                  <a:gd name="T8" fmla="*/ 0 w 11"/>
                  <a:gd name="T9" fmla="*/ 1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0" y="0"/>
                    </a:lnTo>
                    <a:lnTo>
                      <a:pt x="6" y="0"/>
                    </a:lnTo>
                    <a:lnTo>
                      <a:pt x="6" y="10"/>
                    </a:lnTo>
                    <a:lnTo>
                      <a:pt x="11" y="5"/>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79" name="Freeform 1929"/>
              <p:cNvSpPr>
                <a:spLocks/>
              </p:cNvSpPr>
              <p:nvPr/>
            </p:nvSpPr>
            <p:spPr bwMode="auto">
              <a:xfrm>
                <a:off x="3905" y="1596"/>
                <a:ext cx="34" cy="33"/>
              </a:xfrm>
              <a:custGeom>
                <a:avLst/>
                <a:gdLst>
                  <a:gd name="T0" fmla="*/ 3 w 66"/>
                  <a:gd name="T1" fmla="*/ 0 h 67"/>
                  <a:gd name="T2" fmla="*/ 2 w 66"/>
                  <a:gd name="T3" fmla="*/ 0 h 67"/>
                  <a:gd name="T4" fmla="*/ 0 w 66"/>
                  <a:gd name="T5" fmla="*/ 1 h 67"/>
                  <a:gd name="T6" fmla="*/ 1 w 66"/>
                  <a:gd name="T7" fmla="*/ 2 h 67"/>
                  <a:gd name="T8" fmla="*/ 3 w 66"/>
                  <a:gd name="T9" fmla="*/ 0 h 67"/>
                  <a:gd name="T10" fmla="*/ 0 60000 65536"/>
                  <a:gd name="T11" fmla="*/ 0 60000 65536"/>
                  <a:gd name="T12" fmla="*/ 0 60000 65536"/>
                  <a:gd name="T13" fmla="*/ 0 60000 65536"/>
                  <a:gd name="T14" fmla="*/ 0 60000 65536"/>
                  <a:gd name="T15" fmla="*/ 0 w 66"/>
                  <a:gd name="T16" fmla="*/ 0 h 67"/>
                  <a:gd name="T17" fmla="*/ 66 w 66"/>
                  <a:gd name="T18" fmla="*/ 67 h 67"/>
                </a:gdLst>
                <a:ahLst/>
                <a:cxnLst>
                  <a:cxn ang="T10">
                    <a:pos x="T0" y="T1"/>
                  </a:cxn>
                  <a:cxn ang="T11">
                    <a:pos x="T2" y="T3"/>
                  </a:cxn>
                  <a:cxn ang="T12">
                    <a:pos x="T4" y="T5"/>
                  </a:cxn>
                  <a:cxn ang="T13">
                    <a:pos x="T6" y="T7"/>
                  </a:cxn>
                  <a:cxn ang="T14">
                    <a:pos x="T8" y="T9"/>
                  </a:cxn>
                </a:cxnLst>
                <a:rect l="T15" t="T16" r="T17" b="T18"/>
                <a:pathLst>
                  <a:path w="66" h="67">
                    <a:moveTo>
                      <a:pt x="66" y="13"/>
                    </a:moveTo>
                    <a:lnTo>
                      <a:pt x="54" y="0"/>
                    </a:lnTo>
                    <a:lnTo>
                      <a:pt x="0" y="54"/>
                    </a:lnTo>
                    <a:lnTo>
                      <a:pt x="12" y="67"/>
                    </a:lnTo>
                    <a:lnTo>
                      <a:pt x="6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80" name="Rectangle 1930"/>
              <p:cNvSpPr>
                <a:spLocks noChangeArrowheads="1"/>
              </p:cNvSpPr>
              <p:nvPr/>
            </p:nvSpPr>
            <p:spPr bwMode="auto">
              <a:xfrm>
                <a:off x="3909" y="1621"/>
                <a:ext cx="29" cy="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81" name="Freeform 1931"/>
              <p:cNvSpPr>
                <a:spLocks/>
              </p:cNvSpPr>
              <p:nvPr/>
            </p:nvSpPr>
            <p:spPr bwMode="auto">
              <a:xfrm>
                <a:off x="3898" y="1621"/>
                <a:ext cx="14" cy="9"/>
              </a:xfrm>
              <a:custGeom>
                <a:avLst/>
                <a:gdLst>
                  <a:gd name="T0" fmla="*/ 1 w 26"/>
                  <a:gd name="T1" fmla="*/ 1 h 17"/>
                  <a:gd name="T2" fmla="*/ 0 w 26"/>
                  <a:gd name="T3" fmla="*/ 1 h 17"/>
                  <a:gd name="T4" fmla="*/ 1 w 26"/>
                  <a:gd name="T5" fmla="*/ 1 h 17"/>
                  <a:gd name="T6" fmla="*/ 1 w 26"/>
                  <a:gd name="T7" fmla="*/ 0 h 17"/>
                  <a:gd name="T8" fmla="*/ 1 w 26"/>
                  <a:gd name="T9" fmla="*/ 1 h 17"/>
                  <a:gd name="T10" fmla="*/ 1 w 26"/>
                  <a:gd name="T11" fmla="*/ 1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14" y="3"/>
                    </a:moveTo>
                    <a:lnTo>
                      <a:pt x="0" y="17"/>
                    </a:lnTo>
                    <a:lnTo>
                      <a:pt x="21" y="17"/>
                    </a:lnTo>
                    <a:lnTo>
                      <a:pt x="21" y="0"/>
                    </a:lnTo>
                    <a:lnTo>
                      <a:pt x="26" y="16"/>
                    </a:lnTo>
                    <a:lnTo>
                      <a:pt x="1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82" name="Freeform 1932"/>
              <p:cNvSpPr>
                <a:spLocks/>
              </p:cNvSpPr>
              <p:nvPr/>
            </p:nvSpPr>
            <p:spPr bwMode="auto">
              <a:xfrm>
                <a:off x="3913" y="1623"/>
                <a:ext cx="27" cy="27"/>
              </a:xfrm>
              <a:custGeom>
                <a:avLst/>
                <a:gdLst>
                  <a:gd name="T0" fmla="*/ 2 w 54"/>
                  <a:gd name="T1" fmla="*/ 1 h 54"/>
                  <a:gd name="T2" fmla="*/ 2 w 54"/>
                  <a:gd name="T3" fmla="*/ 0 h 54"/>
                  <a:gd name="T4" fmla="*/ 0 w 54"/>
                  <a:gd name="T5" fmla="*/ 2 h 54"/>
                  <a:gd name="T6" fmla="*/ 1 w 54"/>
                  <a:gd name="T7" fmla="*/ 2 h 54"/>
                  <a:gd name="T8" fmla="*/ 2 w 54"/>
                  <a:gd name="T9" fmla="*/ 1 h 54"/>
                  <a:gd name="T10" fmla="*/ 0 60000 65536"/>
                  <a:gd name="T11" fmla="*/ 0 60000 65536"/>
                  <a:gd name="T12" fmla="*/ 0 60000 65536"/>
                  <a:gd name="T13" fmla="*/ 0 60000 65536"/>
                  <a:gd name="T14" fmla="*/ 0 60000 65536"/>
                  <a:gd name="T15" fmla="*/ 0 w 54"/>
                  <a:gd name="T16" fmla="*/ 0 h 54"/>
                  <a:gd name="T17" fmla="*/ 54 w 54"/>
                  <a:gd name="T18" fmla="*/ 54 h 54"/>
                </a:gdLst>
                <a:ahLst/>
                <a:cxnLst>
                  <a:cxn ang="T10">
                    <a:pos x="T0" y="T1"/>
                  </a:cxn>
                  <a:cxn ang="T11">
                    <a:pos x="T2" y="T3"/>
                  </a:cxn>
                  <a:cxn ang="T12">
                    <a:pos x="T4" y="T5"/>
                  </a:cxn>
                  <a:cxn ang="T13">
                    <a:pos x="T6" y="T7"/>
                  </a:cxn>
                  <a:cxn ang="T14">
                    <a:pos x="T8" y="T9"/>
                  </a:cxn>
                </a:cxnLst>
                <a:rect l="T15" t="T16" r="T17" b="T18"/>
                <a:pathLst>
                  <a:path w="54" h="54">
                    <a:moveTo>
                      <a:pt x="54" y="13"/>
                    </a:moveTo>
                    <a:lnTo>
                      <a:pt x="41" y="0"/>
                    </a:lnTo>
                    <a:lnTo>
                      <a:pt x="0" y="42"/>
                    </a:lnTo>
                    <a:lnTo>
                      <a:pt x="12" y="54"/>
                    </a:lnTo>
                    <a:lnTo>
                      <a:pt x="5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83" name="Freeform 1933"/>
              <p:cNvSpPr>
                <a:spLocks/>
              </p:cNvSpPr>
              <p:nvPr/>
            </p:nvSpPr>
            <p:spPr bwMode="auto">
              <a:xfrm>
                <a:off x="3934" y="1621"/>
                <a:ext cx="14" cy="9"/>
              </a:xfrm>
              <a:custGeom>
                <a:avLst/>
                <a:gdLst>
                  <a:gd name="T0" fmla="*/ 1 w 28"/>
                  <a:gd name="T1" fmla="*/ 0 h 17"/>
                  <a:gd name="T2" fmla="*/ 1 w 28"/>
                  <a:gd name="T3" fmla="*/ 0 h 17"/>
                  <a:gd name="T4" fmla="*/ 1 w 28"/>
                  <a:gd name="T5" fmla="*/ 1 h 17"/>
                  <a:gd name="T6" fmla="*/ 0 w 28"/>
                  <a:gd name="T7" fmla="*/ 1 h 17"/>
                  <a:gd name="T8" fmla="*/ 1 w 28"/>
                  <a:gd name="T9" fmla="*/ 1 h 17"/>
                  <a:gd name="T10" fmla="*/ 1 w 28"/>
                  <a:gd name="T11" fmla="*/ 0 h 17"/>
                  <a:gd name="T12" fmla="*/ 0 60000 65536"/>
                  <a:gd name="T13" fmla="*/ 0 60000 65536"/>
                  <a:gd name="T14" fmla="*/ 0 60000 65536"/>
                  <a:gd name="T15" fmla="*/ 0 60000 65536"/>
                  <a:gd name="T16" fmla="*/ 0 60000 65536"/>
                  <a:gd name="T17" fmla="*/ 0 60000 65536"/>
                  <a:gd name="T18" fmla="*/ 0 w 28"/>
                  <a:gd name="T19" fmla="*/ 0 h 17"/>
                  <a:gd name="T20" fmla="*/ 28 w 28"/>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8" h="17">
                    <a:moveTo>
                      <a:pt x="7" y="0"/>
                    </a:moveTo>
                    <a:lnTo>
                      <a:pt x="28" y="0"/>
                    </a:lnTo>
                    <a:lnTo>
                      <a:pt x="13" y="16"/>
                    </a:lnTo>
                    <a:lnTo>
                      <a:pt x="0" y="3"/>
                    </a:lnTo>
                    <a:lnTo>
                      <a:pt x="7" y="17"/>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84" name="Freeform 1934"/>
              <p:cNvSpPr>
                <a:spLocks/>
              </p:cNvSpPr>
              <p:nvPr/>
            </p:nvSpPr>
            <p:spPr bwMode="auto">
              <a:xfrm>
                <a:off x="3901" y="1639"/>
                <a:ext cx="24" cy="23"/>
              </a:xfrm>
              <a:custGeom>
                <a:avLst/>
                <a:gdLst>
                  <a:gd name="T0" fmla="*/ 2 w 47"/>
                  <a:gd name="T1" fmla="*/ 1 h 45"/>
                  <a:gd name="T2" fmla="*/ 1 w 47"/>
                  <a:gd name="T3" fmla="*/ 0 h 45"/>
                  <a:gd name="T4" fmla="*/ 0 w 47"/>
                  <a:gd name="T5" fmla="*/ 2 h 45"/>
                  <a:gd name="T6" fmla="*/ 2 w 47"/>
                  <a:gd name="T7" fmla="*/ 1 h 45"/>
                  <a:gd name="T8" fmla="*/ 0 60000 65536"/>
                  <a:gd name="T9" fmla="*/ 0 60000 65536"/>
                  <a:gd name="T10" fmla="*/ 0 60000 65536"/>
                  <a:gd name="T11" fmla="*/ 0 60000 65536"/>
                  <a:gd name="T12" fmla="*/ 0 w 47"/>
                  <a:gd name="T13" fmla="*/ 0 h 45"/>
                  <a:gd name="T14" fmla="*/ 47 w 47"/>
                  <a:gd name="T15" fmla="*/ 45 h 45"/>
                </a:gdLst>
                <a:ahLst/>
                <a:cxnLst>
                  <a:cxn ang="T8">
                    <a:pos x="T0" y="T1"/>
                  </a:cxn>
                  <a:cxn ang="T9">
                    <a:pos x="T2" y="T3"/>
                  </a:cxn>
                  <a:cxn ang="T10">
                    <a:pos x="T4" y="T5"/>
                  </a:cxn>
                  <a:cxn ang="T11">
                    <a:pos x="T6" y="T7"/>
                  </a:cxn>
                </a:cxnLst>
                <a:rect l="T12" t="T13" r="T14" b="T15"/>
                <a:pathLst>
                  <a:path w="47" h="45">
                    <a:moveTo>
                      <a:pt x="47" y="26"/>
                    </a:moveTo>
                    <a:lnTo>
                      <a:pt x="19" y="0"/>
                    </a:lnTo>
                    <a:lnTo>
                      <a:pt x="0" y="45"/>
                    </a:lnTo>
                    <a:lnTo>
                      <a:pt x="4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05" name="Group 1935"/>
            <p:cNvGrpSpPr>
              <a:grpSpLocks/>
            </p:cNvGrpSpPr>
            <p:nvPr/>
          </p:nvGrpSpPr>
          <p:grpSpPr bwMode="auto">
            <a:xfrm>
              <a:off x="5752420" y="1981459"/>
              <a:ext cx="153988" cy="100013"/>
              <a:chOff x="3860" y="1588"/>
              <a:chExt cx="126" cy="82"/>
            </a:xfrm>
          </p:grpSpPr>
          <p:sp>
            <p:nvSpPr>
              <p:cNvPr id="855" name="Rectangle 1936"/>
              <p:cNvSpPr>
                <a:spLocks noChangeArrowheads="1"/>
              </p:cNvSpPr>
              <p:nvPr/>
            </p:nvSpPr>
            <p:spPr bwMode="auto">
              <a:xfrm>
                <a:off x="3863" y="1590"/>
                <a:ext cx="122" cy="79"/>
              </a:xfrm>
              <a:prstGeom prst="rect">
                <a:avLst/>
              </a:prstGeom>
              <a:solidFill>
                <a:srgbClr val="C510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56" name="Rectangle 1937"/>
              <p:cNvSpPr>
                <a:spLocks noChangeArrowheads="1"/>
              </p:cNvSpPr>
              <p:nvPr/>
            </p:nvSpPr>
            <p:spPr bwMode="auto">
              <a:xfrm>
                <a:off x="3863" y="1588"/>
                <a:ext cx="12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57" name="Rectangle 1938"/>
              <p:cNvSpPr>
                <a:spLocks noChangeArrowheads="1"/>
              </p:cNvSpPr>
              <p:nvPr/>
            </p:nvSpPr>
            <p:spPr bwMode="auto">
              <a:xfrm>
                <a:off x="3981" y="1590"/>
                <a:ext cx="5" cy="7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58" name="Freeform 1939"/>
              <p:cNvSpPr>
                <a:spLocks/>
              </p:cNvSpPr>
              <p:nvPr/>
            </p:nvSpPr>
            <p:spPr bwMode="auto">
              <a:xfrm>
                <a:off x="3981" y="1588"/>
                <a:ext cx="5" cy="5"/>
              </a:xfrm>
              <a:custGeom>
                <a:avLst/>
                <a:gdLst>
                  <a:gd name="T0" fmla="*/ 0 w 11"/>
                  <a:gd name="T1" fmla="*/ 0 h 10"/>
                  <a:gd name="T2" fmla="*/ 0 w 11"/>
                  <a:gd name="T3" fmla="*/ 0 h 10"/>
                  <a:gd name="T4" fmla="*/ 0 w 11"/>
                  <a:gd name="T5" fmla="*/ 1 h 10"/>
                  <a:gd name="T6" fmla="*/ 0 w 11"/>
                  <a:gd name="T7" fmla="*/ 1 h 10"/>
                  <a:gd name="T8" fmla="*/ 0 w 11"/>
                  <a:gd name="T9" fmla="*/ 1 h 10"/>
                  <a:gd name="T10" fmla="*/ 0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0"/>
                    </a:moveTo>
                    <a:lnTo>
                      <a:pt x="11" y="0"/>
                    </a:lnTo>
                    <a:lnTo>
                      <a:pt x="11" y="5"/>
                    </a:lnTo>
                    <a:lnTo>
                      <a:pt x="0" y="5"/>
                    </a:lnTo>
                    <a:lnTo>
                      <a:pt x="6" y="1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59" name="Rectangle 1940"/>
              <p:cNvSpPr>
                <a:spLocks noChangeArrowheads="1"/>
              </p:cNvSpPr>
              <p:nvPr/>
            </p:nvSpPr>
            <p:spPr bwMode="auto">
              <a:xfrm>
                <a:off x="3863" y="1665"/>
                <a:ext cx="12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60" name="Freeform 1941"/>
              <p:cNvSpPr>
                <a:spLocks/>
              </p:cNvSpPr>
              <p:nvPr/>
            </p:nvSpPr>
            <p:spPr bwMode="auto">
              <a:xfrm>
                <a:off x="3981" y="1665"/>
                <a:ext cx="5" cy="5"/>
              </a:xfrm>
              <a:custGeom>
                <a:avLst/>
                <a:gdLst>
                  <a:gd name="T0" fmla="*/ 0 w 11"/>
                  <a:gd name="T1" fmla="*/ 1 h 10"/>
                  <a:gd name="T2" fmla="*/ 0 w 11"/>
                  <a:gd name="T3" fmla="*/ 1 h 10"/>
                  <a:gd name="T4" fmla="*/ 0 w 11"/>
                  <a:gd name="T5" fmla="*/ 1 h 10"/>
                  <a:gd name="T6" fmla="*/ 0 w 11"/>
                  <a:gd name="T7" fmla="*/ 0 h 10"/>
                  <a:gd name="T8" fmla="*/ 0 w 11"/>
                  <a:gd name="T9" fmla="*/ 1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5"/>
                    </a:moveTo>
                    <a:lnTo>
                      <a:pt x="11" y="10"/>
                    </a:lnTo>
                    <a:lnTo>
                      <a:pt x="6" y="10"/>
                    </a:lnTo>
                    <a:lnTo>
                      <a:pt x="6" y="0"/>
                    </a:lnTo>
                    <a:lnTo>
                      <a:pt x="0" y="5"/>
                    </a:lnTo>
                    <a:lnTo>
                      <a:pt x="1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61" name="Rectangle 1942"/>
              <p:cNvSpPr>
                <a:spLocks noChangeArrowheads="1"/>
              </p:cNvSpPr>
              <p:nvPr/>
            </p:nvSpPr>
            <p:spPr bwMode="auto">
              <a:xfrm>
                <a:off x="3860" y="1590"/>
                <a:ext cx="5" cy="7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62" name="Freeform 1943"/>
              <p:cNvSpPr>
                <a:spLocks/>
              </p:cNvSpPr>
              <p:nvPr/>
            </p:nvSpPr>
            <p:spPr bwMode="auto">
              <a:xfrm>
                <a:off x="3860" y="1665"/>
                <a:ext cx="5" cy="5"/>
              </a:xfrm>
              <a:custGeom>
                <a:avLst/>
                <a:gdLst>
                  <a:gd name="T0" fmla="*/ 0 w 11"/>
                  <a:gd name="T1" fmla="*/ 1 h 10"/>
                  <a:gd name="T2" fmla="*/ 0 w 11"/>
                  <a:gd name="T3" fmla="*/ 1 h 10"/>
                  <a:gd name="T4" fmla="*/ 0 w 11"/>
                  <a:gd name="T5" fmla="*/ 1 h 10"/>
                  <a:gd name="T6" fmla="*/ 0 w 11"/>
                  <a:gd name="T7" fmla="*/ 1 h 10"/>
                  <a:gd name="T8" fmla="*/ 0 w 11"/>
                  <a:gd name="T9" fmla="*/ 0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10"/>
                    </a:moveTo>
                    <a:lnTo>
                      <a:pt x="0" y="10"/>
                    </a:lnTo>
                    <a:lnTo>
                      <a:pt x="0" y="5"/>
                    </a:lnTo>
                    <a:lnTo>
                      <a:pt x="11" y="5"/>
                    </a:lnTo>
                    <a:lnTo>
                      <a:pt x="6" y="0"/>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63" name="Freeform 1944"/>
              <p:cNvSpPr>
                <a:spLocks/>
              </p:cNvSpPr>
              <p:nvPr/>
            </p:nvSpPr>
            <p:spPr bwMode="auto">
              <a:xfrm>
                <a:off x="3860" y="1588"/>
                <a:ext cx="5" cy="5"/>
              </a:xfrm>
              <a:custGeom>
                <a:avLst/>
                <a:gdLst>
                  <a:gd name="T0" fmla="*/ 0 w 11"/>
                  <a:gd name="T1" fmla="*/ 1 h 10"/>
                  <a:gd name="T2" fmla="*/ 0 w 11"/>
                  <a:gd name="T3" fmla="*/ 0 h 10"/>
                  <a:gd name="T4" fmla="*/ 0 w 11"/>
                  <a:gd name="T5" fmla="*/ 0 h 10"/>
                  <a:gd name="T6" fmla="*/ 0 w 11"/>
                  <a:gd name="T7" fmla="*/ 1 h 10"/>
                  <a:gd name="T8" fmla="*/ 0 w 11"/>
                  <a:gd name="T9" fmla="*/ 1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0" y="0"/>
                    </a:lnTo>
                    <a:lnTo>
                      <a:pt x="6" y="0"/>
                    </a:lnTo>
                    <a:lnTo>
                      <a:pt x="6" y="10"/>
                    </a:lnTo>
                    <a:lnTo>
                      <a:pt x="11" y="5"/>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64" name="Freeform 1945"/>
              <p:cNvSpPr>
                <a:spLocks/>
              </p:cNvSpPr>
              <p:nvPr/>
            </p:nvSpPr>
            <p:spPr bwMode="auto">
              <a:xfrm>
                <a:off x="3905" y="1596"/>
                <a:ext cx="34" cy="33"/>
              </a:xfrm>
              <a:custGeom>
                <a:avLst/>
                <a:gdLst>
                  <a:gd name="T0" fmla="*/ 3 w 66"/>
                  <a:gd name="T1" fmla="*/ 0 h 67"/>
                  <a:gd name="T2" fmla="*/ 2 w 66"/>
                  <a:gd name="T3" fmla="*/ 0 h 67"/>
                  <a:gd name="T4" fmla="*/ 0 w 66"/>
                  <a:gd name="T5" fmla="*/ 1 h 67"/>
                  <a:gd name="T6" fmla="*/ 1 w 66"/>
                  <a:gd name="T7" fmla="*/ 2 h 67"/>
                  <a:gd name="T8" fmla="*/ 3 w 66"/>
                  <a:gd name="T9" fmla="*/ 0 h 67"/>
                  <a:gd name="T10" fmla="*/ 0 60000 65536"/>
                  <a:gd name="T11" fmla="*/ 0 60000 65536"/>
                  <a:gd name="T12" fmla="*/ 0 60000 65536"/>
                  <a:gd name="T13" fmla="*/ 0 60000 65536"/>
                  <a:gd name="T14" fmla="*/ 0 60000 65536"/>
                  <a:gd name="T15" fmla="*/ 0 w 66"/>
                  <a:gd name="T16" fmla="*/ 0 h 67"/>
                  <a:gd name="T17" fmla="*/ 66 w 66"/>
                  <a:gd name="T18" fmla="*/ 67 h 67"/>
                </a:gdLst>
                <a:ahLst/>
                <a:cxnLst>
                  <a:cxn ang="T10">
                    <a:pos x="T0" y="T1"/>
                  </a:cxn>
                  <a:cxn ang="T11">
                    <a:pos x="T2" y="T3"/>
                  </a:cxn>
                  <a:cxn ang="T12">
                    <a:pos x="T4" y="T5"/>
                  </a:cxn>
                  <a:cxn ang="T13">
                    <a:pos x="T6" y="T7"/>
                  </a:cxn>
                  <a:cxn ang="T14">
                    <a:pos x="T8" y="T9"/>
                  </a:cxn>
                </a:cxnLst>
                <a:rect l="T15" t="T16" r="T17" b="T18"/>
                <a:pathLst>
                  <a:path w="66" h="67">
                    <a:moveTo>
                      <a:pt x="66" y="13"/>
                    </a:moveTo>
                    <a:lnTo>
                      <a:pt x="54" y="0"/>
                    </a:lnTo>
                    <a:lnTo>
                      <a:pt x="0" y="54"/>
                    </a:lnTo>
                    <a:lnTo>
                      <a:pt x="12" y="67"/>
                    </a:lnTo>
                    <a:lnTo>
                      <a:pt x="6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65" name="Rectangle 1946"/>
              <p:cNvSpPr>
                <a:spLocks noChangeArrowheads="1"/>
              </p:cNvSpPr>
              <p:nvPr/>
            </p:nvSpPr>
            <p:spPr bwMode="auto">
              <a:xfrm>
                <a:off x="3909" y="1621"/>
                <a:ext cx="29" cy="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66" name="Freeform 1947"/>
              <p:cNvSpPr>
                <a:spLocks/>
              </p:cNvSpPr>
              <p:nvPr/>
            </p:nvSpPr>
            <p:spPr bwMode="auto">
              <a:xfrm>
                <a:off x="3898" y="1621"/>
                <a:ext cx="14" cy="9"/>
              </a:xfrm>
              <a:custGeom>
                <a:avLst/>
                <a:gdLst>
                  <a:gd name="T0" fmla="*/ 1 w 26"/>
                  <a:gd name="T1" fmla="*/ 1 h 17"/>
                  <a:gd name="T2" fmla="*/ 0 w 26"/>
                  <a:gd name="T3" fmla="*/ 1 h 17"/>
                  <a:gd name="T4" fmla="*/ 1 w 26"/>
                  <a:gd name="T5" fmla="*/ 1 h 17"/>
                  <a:gd name="T6" fmla="*/ 1 w 26"/>
                  <a:gd name="T7" fmla="*/ 0 h 17"/>
                  <a:gd name="T8" fmla="*/ 1 w 26"/>
                  <a:gd name="T9" fmla="*/ 1 h 17"/>
                  <a:gd name="T10" fmla="*/ 1 w 26"/>
                  <a:gd name="T11" fmla="*/ 1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14" y="3"/>
                    </a:moveTo>
                    <a:lnTo>
                      <a:pt x="0" y="17"/>
                    </a:lnTo>
                    <a:lnTo>
                      <a:pt x="21" y="17"/>
                    </a:lnTo>
                    <a:lnTo>
                      <a:pt x="21" y="0"/>
                    </a:lnTo>
                    <a:lnTo>
                      <a:pt x="26" y="16"/>
                    </a:lnTo>
                    <a:lnTo>
                      <a:pt x="1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67" name="Freeform 1948"/>
              <p:cNvSpPr>
                <a:spLocks/>
              </p:cNvSpPr>
              <p:nvPr/>
            </p:nvSpPr>
            <p:spPr bwMode="auto">
              <a:xfrm>
                <a:off x="3913" y="1623"/>
                <a:ext cx="27" cy="27"/>
              </a:xfrm>
              <a:custGeom>
                <a:avLst/>
                <a:gdLst>
                  <a:gd name="T0" fmla="*/ 2 w 54"/>
                  <a:gd name="T1" fmla="*/ 1 h 54"/>
                  <a:gd name="T2" fmla="*/ 2 w 54"/>
                  <a:gd name="T3" fmla="*/ 0 h 54"/>
                  <a:gd name="T4" fmla="*/ 0 w 54"/>
                  <a:gd name="T5" fmla="*/ 2 h 54"/>
                  <a:gd name="T6" fmla="*/ 1 w 54"/>
                  <a:gd name="T7" fmla="*/ 2 h 54"/>
                  <a:gd name="T8" fmla="*/ 2 w 54"/>
                  <a:gd name="T9" fmla="*/ 1 h 54"/>
                  <a:gd name="T10" fmla="*/ 0 60000 65536"/>
                  <a:gd name="T11" fmla="*/ 0 60000 65536"/>
                  <a:gd name="T12" fmla="*/ 0 60000 65536"/>
                  <a:gd name="T13" fmla="*/ 0 60000 65536"/>
                  <a:gd name="T14" fmla="*/ 0 60000 65536"/>
                  <a:gd name="T15" fmla="*/ 0 w 54"/>
                  <a:gd name="T16" fmla="*/ 0 h 54"/>
                  <a:gd name="T17" fmla="*/ 54 w 54"/>
                  <a:gd name="T18" fmla="*/ 54 h 54"/>
                </a:gdLst>
                <a:ahLst/>
                <a:cxnLst>
                  <a:cxn ang="T10">
                    <a:pos x="T0" y="T1"/>
                  </a:cxn>
                  <a:cxn ang="T11">
                    <a:pos x="T2" y="T3"/>
                  </a:cxn>
                  <a:cxn ang="T12">
                    <a:pos x="T4" y="T5"/>
                  </a:cxn>
                  <a:cxn ang="T13">
                    <a:pos x="T6" y="T7"/>
                  </a:cxn>
                  <a:cxn ang="T14">
                    <a:pos x="T8" y="T9"/>
                  </a:cxn>
                </a:cxnLst>
                <a:rect l="T15" t="T16" r="T17" b="T18"/>
                <a:pathLst>
                  <a:path w="54" h="54">
                    <a:moveTo>
                      <a:pt x="54" y="13"/>
                    </a:moveTo>
                    <a:lnTo>
                      <a:pt x="41" y="0"/>
                    </a:lnTo>
                    <a:lnTo>
                      <a:pt x="0" y="42"/>
                    </a:lnTo>
                    <a:lnTo>
                      <a:pt x="12" y="54"/>
                    </a:lnTo>
                    <a:lnTo>
                      <a:pt x="5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68" name="Freeform 1949"/>
              <p:cNvSpPr>
                <a:spLocks/>
              </p:cNvSpPr>
              <p:nvPr/>
            </p:nvSpPr>
            <p:spPr bwMode="auto">
              <a:xfrm>
                <a:off x="3934" y="1621"/>
                <a:ext cx="14" cy="9"/>
              </a:xfrm>
              <a:custGeom>
                <a:avLst/>
                <a:gdLst>
                  <a:gd name="T0" fmla="*/ 1 w 28"/>
                  <a:gd name="T1" fmla="*/ 0 h 17"/>
                  <a:gd name="T2" fmla="*/ 1 w 28"/>
                  <a:gd name="T3" fmla="*/ 0 h 17"/>
                  <a:gd name="T4" fmla="*/ 1 w 28"/>
                  <a:gd name="T5" fmla="*/ 1 h 17"/>
                  <a:gd name="T6" fmla="*/ 0 w 28"/>
                  <a:gd name="T7" fmla="*/ 1 h 17"/>
                  <a:gd name="T8" fmla="*/ 1 w 28"/>
                  <a:gd name="T9" fmla="*/ 1 h 17"/>
                  <a:gd name="T10" fmla="*/ 1 w 28"/>
                  <a:gd name="T11" fmla="*/ 0 h 17"/>
                  <a:gd name="T12" fmla="*/ 0 60000 65536"/>
                  <a:gd name="T13" fmla="*/ 0 60000 65536"/>
                  <a:gd name="T14" fmla="*/ 0 60000 65536"/>
                  <a:gd name="T15" fmla="*/ 0 60000 65536"/>
                  <a:gd name="T16" fmla="*/ 0 60000 65536"/>
                  <a:gd name="T17" fmla="*/ 0 60000 65536"/>
                  <a:gd name="T18" fmla="*/ 0 w 28"/>
                  <a:gd name="T19" fmla="*/ 0 h 17"/>
                  <a:gd name="T20" fmla="*/ 28 w 28"/>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8" h="17">
                    <a:moveTo>
                      <a:pt x="7" y="0"/>
                    </a:moveTo>
                    <a:lnTo>
                      <a:pt x="28" y="0"/>
                    </a:lnTo>
                    <a:lnTo>
                      <a:pt x="13" y="16"/>
                    </a:lnTo>
                    <a:lnTo>
                      <a:pt x="0" y="3"/>
                    </a:lnTo>
                    <a:lnTo>
                      <a:pt x="7" y="17"/>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69" name="Freeform 1950"/>
              <p:cNvSpPr>
                <a:spLocks/>
              </p:cNvSpPr>
              <p:nvPr/>
            </p:nvSpPr>
            <p:spPr bwMode="auto">
              <a:xfrm>
                <a:off x="3901" y="1639"/>
                <a:ext cx="24" cy="23"/>
              </a:xfrm>
              <a:custGeom>
                <a:avLst/>
                <a:gdLst>
                  <a:gd name="T0" fmla="*/ 2 w 47"/>
                  <a:gd name="T1" fmla="*/ 1 h 45"/>
                  <a:gd name="T2" fmla="*/ 1 w 47"/>
                  <a:gd name="T3" fmla="*/ 0 h 45"/>
                  <a:gd name="T4" fmla="*/ 0 w 47"/>
                  <a:gd name="T5" fmla="*/ 2 h 45"/>
                  <a:gd name="T6" fmla="*/ 2 w 47"/>
                  <a:gd name="T7" fmla="*/ 1 h 45"/>
                  <a:gd name="T8" fmla="*/ 0 60000 65536"/>
                  <a:gd name="T9" fmla="*/ 0 60000 65536"/>
                  <a:gd name="T10" fmla="*/ 0 60000 65536"/>
                  <a:gd name="T11" fmla="*/ 0 60000 65536"/>
                  <a:gd name="T12" fmla="*/ 0 w 47"/>
                  <a:gd name="T13" fmla="*/ 0 h 45"/>
                  <a:gd name="T14" fmla="*/ 47 w 47"/>
                  <a:gd name="T15" fmla="*/ 45 h 45"/>
                </a:gdLst>
                <a:ahLst/>
                <a:cxnLst>
                  <a:cxn ang="T8">
                    <a:pos x="T0" y="T1"/>
                  </a:cxn>
                  <a:cxn ang="T9">
                    <a:pos x="T2" y="T3"/>
                  </a:cxn>
                  <a:cxn ang="T10">
                    <a:pos x="T4" y="T5"/>
                  </a:cxn>
                  <a:cxn ang="T11">
                    <a:pos x="T6" y="T7"/>
                  </a:cxn>
                </a:cxnLst>
                <a:rect l="T12" t="T13" r="T14" b="T15"/>
                <a:pathLst>
                  <a:path w="47" h="45">
                    <a:moveTo>
                      <a:pt x="47" y="26"/>
                    </a:moveTo>
                    <a:lnTo>
                      <a:pt x="19" y="0"/>
                    </a:lnTo>
                    <a:lnTo>
                      <a:pt x="0" y="45"/>
                    </a:lnTo>
                    <a:lnTo>
                      <a:pt x="4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grpSp>
          <p:nvGrpSpPr>
            <p:cNvPr id="706" name="Group 1951"/>
            <p:cNvGrpSpPr>
              <a:grpSpLocks/>
            </p:cNvGrpSpPr>
            <p:nvPr/>
          </p:nvGrpSpPr>
          <p:grpSpPr bwMode="auto">
            <a:xfrm>
              <a:off x="1582738" y="5186441"/>
              <a:ext cx="100013" cy="104775"/>
              <a:chOff x="2243" y="1799"/>
              <a:chExt cx="97" cy="98"/>
            </a:xfrm>
          </p:grpSpPr>
          <p:sp>
            <p:nvSpPr>
              <p:cNvPr id="847" name="Oval 1952"/>
              <p:cNvSpPr>
                <a:spLocks noChangeArrowheads="1"/>
              </p:cNvSpPr>
              <p:nvPr/>
            </p:nvSpPr>
            <p:spPr bwMode="auto">
              <a:xfrm>
                <a:off x="2244" y="1800"/>
                <a:ext cx="96" cy="97"/>
              </a:xfrm>
              <a:prstGeom prst="ellipse">
                <a:avLst/>
              </a:prstGeom>
              <a:solidFill>
                <a:srgbClr val="C5101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48" name="Oval 1953"/>
              <p:cNvSpPr>
                <a:spLocks noChangeArrowheads="1"/>
              </p:cNvSpPr>
              <p:nvPr/>
            </p:nvSpPr>
            <p:spPr bwMode="auto">
              <a:xfrm>
                <a:off x="2243" y="1799"/>
                <a:ext cx="97" cy="98"/>
              </a:xfrm>
              <a:prstGeom prst="ellipse">
                <a:avLst/>
              </a:pr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49" name="Freeform 1954"/>
              <p:cNvSpPr>
                <a:spLocks/>
              </p:cNvSpPr>
              <p:nvPr/>
            </p:nvSpPr>
            <p:spPr bwMode="auto">
              <a:xfrm>
                <a:off x="2275" y="1810"/>
                <a:ext cx="38" cy="36"/>
              </a:xfrm>
              <a:custGeom>
                <a:avLst/>
                <a:gdLst>
                  <a:gd name="T0" fmla="*/ 3 w 75"/>
                  <a:gd name="T1" fmla="*/ 0 h 73"/>
                  <a:gd name="T2" fmla="*/ 2 w 75"/>
                  <a:gd name="T3" fmla="*/ 0 h 73"/>
                  <a:gd name="T4" fmla="*/ 0 w 75"/>
                  <a:gd name="T5" fmla="*/ 1 h 73"/>
                  <a:gd name="T6" fmla="*/ 1 w 75"/>
                  <a:gd name="T7" fmla="*/ 2 h 73"/>
                  <a:gd name="T8" fmla="*/ 3 w 75"/>
                  <a:gd name="T9" fmla="*/ 0 h 73"/>
                  <a:gd name="T10" fmla="*/ 0 60000 65536"/>
                  <a:gd name="T11" fmla="*/ 0 60000 65536"/>
                  <a:gd name="T12" fmla="*/ 0 60000 65536"/>
                  <a:gd name="T13" fmla="*/ 0 60000 65536"/>
                  <a:gd name="T14" fmla="*/ 0 60000 65536"/>
                  <a:gd name="T15" fmla="*/ 0 w 75"/>
                  <a:gd name="T16" fmla="*/ 0 h 73"/>
                  <a:gd name="T17" fmla="*/ 75 w 75"/>
                  <a:gd name="T18" fmla="*/ 73 h 73"/>
                </a:gdLst>
                <a:ahLst/>
                <a:cxnLst>
                  <a:cxn ang="T10">
                    <a:pos x="T0" y="T1"/>
                  </a:cxn>
                  <a:cxn ang="T11">
                    <a:pos x="T2" y="T3"/>
                  </a:cxn>
                  <a:cxn ang="T12">
                    <a:pos x="T4" y="T5"/>
                  </a:cxn>
                  <a:cxn ang="T13">
                    <a:pos x="T6" y="T7"/>
                  </a:cxn>
                  <a:cxn ang="T14">
                    <a:pos x="T8" y="T9"/>
                  </a:cxn>
                </a:cxnLst>
                <a:rect l="T15" t="T16" r="T17" b="T18"/>
                <a:pathLst>
                  <a:path w="75" h="73">
                    <a:moveTo>
                      <a:pt x="75" y="14"/>
                    </a:moveTo>
                    <a:lnTo>
                      <a:pt x="61" y="0"/>
                    </a:lnTo>
                    <a:lnTo>
                      <a:pt x="0" y="59"/>
                    </a:lnTo>
                    <a:lnTo>
                      <a:pt x="14" y="73"/>
                    </a:lnTo>
                    <a:lnTo>
                      <a:pt x="7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50" name="Rectangle 1955"/>
              <p:cNvSpPr>
                <a:spLocks noChangeArrowheads="1"/>
              </p:cNvSpPr>
              <p:nvPr/>
            </p:nvSpPr>
            <p:spPr bwMode="auto">
              <a:xfrm>
                <a:off x="2279" y="1838"/>
                <a:ext cx="32" cy="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51" name="Freeform 1956"/>
              <p:cNvSpPr>
                <a:spLocks/>
              </p:cNvSpPr>
              <p:nvPr/>
            </p:nvSpPr>
            <p:spPr bwMode="auto">
              <a:xfrm>
                <a:off x="2266" y="1838"/>
                <a:ext cx="16" cy="10"/>
              </a:xfrm>
              <a:custGeom>
                <a:avLst/>
                <a:gdLst>
                  <a:gd name="T0" fmla="*/ 1 w 31"/>
                  <a:gd name="T1" fmla="*/ 1 h 19"/>
                  <a:gd name="T2" fmla="*/ 0 w 31"/>
                  <a:gd name="T3" fmla="*/ 1 h 19"/>
                  <a:gd name="T4" fmla="*/ 1 w 31"/>
                  <a:gd name="T5" fmla="*/ 1 h 19"/>
                  <a:gd name="T6" fmla="*/ 1 w 31"/>
                  <a:gd name="T7" fmla="*/ 0 h 19"/>
                  <a:gd name="T8" fmla="*/ 1 w 31"/>
                  <a:gd name="T9" fmla="*/ 1 h 19"/>
                  <a:gd name="T10" fmla="*/ 1 w 31"/>
                  <a:gd name="T11" fmla="*/ 1 h 19"/>
                  <a:gd name="T12" fmla="*/ 0 60000 65536"/>
                  <a:gd name="T13" fmla="*/ 0 60000 65536"/>
                  <a:gd name="T14" fmla="*/ 0 60000 65536"/>
                  <a:gd name="T15" fmla="*/ 0 60000 65536"/>
                  <a:gd name="T16" fmla="*/ 0 60000 65536"/>
                  <a:gd name="T17" fmla="*/ 0 60000 65536"/>
                  <a:gd name="T18" fmla="*/ 0 w 31"/>
                  <a:gd name="T19" fmla="*/ 0 h 19"/>
                  <a:gd name="T20" fmla="*/ 31 w 3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1" h="19">
                    <a:moveTo>
                      <a:pt x="17" y="1"/>
                    </a:moveTo>
                    <a:lnTo>
                      <a:pt x="0" y="19"/>
                    </a:lnTo>
                    <a:lnTo>
                      <a:pt x="24" y="19"/>
                    </a:lnTo>
                    <a:lnTo>
                      <a:pt x="24" y="0"/>
                    </a:lnTo>
                    <a:lnTo>
                      <a:pt x="31" y="15"/>
                    </a:lnTo>
                    <a:lnTo>
                      <a:pt x="1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52" name="Freeform 1957"/>
              <p:cNvSpPr>
                <a:spLocks/>
              </p:cNvSpPr>
              <p:nvPr/>
            </p:nvSpPr>
            <p:spPr bwMode="auto">
              <a:xfrm>
                <a:off x="2284" y="1839"/>
                <a:ext cx="30" cy="30"/>
              </a:xfrm>
              <a:custGeom>
                <a:avLst/>
                <a:gdLst>
                  <a:gd name="T0" fmla="*/ 1 w 61"/>
                  <a:gd name="T1" fmla="*/ 1 h 60"/>
                  <a:gd name="T2" fmla="*/ 1 w 61"/>
                  <a:gd name="T3" fmla="*/ 0 h 60"/>
                  <a:gd name="T4" fmla="*/ 0 w 61"/>
                  <a:gd name="T5" fmla="*/ 2 h 60"/>
                  <a:gd name="T6" fmla="*/ 0 w 61"/>
                  <a:gd name="T7" fmla="*/ 2 h 60"/>
                  <a:gd name="T8" fmla="*/ 1 w 61"/>
                  <a:gd name="T9" fmla="*/ 1 h 60"/>
                  <a:gd name="T10" fmla="*/ 0 60000 65536"/>
                  <a:gd name="T11" fmla="*/ 0 60000 65536"/>
                  <a:gd name="T12" fmla="*/ 0 60000 65536"/>
                  <a:gd name="T13" fmla="*/ 0 60000 65536"/>
                  <a:gd name="T14" fmla="*/ 0 60000 65536"/>
                  <a:gd name="T15" fmla="*/ 0 w 61"/>
                  <a:gd name="T16" fmla="*/ 0 h 60"/>
                  <a:gd name="T17" fmla="*/ 61 w 61"/>
                  <a:gd name="T18" fmla="*/ 60 h 60"/>
                </a:gdLst>
                <a:ahLst/>
                <a:cxnLst>
                  <a:cxn ang="T10">
                    <a:pos x="T0" y="T1"/>
                  </a:cxn>
                  <a:cxn ang="T11">
                    <a:pos x="T2" y="T3"/>
                  </a:cxn>
                  <a:cxn ang="T12">
                    <a:pos x="T4" y="T5"/>
                  </a:cxn>
                  <a:cxn ang="T13">
                    <a:pos x="T6" y="T7"/>
                  </a:cxn>
                  <a:cxn ang="T14">
                    <a:pos x="T8" y="T9"/>
                  </a:cxn>
                </a:cxnLst>
                <a:rect l="T15" t="T16" r="T17" b="T18"/>
                <a:pathLst>
                  <a:path w="61" h="60">
                    <a:moveTo>
                      <a:pt x="61" y="14"/>
                    </a:moveTo>
                    <a:lnTo>
                      <a:pt x="47" y="0"/>
                    </a:lnTo>
                    <a:lnTo>
                      <a:pt x="0" y="46"/>
                    </a:lnTo>
                    <a:lnTo>
                      <a:pt x="14" y="60"/>
                    </a:lnTo>
                    <a:lnTo>
                      <a:pt x="6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53" name="Freeform 1958"/>
              <p:cNvSpPr>
                <a:spLocks/>
              </p:cNvSpPr>
              <p:nvPr/>
            </p:nvSpPr>
            <p:spPr bwMode="auto">
              <a:xfrm>
                <a:off x="2307" y="1838"/>
                <a:ext cx="15" cy="10"/>
              </a:xfrm>
              <a:custGeom>
                <a:avLst/>
                <a:gdLst>
                  <a:gd name="T0" fmla="*/ 1 w 29"/>
                  <a:gd name="T1" fmla="*/ 0 h 19"/>
                  <a:gd name="T2" fmla="*/ 1 w 29"/>
                  <a:gd name="T3" fmla="*/ 0 h 19"/>
                  <a:gd name="T4" fmla="*/ 1 w 29"/>
                  <a:gd name="T5" fmla="*/ 1 h 19"/>
                  <a:gd name="T6" fmla="*/ 0 w 29"/>
                  <a:gd name="T7" fmla="*/ 1 h 19"/>
                  <a:gd name="T8" fmla="*/ 1 w 29"/>
                  <a:gd name="T9" fmla="*/ 1 h 19"/>
                  <a:gd name="T10" fmla="*/ 1 w 29"/>
                  <a:gd name="T11" fmla="*/ 0 h 19"/>
                  <a:gd name="T12" fmla="*/ 0 60000 65536"/>
                  <a:gd name="T13" fmla="*/ 0 60000 65536"/>
                  <a:gd name="T14" fmla="*/ 0 60000 65536"/>
                  <a:gd name="T15" fmla="*/ 0 60000 65536"/>
                  <a:gd name="T16" fmla="*/ 0 60000 65536"/>
                  <a:gd name="T17" fmla="*/ 0 60000 65536"/>
                  <a:gd name="T18" fmla="*/ 0 w 29"/>
                  <a:gd name="T19" fmla="*/ 0 h 19"/>
                  <a:gd name="T20" fmla="*/ 29 w 2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9" h="19">
                    <a:moveTo>
                      <a:pt x="7" y="0"/>
                    </a:moveTo>
                    <a:lnTo>
                      <a:pt x="29" y="0"/>
                    </a:lnTo>
                    <a:lnTo>
                      <a:pt x="14" y="15"/>
                    </a:lnTo>
                    <a:lnTo>
                      <a:pt x="0" y="1"/>
                    </a:lnTo>
                    <a:lnTo>
                      <a:pt x="7" y="1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54" name="Freeform 1959"/>
              <p:cNvSpPr>
                <a:spLocks/>
              </p:cNvSpPr>
              <p:nvPr/>
            </p:nvSpPr>
            <p:spPr bwMode="auto">
              <a:xfrm>
                <a:off x="2271" y="1857"/>
                <a:ext cx="25" cy="24"/>
              </a:xfrm>
              <a:custGeom>
                <a:avLst/>
                <a:gdLst>
                  <a:gd name="T0" fmla="*/ 2 w 50"/>
                  <a:gd name="T1" fmla="*/ 0 h 49"/>
                  <a:gd name="T2" fmla="*/ 1 w 50"/>
                  <a:gd name="T3" fmla="*/ 0 h 49"/>
                  <a:gd name="T4" fmla="*/ 0 w 50"/>
                  <a:gd name="T5" fmla="*/ 1 h 49"/>
                  <a:gd name="T6" fmla="*/ 2 w 50"/>
                  <a:gd name="T7" fmla="*/ 0 h 49"/>
                  <a:gd name="T8" fmla="*/ 0 60000 65536"/>
                  <a:gd name="T9" fmla="*/ 0 60000 65536"/>
                  <a:gd name="T10" fmla="*/ 0 60000 65536"/>
                  <a:gd name="T11" fmla="*/ 0 60000 65536"/>
                  <a:gd name="T12" fmla="*/ 0 w 50"/>
                  <a:gd name="T13" fmla="*/ 0 h 49"/>
                  <a:gd name="T14" fmla="*/ 50 w 50"/>
                  <a:gd name="T15" fmla="*/ 49 h 49"/>
                </a:gdLst>
                <a:ahLst/>
                <a:cxnLst>
                  <a:cxn ang="T8">
                    <a:pos x="T0" y="T1"/>
                  </a:cxn>
                  <a:cxn ang="T9">
                    <a:pos x="T2" y="T3"/>
                  </a:cxn>
                  <a:cxn ang="T10">
                    <a:pos x="T4" y="T5"/>
                  </a:cxn>
                  <a:cxn ang="T11">
                    <a:pos x="T6" y="T7"/>
                  </a:cxn>
                </a:cxnLst>
                <a:rect l="T12" t="T13" r="T14" b="T15"/>
                <a:pathLst>
                  <a:path w="50" h="49">
                    <a:moveTo>
                      <a:pt x="50" y="30"/>
                    </a:moveTo>
                    <a:lnTo>
                      <a:pt x="21" y="0"/>
                    </a:lnTo>
                    <a:lnTo>
                      <a:pt x="0" y="49"/>
                    </a:lnTo>
                    <a:lnTo>
                      <a:pt x="5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707" name="Text Box 1960"/>
            <p:cNvSpPr txBox="1">
              <a:spLocks noChangeArrowheads="1"/>
            </p:cNvSpPr>
            <p:nvPr/>
          </p:nvSpPr>
          <p:spPr bwMode="auto">
            <a:xfrm>
              <a:off x="1452563" y="5302328"/>
              <a:ext cx="422275" cy="101600"/>
            </a:xfrm>
            <a:prstGeom prst="rect">
              <a:avLst/>
            </a:prstGeom>
            <a:solidFill>
              <a:srgbClr val="FFFF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 Weisweiler </a:t>
              </a:r>
            </a:p>
          </p:txBody>
        </p:sp>
        <p:grpSp>
          <p:nvGrpSpPr>
            <p:cNvPr id="708" name="Group 1961"/>
            <p:cNvGrpSpPr>
              <a:grpSpLocks/>
            </p:cNvGrpSpPr>
            <p:nvPr/>
          </p:nvGrpSpPr>
          <p:grpSpPr bwMode="auto">
            <a:xfrm>
              <a:off x="6040438" y="4780041"/>
              <a:ext cx="153988" cy="100013"/>
              <a:chOff x="3860" y="1588"/>
              <a:chExt cx="126" cy="82"/>
            </a:xfrm>
          </p:grpSpPr>
          <p:sp>
            <p:nvSpPr>
              <p:cNvPr id="832" name="Rectangle 1962"/>
              <p:cNvSpPr>
                <a:spLocks noChangeArrowheads="1"/>
              </p:cNvSpPr>
              <p:nvPr/>
            </p:nvSpPr>
            <p:spPr bwMode="auto">
              <a:xfrm>
                <a:off x="3863" y="1590"/>
                <a:ext cx="122" cy="79"/>
              </a:xfrm>
              <a:prstGeom prst="rect">
                <a:avLst/>
              </a:prstGeom>
              <a:solidFill>
                <a:srgbClr val="C5101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33" name="Rectangle 1963"/>
              <p:cNvSpPr>
                <a:spLocks noChangeArrowheads="1"/>
              </p:cNvSpPr>
              <p:nvPr/>
            </p:nvSpPr>
            <p:spPr bwMode="auto">
              <a:xfrm>
                <a:off x="3863" y="1588"/>
                <a:ext cx="12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34" name="Rectangle 1964"/>
              <p:cNvSpPr>
                <a:spLocks noChangeArrowheads="1"/>
              </p:cNvSpPr>
              <p:nvPr/>
            </p:nvSpPr>
            <p:spPr bwMode="auto">
              <a:xfrm>
                <a:off x="3981" y="1590"/>
                <a:ext cx="5" cy="7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35" name="Freeform 1965"/>
              <p:cNvSpPr>
                <a:spLocks/>
              </p:cNvSpPr>
              <p:nvPr/>
            </p:nvSpPr>
            <p:spPr bwMode="auto">
              <a:xfrm>
                <a:off x="3981" y="1588"/>
                <a:ext cx="5" cy="5"/>
              </a:xfrm>
              <a:custGeom>
                <a:avLst/>
                <a:gdLst>
                  <a:gd name="T0" fmla="*/ 0 w 11"/>
                  <a:gd name="T1" fmla="*/ 0 h 10"/>
                  <a:gd name="T2" fmla="*/ 0 w 11"/>
                  <a:gd name="T3" fmla="*/ 0 h 10"/>
                  <a:gd name="T4" fmla="*/ 0 w 11"/>
                  <a:gd name="T5" fmla="*/ 1 h 10"/>
                  <a:gd name="T6" fmla="*/ 0 w 11"/>
                  <a:gd name="T7" fmla="*/ 1 h 10"/>
                  <a:gd name="T8" fmla="*/ 0 w 11"/>
                  <a:gd name="T9" fmla="*/ 1 h 10"/>
                  <a:gd name="T10" fmla="*/ 0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0"/>
                    </a:moveTo>
                    <a:lnTo>
                      <a:pt x="11" y="0"/>
                    </a:lnTo>
                    <a:lnTo>
                      <a:pt x="11" y="5"/>
                    </a:lnTo>
                    <a:lnTo>
                      <a:pt x="0" y="5"/>
                    </a:lnTo>
                    <a:lnTo>
                      <a:pt x="6" y="10"/>
                    </a:lnTo>
                    <a:lnTo>
                      <a:pt x="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6" name="Rectangle 1966"/>
              <p:cNvSpPr>
                <a:spLocks noChangeArrowheads="1"/>
              </p:cNvSpPr>
              <p:nvPr/>
            </p:nvSpPr>
            <p:spPr bwMode="auto">
              <a:xfrm>
                <a:off x="3863" y="1665"/>
                <a:ext cx="121"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37" name="Freeform 1967"/>
              <p:cNvSpPr>
                <a:spLocks/>
              </p:cNvSpPr>
              <p:nvPr/>
            </p:nvSpPr>
            <p:spPr bwMode="auto">
              <a:xfrm>
                <a:off x="3981" y="1665"/>
                <a:ext cx="5" cy="5"/>
              </a:xfrm>
              <a:custGeom>
                <a:avLst/>
                <a:gdLst>
                  <a:gd name="T0" fmla="*/ 0 w 11"/>
                  <a:gd name="T1" fmla="*/ 1 h 10"/>
                  <a:gd name="T2" fmla="*/ 0 w 11"/>
                  <a:gd name="T3" fmla="*/ 1 h 10"/>
                  <a:gd name="T4" fmla="*/ 0 w 11"/>
                  <a:gd name="T5" fmla="*/ 1 h 10"/>
                  <a:gd name="T6" fmla="*/ 0 w 11"/>
                  <a:gd name="T7" fmla="*/ 0 h 10"/>
                  <a:gd name="T8" fmla="*/ 0 w 11"/>
                  <a:gd name="T9" fmla="*/ 1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5"/>
                    </a:moveTo>
                    <a:lnTo>
                      <a:pt x="11" y="10"/>
                    </a:lnTo>
                    <a:lnTo>
                      <a:pt x="6" y="10"/>
                    </a:lnTo>
                    <a:lnTo>
                      <a:pt x="6" y="0"/>
                    </a:lnTo>
                    <a:lnTo>
                      <a:pt x="0" y="5"/>
                    </a:lnTo>
                    <a:lnTo>
                      <a:pt x="11"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8" name="Rectangle 1968"/>
              <p:cNvSpPr>
                <a:spLocks noChangeArrowheads="1"/>
              </p:cNvSpPr>
              <p:nvPr/>
            </p:nvSpPr>
            <p:spPr bwMode="auto">
              <a:xfrm>
                <a:off x="3860" y="1590"/>
                <a:ext cx="5" cy="7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39" name="Freeform 1969"/>
              <p:cNvSpPr>
                <a:spLocks/>
              </p:cNvSpPr>
              <p:nvPr/>
            </p:nvSpPr>
            <p:spPr bwMode="auto">
              <a:xfrm>
                <a:off x="3860" y="1665"/>
                <a:ext cx="5" cy="5"/>
              </a:xfrm>
              <a:custGeom>
                <a:avLst/>
                <a:gdLst>
                  <a:gd name="T0" fmla="*/ 0 w 11"/>
                  <a:gd name="T1" fmla="*/ 1 h 10"/>
                  <a:gd name="T2" fmla="*/ 0 w 11"/>
                  <a:gd name="T3" fmla="*/ 1 h 10"/>
                  <a:gd name="T4" fmla="*/ 0 w 11"/>
                  <a:gd name="T5" fmla="*/ 1 h 10"/>
                  <a:gd name="T6" fmla="*/ 0 w 11"/>
                  <a:gd name="T7" fmla="*/ 1 h 10"/>
                  <a:gd name="T8" fmla="*/ 0 w 11"/>
                  <a:gd name="T9" fmla="*/ 0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10"/>
                    </a:moveTo>
                    <a:lnTo>
                      <a:pt x="0" y="10"/>
                    </a:lnTo>
                    <a:lnTo>
                      <a:pt x="0" y="5"/>
                    </a:lnTo>
                    <a:lnTo>
                      <a:pt x="11" y="5"/>
                    </a:lnTo>
                    <a:lnTo>
                      <a:pt x="6" y="0"/>
                    </a:lnTo>
                    <a:lnTo>
                      <a:pt x="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40" name="Freeform 1970"/>
              <p:cNvSpPr>
                <a:spLocks/>
              </p:cNvSpPr>
              <p:nvPr/>
            </p:nvSpPr>
            <p:spPr bwMode="auto">
              <a:xfrm>
                <a:off x="3860" y="1588"/>
                <a:ext cx="5" cy="5"/>
              </a:xfrm>
              <a:custGeom>
                <a:avLst/>
                <a:gdLst>
                  <a:gd name="T0" fmla="*/ 0 w 11"/>
                  <a:gd name="T1" fmla="*/ 1 h 10"/>
                  <a:gd name="T2" fmla="*/ 0 w 11"/>
                  <a:gd name="T3" fmla="*/ 0 h 10"/>
                  <a:gd name="T4" fmla="*/ 0 w 11"/>
                  <a:gd name="T5" fmla="*/ 0 h 10"/>
                  <a:gd name="T6" fmla="*/ 0 w 11"/>
                  <a:gd name="T7" fmla="*/ 1 h 10"/>
                  <a:gd name="T8" fmla="*/ 0 w 11"/>
                  <a:gd name="T9" fmla="*/ 1 h 10"/>
                  <a:gd name="T10" fmla="*/ 0 w 11"/>
                  <a:gd name="T11" fmla="*/ 1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5"/>
                    </a:moveTo>
                    <a:lnTo>
                      <a:pt x="0" y="0"/>
                    </a:lnTo>
                    <a:lnTo>
                      <a:pt x="6" y="0"/>
                    </a:lnTo>
                    <a:lnTo>
                      <a:pt x="6" y="10"/>
                    </a:lnTo>
                    <a:lnTo>
                      <a:pt x="11" y="5"/>
                    </a:lnTo>
                    <a:lnTo>
                      <a:pt x="0"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41" name="Freeform 1971"/>
              <p:cNvSpPr>
                <a:spLocks/>
              </p:cNvSpPr>
              <p:nvPr/>
            </p:nvSpPr>
            <p:spPr bwMode="auto">
              <a:xfrm>
                <a:off x="3905" y="1596"/>
                <a:ext cx="34" cy="33"/>
              </a:xfrm>
              <a:custGeom>
                <a:avLst/>
                <a:gdLst>
                  <a:gd name="T0" fmla="*/ 3 w 66"/>
                  <a:gd name="T1" fmla="*/ 0 h 67"/>
                  <a:gd name="T2" fmla="*/ 2 w 66"/>
                  <a:gd name="T3" fmla="*/ 0 h 67"/>
                  <a:gd name="T4" fmla="*/ 0 w 66"/>
                  <a:gd name="T5" fmla="*/ 1 h 67"/>
                  <a:gd name="T6" fmla="*/ 1 w 66"/>
                  <a:gd name="T7" fmla="*/ 2 h 67"/>
                  <a:gd name="T8" fmla="*/ 3 w 66"/>
                  <a:gd name="T9" fmla="*/ 0 h 67"/>
                  <a:gd name="T10" fmla="*/ 0 60000 65536"/>
                  <a:gd name="T11" fmla="*/ 0 60000 65536"/>
                  <a:gd name="T12" fmla="*/ 0 60000 65536"/>
                  <a:gd name="T13" fmla="*/ 0 60000 65536"/>
                  <a:gd name="T14" fmla="*/ 0 60000 65536"/>
                  <a:gd name="T15" fmla="*/ 0 w 66"/>
                  <a:gd name="T16" fmla="*/ 0 h 67"/>
                  <a:gd name="T17" fmla="*/ 66 w 66"/>
                  <a:gd name="T18" fmla="*/ 67 h 67"/>
                </a:gdLst>
                <a:ahLst/>
                <a:cxnLst>
                  <a:cxn ang="T10">
                    <a:pos x="T0" y="T1"/>
                  </a:cxn>
                  <a:cxn ang="T11">
                    <a:pos x="T2" y="T3"/>
                  </a:cxn>
                  <a:cxn ang="T12">
                    <a:pos x="T4" y="T5"/>
                  </a:cxn>
                  <a:cxn ang="T13">
                    <a:pos x="T6" y="T7"/>
                  </a:cxn>
                  <a:cxn ang="T14">
                    <a:pos x="T8" y="T9"/>
                  </a:cxn>
                </a:cxnLst>
                <a:rect l="T15" t="T16" r="T17" b="T18"/>
                <a:pathLst>
                  <a:path w="66" h="67">
                    <a:moveTo>
                      <a:pt x="66" y="13"/>
                    </a:moveTo>
                    <a:lnTo>
                      <a:pt x="54" y="0"/>
                    </a:lnTo>
                    <a:lnTo>
                      <a:pt x="0" y="54"/>
                    </a:lnTo>
                    <a:lnTo>
                      <a:pt x="12" y="67"/>
                    </a:lnTo>
                    <a:lnTo>
                      <a:pt x="66"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42" name="Rectangle 1972"/>
              <p:cNvSpPr>
                <a:spLocks noChangeArrowheads="1"/>
              </p:cNvSpPr>
              <p:nvPr/>
            </p:nvSpPr>
            <p:spPr bwMode="auto">
              <a:xfrm>
                <a:off x="3909" y="1621"/>
                <a:ext cx="29" cy="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43" name="Freeform 1973"/>
              <p:cNvSpPr>
                <a:spLocks/>
              </p:cNvSpPr>
              <p:nvPr/>
            </p:nvSpPr>
            <p:spPr bwMode="auto">
              <a:xfrm>
                <a:off x="3898" y="1621"/>
                <a:ext cx="14" cy="9"/>
              </a:xfrm>
              <a:custGeom>
                <a:avLst/>
                <a:gdLst>
                  <a:gd name="T0" fmla="*/ 1 w 26"/>
                  <a:gd name="T1" fmla="*/ 1 h 17"/>
                  <a:gd name="T2" fmla="*/ 0 w 26"/>
                  <a:gd name="T3" fmla="*/ 1 h 17"/>
                  <a:gd name="T4" fmla="*/ 1 w 26"/>
                  <a:gd name="T5" fmla="*/ 1 h 17"/>
                  <a:gd name="T6" fmla="*/ 1 w 26"/>
                  <a:gd name="T7" fmla="*/ 0 h 17"/>
                  <a:gd name="T8" fmla="*/ 1 w 26"/>
                  <a:gd name="T9" fmla="*/ 1 h 17"/>
                  <a:gd name="T10" fmla="*/ 1 w 26"/>
                  <a:gd name="T11" fmla="*/ 1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14" y="3"/>
                    </a:moveTo>
                    <a:lnTo>
                      <a:pt x="0" y="17"/>
                    </a:lnTo>
                    <a:lnTo>
                      <a:pt x="21" y="17"/>
                    </a:lnTo>
                    <a:lnTo>
                      <a:pt x="21" y="0"/>
                    </a:lnTo>
                    <a:lnTo>
                      <a:pt x="26" y="16"/>
                    </a:lnTo>
                    <a:lnTo>
                      <a:pt x="14"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44" name="Freeform 1974"/>
              <p:cNvSpPr>
                <a:spLocks/>
              </p:cNvSpPr>
              <p:nvPr/>
            </p:nvSpPr>
            <p:spPr bwMode="auto">
              <a:xfrm>
                <a:off x="3913" y="1623"/>
                <a:ext cx="27" cy="27"/>
              </a:xfrm>
              <a:custGeom>
                <a:avLst/>
                <a:gdLst>
                  <a:gd name="T0" fmla="*/ 2 w 54"/>
                  <a:gd name="T1" fmla="*/ 1 h 54"/>
                  <a:gd name="T2" fmla="*/ 2 w 54"/>
                  <a:gd name="T3" fmla="*/ 0 h 54"/>
                  <a:gd name="T4" fmla="*/ 0 w 54"/>
                  <a:gd name="T5" fmla="*/ 2 h 54"/>
                  <a:gd name="T6" fmla="*/ 1 w 54"/>
                  <a:gd name="T7" fmla="*/ 2 h 54"/>
                  <a:gd name="T8" fmla="*/ 2 w 54"/>
                  <a:gd name="T9" fmla="*/ 1 h 54"/>
                  <a:gd name="T10" fmla="*/ 0 60000 65536"/>
                  <a:gd name="T11" fmla="*/ 0 60000 65536"/>
                  <a:gd name="T12" fmla="*/ 0 60000 65536"/>
                  <a:gd name="T13" fmla="*/ 0 60000 65536"/>
                  <a:gd name="T14" fmla="*/ 0 60000 65536"/>
                  <a:gd name="T15" fmla="*/ 0 w 54"/>
                  <a:gd name="T16" fmla="*/ 0 h 54"/>
                  <a:gd name="T17" fmla="*/ 54 w 54"/>
                  <a:gd name="T18" fmla="*/ 54 h 54"/>
                </a:gdLst>
                <a:ahLst/>
                <a:cxnLst>
                  <a:cxn ang="T10">
                    <a:pos x="T0" y="T1"/>
                  </a:cxn>
                  <a:cxn ang="T11">
                    <a:pos x="T2" y="T3"/>
                  </a:cxn>
                  <a:cxn ang="T12">
                    <a:pos x="T4" y="T5"/>
                  </a:cxn>
                  <a:cxn ang="T13">
                    <a:pos x="T6" y="T7"/>
                  </a:cxn>
                  <a:cxn ang="T14">
                    <a:pos x="T8" y="T9"/>
                  </a:cxn>
                </a:cxnLst>
                <a:rect l="T15" t="T16" r="T17" b="T18"/>
                <a:pathLst>
                  <a:path w="54" h="54">
                    <a:moveTo>
                      <a:pt x="54" y="13"/>
                    </a:moveTo>
                    <a:lnTo>
                      <a:pt x="41" y="0"/>
                    </a:lnTo>
                    <a:lnTo>
                      <a:pt x="0" y="42"/>
                    </a:lnTo>
                    <a:lnTo>
                      <a:pt x="12" y="54"/>
                    </a:lnTo>
                    <a:lnTo>
                      <a:pt x="54"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45" name="Freeform 1975"/>
              <p:cNvSpPr>
                <a:spLocks/>
              </p:cNvSpPr>
              <p:nvPr/>
            </p:nvSpPr>
            <p:spPr bwMode="auto">
              <a:xfrm>
                <a:off x="3934" y="1621"/>
                <a:ext cx="14" cy="9"/>
              </a:xfrm>
              <a:custGeom>
                <a:avLst/>
                <a:gdLst>
                  <a:gd name="T0" fmla="*/ 1 w 28"/>
                  <a:gd name="T1" fmla="*/ 0 h 17"/>
                  <a:gd name="T2" fmla="*/ 1 w 28"/>
                  <a:gd name="T3" fmla="*/ 0 h 17"/>
                  <a:gd name="T4" fmla="*/ 1 w 28"/>
                  <a:gd name="T5" fmla="*/ 1 h 17"/>
                  <a:gd name="T6" fmla="*/ 0 w 28"/>
                  <a:gd name="T7" fmla="*/ 1 h 17"/>
                  <a:gd name="T8" fmla="*/ 1 w 28"/>
                  <a:gd name="T9" fmla="*/ 1 h 17"/>
                  <a:gd name="T10" fmla="*/ 1 w 28"/>
                  <a:gd name="T11" fmla="*/ 0 h 17"/>
                  <a:gd name="T12" fmla="*/ 0 60000 65536"/>
                  <a:gd name="T13" fmla="*/ 0 60000 65536"/>
                  <a:gd name="T14" fmla="*/ 0 60000 65536"/>
                  <a:gd name="T15" fmla="*/ 0 60000 65536"/>
                  <a:gd name="T16" fmla="*/ 0 60000 65536"/>
                  <a:gd name="T17" fmla="*/ 0 60000 65536"/>
                  <a:gd name="T18" fmla="*/ 0 w 28"/>
                  <a:gd name="T19" fmla="*/ 0 h 17"/>
                  <a:gd name="T20" fmla="*/ 28 w 28"/>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8" h="17">
                    <a:moveTo>
                      <a:pt x="7" y="0"/>
                    </a:moveTo>
                    <a:lnTo>
                      <a:pt x="28" y="0"/>
                    </a:lnTo>
                    <a:lnTo>
                      <a:pt x="13" y="16"/>
                    </a:lnTo>
                    <a:lnTo>
                      <a:pt x="0" y="3"/>
                    </a:lnTo>
                    <a:lnTo>
                      <a:pt x="7" y="17"/>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46" name="Freeform 1976"/>
              <p:cNvSpPr>
                <a:spLocks/>
              </p:cNvSpPr>
              <p:nvPr/>
            </p:nvSpPr>
            <p:spPr bwMode="auto">
              <a:xfrm>
                <a:off x="3901" y="1639"/>
                <a:ext cx="24" cy="23"/>
              </a:xfrm>
              <a:custGeom>
                <a:avLst/>
                <a:gdLst>
                  <a:gd name="T0" fmla="*/ 2 w 47"/>
                  <a:gd name="T1" fmla="*/ 1 h 45"/>
                  <a:gd name="T2" fmla="*/ 1 w 47"/>
                  <a:gd name="T3" fmla="*/ 0 h 45"/>
                  <a:gd name="T4" fmla="*/ 0 w 47"/>
                  <a:gd name="T5" fmla="*/ 2 h 45"/>
                  <a:gd name="T6" fmla="*/ 2 w 47"/>
                  <a:gd name="T7" fmla="*/ 1 h 45"/>
                  <a:gd name="T8" fmla="*/ 0 60000 65536"/>
                  <a:gd name="T9" fmla="*/ 0 60000 65536"/>
                  <a:gd name="T10" fmla="*/ 0 60000 65536"/>
                  <a:gd name="T11" fmla="*/ 0 60000 65536"/>
                  <a:gd name="T12" fmla="*/ 0 w 47"/>
                  <a:gd name="T13" fmla="*/ 0 h 45"/>
                  <a:gd name="T14" fmla="*/ 47 w 47"/>
                  <a:gd name="T15" fmla="*/ 45 h 45"/>
                </a:gdLst>
                <a:ahLst/>
                <a:cxnLst>
                  <a:cxn ang="T8">
                    <a:pos x="T0" y="T1"/>
                  </a:cxn>
                  <a:cxn ang="T9">
                    <a:pos x="T2" y="T3"/>
                  </a:cxn>
                  <a:cxn ang="T10">
                    <a:pos x="T4" y="T5"/>
                  </a:cxn>
                  <a:cxn ang="T11">
                    <a:pos x="T6" y="T7"/>
                  </a:cxn>
                </a:cxnLst>
                <a:rect l="T12" t="T13" r="T14" b="T15"/>
                <a:pathLst>
                  <a:path w="47" h="45">
                    <a:moveTo>
                      <a:pt x="47" y="26"/>
                    </a:moveTo>
                    <a:lnTo>
                      <a:pt x="19" y="0"/>
                    </a:lnTo>
                    <a:lnTo>
                      <a:pt x="0" y="45"/>
                    </a:lnTo>
                    <a:lnTo>
                      <a:pt x="4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709" name="Text Box 1977"/>
            <p:cNvSpPr txBox="1">
              <a:spLocks noChangeArrowheads="1"/>
            </p:cNvSpPr>
            <p:nvPr/>
          </p:nvSpPr>
          <p:spPr bwMode="auto">
            <a:xfrm>
              <a:off x="6200775" y="4772103"/>
              <a:ext cx="407163" cy="92333"/>
            </a:xfrm>
            <a:prstGeom prst="rect">
              <a:avLst/>
            </a:prstGeom>
            <a:solidFill>
              <a:srgbClr val="FFFF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 Berrenrath </a:t>
              </a:r>
            </a:p>
          </p:txBody>
        </p:sp>
        <p:grpSp>
          <p:nvGrpSpPr>
            <p:cNvPr id="710" name="Group 1978"/>
            <p:cNvGrpSpPr>
              <a:grpSpLocks/>
            </p:cNvGrpSpPr>
            <p:nvPr/>
          </p:nvGrpSpPr>
          <p:grpSpPr bwMode="auto">
            <a:xfrm>
              <a:off x="6080125" y="4891166"/>
              <a:ext cx="100013" cy="104775"/>
              <a:chOff x="2243" y="1799"/>
              <a:chExt cx="97" cy="98"/>
            </a:xfrm>
          </p:grpSpPr>
          <p:sp>
            <p:nvSpPr>
              <p:cNvPr id="824" name="Oval 1979"/>
              <p:cNvSpPr>
                <a:spLocks noChangeArrowheads="1"/>
              </p:cNvSpPr>
              <p:nvPr/>
            </p:nvSpPr>
            <p:spPr bwMode="auto">
              <a:xfrm>
                <a:off x="2244" y="1800"/>
                <a:ext cx="96" cy="97"/>
              </a:xfrm>
              <a:prstGeom prst="ellipse">
                <a:avLst/>
              </a:prstGeom>
              <a:solidFill>
                <a:srgbClr val="C5101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25" name="Oval 1980"/>
              <p:cNvSpPr>
                <a:spLocks noChangeArrowheads="1"/>
              </p:cNvSpPr>
              <p:nvPr/>
            </p:nvSpPr>
            <p:spPr bwMode="auto">
              <a:xfrm>
                <a:off x="2243" y="1799"/>
                <a:ext cx="97" cy="98"/>
              </a:xfrm>
              <a:prstGeom prst="ellipse">
                <a:avLst/>
              </a:pr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26" name="Freeform 1981"/>
              <p:cNvSpPr>
                <a:spLocks/>
              </p:cNvSpPr>
              <p:nvPr/>
            </p:nvSpPr>
            <p:spPr bwMode="auto">
              <a:xfrm>
                <a:off x="2275" y="1810"/>
                <a:ext cx="38" cy="36"/>
              </a:xfrm>
              <a:custGeom>
                <a:avLst/>
                <a:gdLst>
                  <a:gd name="T0" fmla="*/ 3 w 75"/>
                  <a:gd name="T1" fmla="*/ 0 h 73"/>
                  <a:gd name="T2" fmla="*/ 2 w 75"/>
                  <a:gd name="T3" fmla="*/ 0 h 73"/>
                  <a:gd name="T4" fmla="*/ 0 w 75"/>
                  <a:gd name="T5" fmla="*/ 1 h 73"/>
                  <a:gd name="T6" fmla="*/ 1 w 75"/>
                  <a:gd name="T7" fmla="*/ 2 h 73"/>
                  <a:gd name="T8" fmla="*/ 3 w 75"/>
                  <a:gd name="T9" fmla="*/ 0 h 73"/>
                  <a:gd name="T10" fmla="*/ 0 60000 65536"/>
                  <a:gd name="T11" fmla="*/ 0 60000 65536"/>
                  <a:gd name="T12" fmla="*/ 0 60000 65536"/>
                  <a:gd name="T13" fmla="*/ 0 60000 65536"/>
                  <a:gd name="T14" fmla="*/ 0 60000 65536"/>
                  <a:gd name="T15" fmla="*/ 0 w 75"/>
                  <a:gd name="T16" fmla="*/ 0 h 73"/>
                  <a:gd name="T17" fmla="*/ 75 w 75"/>
                  <a:gd name="T18" fmla="*/ 73 h 73"/>
                </a:gdLst>
                <a:ahLst/>
                <a:cxnLst>
                  <a:cxn ang="T10">
                    <a:pos x="T0" y="T1"/>
                  </a:cxn>
                  <a:cxn ang="T11">
                    <a:pos x="T2" y="T3"/>
                  </a:cxn>
                  <a:cxn ang="T12">
                    <a:pos x="T4" y="T5"/>
                  </a:cxn>
                  <a:cxn ang="T13">
                    <a:pos x="T6" y="T7"/>
                  </a:cxn>
                  <a:cxn ang="T14">
                    <a:pos x="T8" y="T9"/>
                  </a:cxn>
                </a:cxnLst>
                <a:rect l="T15" t="T16" r="T17" b="T18"/>
                <a:pathLst>
                  <a:path w="75" h="73">
                    <a:moveTo>
                      <a:pt x="75" y="14"/>
                    </a:moveTo>
                    <a:lnTo>
                      <a:pt x="61" y="0"/>
                    </a:lnTo>
                    <a:lnTo>
                      <a:pt x="0" y="59"/>
                    </a:lnTo>
                    <a:lnTo>
                      <a:pt x="14" y="73"/>
                    </a:lnTo>
                    <a:lnTo>
                      <a:pt x="7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27" name="Rectangle 1982"/>
              <p:cNvSpPr>
                <a:spLocks noChangeArrowheads="1"/>
              </p:cNvSpPr>
              <p:nvPr/>
            </p:nvSpPr>
            <p:spPr bwMode="auto">
              <a:xfrm>
                <a:off x="2279" y="1838"/>
                <a:ext cx="32" cy="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28" name="Freeform 1983"/>
              <p:cNvSpPr>
                <a:spLocks/>
              </p:cNvSpPr>
              <p:nvPr/>
            </p:nvSpPr>
            <p:spPr bwMode="auto">
              <a:xfrm>
                <a:off x="2266" y="1838"/>
                <a:ext cx="16" cy="10"/>
              </a:xfrm>
              <a:custGeom>
                <a:avLst/>
                <a:gdLst>
                  <a:gd name="T0" fmla="*/ 1 w 31"/>
                  <a:gd name="T1" fmla="*/ 1 h 19"/>
                  <a:gd name="T2" fmla="*/ 0 w 31"/>
                  <a:gd name="T3" fmla="*/ 1 h 19"/>
                  <a:gd name="T4" fmla="*/ 1 w 31"/>
                  <a:gd name="T5" fmla="*/ 1 h 19"/>
                  <a:gd name="T6" fmla="*/ 1 w 31"/>
                  <a:gd name="T7" fmla="*/ 0 h 19"/>
                  <a:gd name="T8" fmla="*/ 1 w 31"/>
                  <a:gd name="T9" fmla="*/ 1 h 19"/>
                  <a:gd name="T10" fmla="*/ 1 w 31"/>
                  <a:gd name="T11" fmla="*/ 1 h 19"/>
                  <a:gd name="T12" fmla="*/ 0 60000 65536"/>
                  <a:gd name="T13" fmla="*/ 0 60000 65536"/>
                  <a:gd name="T14" fmla="*/ 0 60000 65536"/>
                  <a:gd name="T15" fmla="*/ 0 60000 65536"/>
                  <a:gd name="T16" fmla="*/ 0 60000 65536"/>
                  <a:gd name="T17" fmla="*/ 0 60000 65536"/>
                  <a:gd name="T18" fmla="*/ 0 w 31"/>
                  <a:gd name="T19" fmla="*/ 0 h 19"/>
                  <a:gd name="T20" fmla="*/ 31 w 3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1" h="19">
                    <a:moveTo>
                      <a:pt x="17" y="1"/>
                    </a:moveTo>
                    <a:lnTo>
                      <a:pt x="0" y="19"/>
                    </a:lnTo>
                    <a:lnTo>
                      <a:pt x="24" y="19"/>
                    </a:lnTo>
                    <a:lnTo>
                      <a:pt x="24" y="0"/>
                    </a:lnTo>
                    <a:lnTo>
                      <a:pt x="31" y="15"/>
                    </a:lnTo>
                    <a:lnTo>
                      <a:pt x="1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29" name="Freeform 1984"/>
              <p:cNvSpPr>
                <a:spLocks/>
              </p:cNvSpPr>
              <p:nvPr/>
            </p:nvSpPr>
            <p:spPr bwMode="auto">
              <a:xfrm>
                <a:off x="2284" y="1839"/>
                <a:ext cx="30" cy="30"/>
              </a:xfrm>
              <a:custGeom>
                <a:avLst/>
                <a:gdLst>
                  <a:gd name="T0" fmla="*/ 1 w 61"/>
                  <a:gd name="T1" fmla="*/ 1 h 60"/>
                  <a:gd name="T2" fmla="*/ 1 w 61"/>
                  <a:gd name="T3" fmla="*/ 0 h 60"/>
                  <a:gd name="T4" fmla="*/ 0 w 61"/>
                  <a:gd name="T5" fmla="*/ 2 h 60"/>
                  <a:gd name="T6" fmla="*/ 0 w 61"/>
                  <a:gd name="T7" fmla="*/ 2 h 60"/>
                  <a:gd name="T8" fmla="*/ 1 w 61"/>
                  <a:gd name="T9" fmla="*/ 1 h 60"/>
                  <a:gd name="T10" fmla="*/ 0 60000 65536"/>
                  <a:gd name="T11" fmla="*/ 0 60000 65536"/>
                  <a:gd name="T12" fmla="*/ 0 60000 65536"/>
                  <a:gd name="T13" fmla="*/ 0 60000 65536"/>
                  <a:gd name="T14" fmla="*/ 0 60000 65536"/>
                  <a:gd name="T15" fmla="*/ 0 w 61"/>
                  <a:gd name="T16" fmla="*/ 0 h 60"/>
                  <a:gd name="T17" fmla="*/ 61 w 61"/>
                  <a:gd name="T18" fmla="*/ 60 h 60"/>
                </a:gdLst>
                <a:ahLst/>
                <a:cxnLst>
                  <a:cxn ang="T10">
                    <a:pos x="T0" y="T1"/>
                  </a:cxn>
                  <a:cxn ang="T11">
                    <a:pos x="T2" y="T3"/>
                  </a:cxn>
                  <a:cxn ang="T12">
                    <a:pos x="T4" y="T5"/>
                  </a:cxn>
                  <a:cxn ang="T13">
                    <a:pos x="T6" y="T7"/>
                  </a:cxn>
                  <a:cxn ang="T14">
                    <a:pos x="T8" y="T9"/>
                  </a:cxn>
                </a:cxnLst>
                <a:rect l="T15" t="T16" r="T17" b="T18"/>
                <a:pathLst>
                  <a:path w="61" h="60">
                    <a:moveTo>
                      <a:pt x="61" y="14"/>
                    </a:moveTo>
                    <a:lnTo>
                      <a:pt x="47" y="0"/>
                    </a:lnTo>
                    <a:lnTo>
                      <a:pt x="0" y="46"/>
                    </a:lnTo>
                    <a:lnTo>
                      <a:pt x="14" y="60"/>
                    </a:lnTo>
                    <a:lnTo>
                      <a:pt x="6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0" name="Freeform 1985"/>
              <p:cNvSpPr>
                <a:spLocks/>
              </p:cNvSpPr>
              <p:nvPr/>
            </p:nvSpPr>
            <p:spPr bwMode="auto">
              <a:xfrm>
                <a:off x="2307" y="1838"/>
                <a:ext cx="15" cy="10"/>
              </a:xfrm>
              <a:custGeom>
                <a:avLst/>
                <a:gdLst>
                  <a:gd name="T0" fmla="*/ 1 w 29"/>
                  <a:gd name="T1" fmla="*/ 0 h 19"/>
                  <a:gd name="T2" fmla="*/ 1 w 29"/>
                  <a:gd name="T3" fmla="*/ 0 h 19"/>
                  <a:gd name="T4" fmla="*/ 1 w 29"/>
                  <a:gd name="T5" fmla="*/ 1 h 19"/>
                  <a:gd name="T6" fmla="*/ 0 w 29"/>
                  <a:gd name="T7" fmla="*/ 1 h 19"/>
                  <a:gd name="T8" fmla="*/ 1 w 29"/>
                  <a:gd name="T9" fmla="*/ 1 h 19"/>
                  <a:gd name="T10" fmla="*/ 1 w 29"/>
                  <a:gd name="T11" fmla="*/ 0 h 19"/>
                  <a:gd name="T12" fmla="*/ 0 60000 65536"/>
                  <a:gd name="T13" fmla="*/ 0 60000 65536"/>
                  <a:gd name="T14" fmla="*/ 0 60000 65536"/>
                  <a:gd name="T15" fmla="*/ 0 60000 65536"/>
                  <a:gd name="T16" fmla="*/ 0 60000 65536"/>
                  <a:gd name="T17" fmla="*/ 0 60000 65536"/>
                  <a:gd name="T18" fmla="*/ 0 w 29"/>
                  <a:gd name="T19" fmla="*/ 0 h 19"/>
                  <a:gd name="T20" fmla="*/ 29 w 2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9" h="19">
                    <a:moveTo>
                      <a:pt x="7" y="0"/>
                    </a:moveTo>
                    <a:lnTo>
                      <a:pt x="29" y="0"/>
                    </a:lnTo>
                    <a:lnTo>
                      <a:pt x="14" y="15"/>
                    </a:lnTo>
                    <a:lnTo>
                      <a:pt x="0" y="1"/>
                    </a:lnTo>
                    <a:lnTo>
                      <a:pt x="7" y="1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1" name="Freeform 1986"/>
              <p:cNvSpPr>
                <a:spLocks/>
              </p:cNvSpPr>
              <p:nvPr/>
            </p:nvSpPr>
            <p:spPr bwMode="auto">
              <a:xfrm>
                <a:off x="2271" y="1857"/>
                <a:ext cx="25" cy="24"/>
              </a:xfrm>
              <a:custGeom>
                <a:avLst/>
                <a:gdLst>
                  <a:gd name="T0" fmla="*/ 2 w 50"/>
                  <a:gd name="T1" fmla="*/ 0 h 49"/>
                  <a:gd name="T2" fmla="*/ 1 w 50"/>
                  <a:gd name="T3" fmla="*/ 0 h 49"/>
                  <a:gd name="T4" fmla="*/ 0 w 50"/>
                  <a:gd name="T5" fmla="*/ 1 h 49"/>
                  <a:gd name="T6" fmla="*/ 2 w 50"/>
                  <a:gd name="T7" fmla="*/ 0 h 49"/>
                  <a:gd name="T8" fmla="*/ 0 60000 65536"/>
                  <a:gd name="T9" fmla="*/ 0 60000 65536"/>
                  <a:gd name="T10" fmla="*/ 0 60000 65536"/>
                  <a:gd name="T11" fmla="*/ 0 60000 65536"/>
                  <a:gd name="T12" fmla="*/ 0 w 50"/>
                  <a:gd name="T13" fmla="*/ 0 h 49"/>
                  <a:gd name="T14" fmla="*/ 50 w 50"/>
                  <a:gd name="T15" fmla="*/ 49 h 49"/>
                </a:gdLst>
                <a:ahLst/>
                <a:cxnLst>
                  <a:cxn ang="T8">
                    <a:pos x="T0" y="T1"/>
                  </a:cxn>
                  <a:cxn ang="T9">
                    <a:pos x="T2" y="T3"/>
                  </a:cxn>
                  <a:cxn ang="T10">
                    <a:pos x="T4" y="T5"/>
                  </a:cxn>
                  <a:cxn ang="T11">
                    <a:pos x="T6" y="T7"/>
                  </a:cxn>
                </a:cxnLst>
                <a:rect l="T12" t="T13" r="T14" b="T15"/>
                <a:pathLst>
                  <a:path w="50" h="49">
                    <a:moveTo>
                      <a:pt x="50" y="30"/>
                    </a:moveTo>
                    <a:lnTo>
                      <a:pt x="21" y="0"/>
                    </a:lnTo>
                    <a:lnTo>
                      <a:pt x="0" y="49"/>
                    </a:lnTo>
                    <a:lnTo>
                      <a:pt x="5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711" name="Text Box 1987"/>
            <p:cNvSpPr txBox="1">
              <a:spLocks noChangeArrowheads="1"/>
            </p:cNvSpPr>
            <p:nvPr/>
          </p:nvSpPr>
          <p:spPr bwMode="auto">
            <a:xfrm>
              <a:off x="6196013" y="4900691"/>
              <a:ext cx="819135" cy="92333"/>
            </a:xfrm>
            <a:prstGeom prst="rect">
              <a:avLst/>
            </a:prstGeom>
            <a:solidFill>
              <a:srgbClr val="FFFF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 KW Knapsacker Hügel </a:t>
              </a:r>
            </a:p>
          </p:txBody>
        </p:sp>
        <p:sp>
          <p:nvSpPr>
            <p:cNvPr id="712" name="Text Box 1988"/>
            <p:cNvSpPr txBox="1">
              <a:spLocks noChangeArrowheads="1"/>
            </p:cNvSpPr>
            <p:nvPr/>
          </p:nvSpPr>
          <p:spPr bwMode="auto">
            <a:xfrm rot="4571210">
              <a:off x="4943475" y="4500641"/>
              <a:ext cx="1174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Erft</a:t>
              </a:r>
            </a:p>
          </p:txBody>
        </p:sp>
        <p:grpSp>
          <p:nvGrpSpPr>
            <p:cNvPr id="713" name="Group 1989"/>
            <p:cNvGrpSpPr>
              <a:grpSpLocks/>
            </p:cNvGrpSpPr>
            <p:nvPr/>
          </p:nvGrpSpPr>
          <p:grpSpPr bwMode="auto">
            <a:xfrm>
              <a:off x="5771470" y="1827472"/>
              <a:ext cx="100013" cy="104775"/>
              <a:chOff x="2243" y="1799"/>
              <a:chExt cx="97" cy="98"/>
            </a:xfrm>
          </p:grpSpPr>
          <p:sp>
            <p:nvSpPr>
              <p:cNvPr id="816" name="Oval 1990"/>
              <p:cNvSpPr>
                <a:spLocks noChangeArrowheads="1"/>
              </p:cNvSpPr>
              <p:nvPr/>
            </p:nvSpPr>
            <p:spPr bwMode="auto">
              <a:xfrm>
                <a:off x="2244" y="1800"/>
                <a:ext cx="96" cy="97"/>
              </a:xfrm>
              <a:prstGeom prst="ellipse">
                <a:avLst/>
              </a:prstGeom>
              <a:solidFill>
                <a:srgbClr val="C5101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17" name="Oval 1991"/>
              <p:cNvSpPr>
                <a:spLocks noChangeArrowheads="1"/>
              </p:cNvSpPr>
              <p:nvPr/>
            </p:nvSpPr>
            <p:spPr bwMode="auto">
              <a:xfrm>
                <a:off x="2243" y="1799"/>
                <a:ext cx="97" cy="98"/>
              </a:xfrm>
              <a:prstGeom prst="ellipse">
                <a:avLst/>
              </a:prstGeom>
              <a:noFill/>
              <a:ln w="7938">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18" name="Freeform 1992"/>
              <p:cNvSpPr>
                <a:spLocks/>
              </p:cNvSpPr>
              <p:nvPr/>
            </p:nvSpPr>
            <p:spPr bwMode="auto">
              <a:xfrm>
                <a:off x="2275" y="1810"/>
                <a:ext cx="38" cy="36"/>
              </a:xfrm>
              <a:custGeom>
                <a:avLst/>
                <a:gdLst>
                  <a:gd name="T0" fmla="*/ 3 w 75"/>
                  <a:gd name="T1" fmla="*/ 0 h 73"/>
                  <a:gd name="T2" fmla="*/ 2 w 75"/>
                  <a:gd name="T3" fmla="*/ 0 h 73"/>
                  <a:gd name="T4" fmla="*/ 0 w 75"/>
                  <a:gd name="T5" fmla="*/ 1 h 73"/>
                  <a:gd name="T6" fmla="*/ 1 w 75"/>
                  <a:gd name="T7" fmla="*/ 2 h 73"/>
                  <a:gd name="T8" fmla="*/ 3 w 75"/>
                  <a:gd name="T9" fmla="*/ 0 h 73"/>
                  <a:gd name="T10" fmla="*/ 0 60000 65536"/>
                  <a:gd name="T11" fmla="*/ 0 60000 65536"/>
                  <a:gd name="T12" fmla="*/ 0 60000 65536"/>
                  <a:gd name="T13" fmla="*/ 0 60000 65536"/>
                  <a:gd name="T14" fmla="*/ 0 60000 65536"/>
                  <a:gd name="T15" fmla="*/ 0 w 75"/>
                  <a:gd name="T16" fmla="*/ 0 h 73"/>
                  <a:gd name="T17" fmla="*/ 75 w 75"/>
                  <a:gd name="T18" fmla="*/ 73 h 73"/>
                </a:gdLst>
                <a:ahLst/>
                <a:cxnLst>
                  <a:cxn ang="T10">
                    <a:pos x="T0" y="T1"/>
                  </a:cxn>
                  <a:cxn ang="T11">
                    <a:pos x="T2" y="T3"/>
                  </a:cxn>
                  <a:cxn ang="T12">
                    <a:pos x="T4" y="T5"/>
                  </a:cxn>
                  <a:cxn ang="T13">
                    <a:pos x="T6" y="T7"/>
                  </a:cxn>
                  <a:cxn ang="T14">
                    <a:pos x="T8" y="T9"/>
                  </a:cxn>
                </a:cxnLst>
                <a:rect l="T15" t="T16" r="T17" b="T18"/>
                <a:pathLst>
                  <a:path w="75" h="73">
                    <a:moveTo>
                      <a:pt x="75" y="14"/>
                    </a:moveTo>
                    <a:lnTo>
                      <a:pt x="61" y="0"/>
                    </a:lnTo>
                    <a:lnTo>
                      <a:pt x="0" y="59"/>
                    </a:lnTo>
                    <a:lnTo>
                      <a:pt x="14" y="73"/>
                    </a:lnTo>
                    <a:lnTo>
                      <a:pt x="75"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19" name="Rectangle 1993"/>
              <p:cNvSpPr>
                <a:spLocks noChangeArrowheads="1"/>
              </p:cNvSpPr>
              <p:nvPr/>
            </p:nvSpPr>
            <p:spPr bwMode="auto">
              <a:xfrm>
                <a:off x="2279" y="1838"/>
                <a:ext cx="32" cy="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820" name="Freeform 1994"/>
              <p:cNvSpPr>
                <a:spLocks/>
              </p:cNvSpPr>
              <p:nvPr/>
            </p:nvSpPr>
            <p:spPr bwMode="auto">
              <a:xfrm>
                <a:off x="2266" y="1838"/>
                <a:ext cx="16" cy="10"/>
              </a:xfrm>
              <a:custGeom>
                <a:avLst/>
                <a:gdLst>
                  <a:gd name="T0" fmla="*/ 1 w 31"/>
                  <a:gd name="T1" fmla="*/ 1 h 19"/>
                  <a:gd name="T2" fmla="*/ 0 w 31"/>
                  <a:gd name="T3" fmla="*/ 1 h 19"/>
                  <a:gd name="T4" fmla="*/ 1 w 31"/>
                  <a:gd name="T5" fmla="*/ 1 h 19"/>
                  <a:gd name="T6" fmla="*/ 1 w 31"/>
                  <a:gd name="T7" fmla="*/ 0 h 19"/>
                  <a:gd name="T8" fmla="*/ 1 w 31"/>
                  <a:gd name="T9" fmla="*/ 1 h 19"/>
                  <a:gd name="T10" fmla="*/ 1 w 31"/>
                  <a:gd name="T11" fmla="*/ 1 h 19"/>
                  <a:gd name="T12" fmla="*/ 0 60000 65536"/>
                  <a:gd name="T13" fmla="*/ 0 60000 65536"/>
                  <a:gd name="T14" fmla="*/ 0 60000 65536"/>
                  <a:gd name="T15" fmla="*/ 0 60000 65536"/>
                  <a:gd name="T16" fmla="*/ 0 60000 65536"/>
                  <a:gd name="T17" fmla="*/ 0 60000 65536"/>
                  <a:gd name="T18" fmla="*/ 0 w 31"/>
                  <a:gd name="T19" fmla="*/ 0 h 19"/>
                  <a:gd name="T20" fmla="*/ 31 w 3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1" h="19">
                    <a:moveTo>
                      <a:pt x="17" y="1"/>
                    </a:moveTo>
                    <a:lnTo>
                      <a:pt x="0" y="19"/>
                    </a:lnTo>
                    <a:lnTo>
                      <a:pt x="24" y="19"/>
                    </a:lnTo>
                    <a:lnTo>
                      <a:pt x="24" y="0"/>
                    </a:lnTo>
                    <a:lnTo>
                      <a:pt x="31" y="15"/>
                    </a:lnTo>
                    <a:lnTo>
                      <a:pt x="1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21" name="Freeform 1995"/>
              <p:cNvSpPr>
                <a:spLocks/>
              </p:cNvSpPr>
              <p:nvPr/>
            </p:nvSpPr>
            <p:spPr bwMode="auto">
              <a:xfrm>
                <a:off x="2284" y="1839"/>
                <a:ext cx="30" cy="30"/>
              </a:xfrm>
              <a:custGeom>
                <a:avLst/>
                <a:gdLst>
                  <a:gd name="T0" fmla="*/ 1 w 61"/>
                  <a:gd name="T1" fmla="*/ 1 h 60"/>
                  <a:gd name="T2" fmla="*/ 1 w 61"/>
                  <a:gd name="T3" fmla="*/ 0 h 60"/>
                  <a:gd name="T4" fmla="*/ 0 w 61"/>
                  <a:gd name="T5" fmla="*/ 2 h 60"/>
                  <a:gd name="T6" fmla="*/ 0 w 61"/>
                  <a:gd name="T7" fmla="*/ 2 h 60"/>
                  <a:gd name="T8" fmla="*/ 1 w 61"/>
                  <a:gd name="T9" fmla="*/ 1 h 60"/>
                  <a:gd name="T10" fmla="*/ 0 60000 65536"/>
                  <a:gd name="T11" fmla="*/ 0 60000 65536"/>
                  <a:gd name="T12" fmla="*/ 0 60000 65536"/>
                  <a:gd name="T13" fmla="*/ 0 60000 65536"/>
                  <a:gd name="T14" fmla="*/ 0 60000 65536"/>
                  <a:gd name="T15" fmla="*/ 0 w 61"/>
                  <a:gd name="T16" fmla="*/ 0 h 60"/>
                  <a:gd name="T17" fmla="*/ 61 w 61"/>
                  <a:gd name="T18" fmla="*/ 60 h 60"/>
                </a:gdLst>
                <a:ahLst/>
                <a:cxnLst>
                  <a:cxn ang="T10">
                    <a:pos x="T0" y="T1"/>
                  </a:cxn>
                  <a:cxn ang="T11">
                    <a:pos x="T2" y="T3"/>
                  </a:cxn>
                  <a:cxn ang="T12">
                    <a:pos x="T4" y="T5"/>
                  </a:cxn>
                  <a:cxn ang="T13">
                    <a:pos x="T6" y="T7"/>
                  </a:cxn>
                  <a:cxn ang="T14">
                    <a:pos x="T8" y="T9"/>
                  </a:cxn>
                </a:cxnLst>
                <a:rect l="T15" t="T16" r="T17" b="T18"/>
                <a:pathLst>
                  <a:path w="61" h="60">
                    <a:moveTo>
                      <a:pt x="61" y="14"/>
                    </a:moveTo>
                    <a:lnTo>
                      <a:pt x="47" y="0"/>
                    </a:lnTo>
                    <a:lnTo>
                      <a:pt x="0" y="46"/>
                    </a:lnTo>
                    <a:lnTo>
                      <a:pt x="14" y="60"/>
                    </a:lnTo>
                    <a:lnTo>
                      <a:pt x="61"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22" name="Freeform 1996"/>
              <p:cNvSpPr>
                <a:spLocks/>
              </p:cNvSpPr>
              <p:nvPr/>
            </p:nvSpPr>
            <p:spPr bwMode="auto">
              <a:xfrm>
                <a:off x="2307" y="1838"/>
                <a:ext cx="15" cy="10"/>
              </a:xfrm>
              <a:custGeom>
                <a:avLst/>
                <a:gdLst>
                  <a:gd name="T0" fmla="*/ 1 w 29"/>
                  <a:gd name="T1" fmla="*/ 0 h 19"/>
                  <a:gd name="T2" fmla="*/ 1 w 29"/>
                  <a:gd name="T3" fmla="*/ 0 h 19"/>
                  <a:gd name="T4" fmla="*/ 1 w 29"/>
                  <a:gd name="T5" fmla="*/ 1 h 19"/>
                  <a:gd name="T6" fmla="*/ 0 w 29"/>
                  <a:gd name="T7" fmla="*/ 1 h 19"/>
                  <a:gd name="T8" fmla="*/ 1 w 29"/>
                  <a:gd name="T9" fmla="*/ 1 h 19"/>
                  <a:gd name="T10" fmla="*/ 1 w 29"/>
                  <a:gd name="T11" fmla="*/ 0 h 19"/>
                  <a:gd name="T12" fmla="*/ 0 60000 65536"/>
                  <a:gd name="T13" fmla="*/ 0 60000 65536"/>
                  <a:gd name="T14" fmla="*/ 0 60000 65536"/>
                  <a:gd name="T15" fmla="*/ 0 60000 65536"/>
                  <a:gd name="T16" fmla="*/ 0 60000 65536"/>
                  <a:gd name="T17" fmla="*/ 0 60000 65536"/>
                  <a:gd name="T18" fmla="*/ 0 w 29"/>
                  <a:gd name="T19" fmla="*/ 0 h 19"/>
                  <a:gd name="T20" fmla="*/ 29 w 2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9" h="19">
                    <a:moveTo>
                      <a:pt x="7" y="0"/>
                    </a:moveTo>
                    <a:lnTo>
                      <a:pt x="29" y="0"/>
                    </a:lnTo>
                    <a:lnTo>
                      <a:pt x="14" y="15"/>
                    </a:lnTo>
                    <a:lnTo>
                      <a:pt x="0" y="1"/>
                    </a:lnTo>
                    <a:lnTo>
                      <a:pt x="7" y="19"/>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23" name="Freeform 1997"/>
              <p:cNvSpPr>
                <a:spLocks/>
              </p:cNvSpPr>
              <p:nvPr/>
            </p:nvSpPr>
            <p:spPr bwMode="auto">
              <a:xfrm>
                <a:off x="2271" y="1857"/>
                <a:ext cx="25" cy="24"/>
              </a:xfrm>
              <a:custGeom>
                <a:avLst/>
                <a:gdLst>
                  <a:gd name="T0" fmla="*/ 2 w 50"/>
                  <a:gd name="T1" fmla="*/ 0 h 49"/>
                  <a:gd name="T2" fmla="*/ 1 w 50"/>
                  <a:gd name="T3" fmla="*/ 0 h 49"/>
                  <a:gd name="T4" fmla="*/ 0 w 50"/>
                  <a:gd name="T5" fmla="*/ 1 h 49"/>
                  <a:gd name="T6" fmla="*/ 2 w 50"/>
                  <a:gd name="T7" fmla="*/ 0 h 49"/>
                  <a:gd name="T8" fmla="*/ 0 60000 65536"/>
                  <a:gd name="T9" fmla="*/ 0 60000 65536"/>
                  <a:gd name="T10" fmla="*/ 0 60000 65536"/>
                  <a:gd name="T11" fmla="*/ 0 60000 65536"/>
                  <a:gd name="T12" fmla="*/ 0 w 50"/>
                  <a:gd name="T13" fmla="*/ 0 h 49"/>
                  <a:gd name="T14" fmla="*/ 50 w 50"/>
                  <a:gd name="T15" fmla="*/ 49 h 49"/>
                </a:gdLst>
                <a:ahLst/>
                <a:cxnLst>
                  <a:cxn ang="T8">
                    <a:pos x="T0" y="T1"/>
                  </a:cxn>
                  <a:cxn ang="T9">
                    <a:pos x="T2" y="T3"/>
                  </a:cxn>
                  <a:cxn ang="T10">
                    <a:pos x="T4" y="T5"/>
                  </a:cxn>
                  <a:cxn ang="T11">
                    <a:pos x="T6" y="T7"/>
                  </a:cxn>
                </a:cxnLst>
                <a:rect l="T12" t="T13" r="T14" b="T15"/>
                <a:pathLst>
                  <a:path w="50" h="49">
                    <a:moveTo>
                      <a:pt x="50" y="30"/>
                    </a:moveTo>
                    <a:lnTo>
                      <a:pt x="21" y="0"/>
                    </a:lnTo>
                    <a:lnTo>
                      <a:pt x="0" y="49"/>
                    </a:lnTo>
                    <a:lnTo>
                      <a:pt x="5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grpSp>
        <p:sp>
          <p:nvSpPr>
            <p:cNvPr id="714" name="Text Box 1998"/>
            <p:cNvSpPr txBox="1">
              <a:spLocks noChangeArrowheads="1"/>
            </p:cNvSpPr>
            <p:nvPr/>
          </p:nvSpPr>
          <p:spPr bwMode="auto">
            <a:xfrm>
              <a:off x="6662738" y="5605541"/>
              <a:ext cx="250825"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553 </a:t>
              </a:r>
            </a:p>
          </p:txBody>
        </p:sp>
        <p:sp>
          <p:nvSpPr>
            <p:cNvPr id="715" name="Text Box 1999"/>
            <p:cNvSpPr txBox="1">
              <a:spLocks noChangeArrowheads="1"/>
            </p:cNvSpPr>
            <p:nvPr/>
          </p:nvSpPr>
          <p:spPr bwMode="auto">
            <a:xfrm>
              <a:off x="7180263" y="4854653"/>
              <a:ext cx="250825"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555 </a:t>
              </a:r>
            </a:p>
          </p:txBody>
        </p:sp>
        <p:sp>
          <p:nvSpPr>
            <p:cNvPr id="716" name="Rectangle 2000"/>
            <p:cNvSpPr>
              <a:spLocks noChangeArrowheads="1"/>
            </p:cNvSpPr>
            <p:nvPr/>
          </p:nvSpPr>
          <p:spPr bwMode="auto">
            <a:xfrm>
              <a:off x="5692095" y="1138497"/>
              <a:ext cx="279400" cy="88900"/>
            </a:xfrm>
            <a:prstGeom prst="rect">
              <a:avLst/>
            </a:prstGeom>
            <a:solidFill>
              <a:srgbClr val="663300"/>
            </a:solidFill>
            <a:ln w="6350">
              <a:solidFill>
                <a:srgbClr val="000000"/>
              </a:solidFill>
              <a:miter lim="800000"/>
              <a:headEnd/>
              <a:tailEnd/>
            </a:ln>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717" name="Rectangle 2001"/>
            <p:cNvSpPr>
              <a:spLocks noChangeArrowheads="1"/>
            </p:cNvSpPr>
            <p:nvPr/>
          </p:nvSpPr>
          <p:spPr bwMode="auto">
            <a:xfrm>
              <a:off x="5692095" y="1275022"/>
              <a:ext cx="279400" cy="88900"/>
            </a:xfrm>
            <a:prstGeom prst="rect">
              <a:avLst/>
            </a:prstGeom>
            <a:solidFill>
              <a:srgbClr val="FFFF00"/>
            </a:solidFill>
            <a:ln w="6350">
              <a:solidFill>
                <a:srgbClr val="000000"/>
              </a:solidFill>
              <a:miter lim="800000"/>
              <a:headEnd/>
              <a:tailEnd/>
            </a:ln>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718" name="Rectangle 2002"/>
            <p:cNvSpPr>
              <a:spLocks noChangeArrowheads="1"/>
            </p:cNvSpPr>
            <p:nvPr/>
          </p:nvSpPr>
          <p:spPr bwMode="auto">
            <a:xfrm>
              <a:off x="5692095" y="1413134"/>
              <a:ext cx="279400" cy="88900"/>
            </a:xfrm>
            <a:prstGeom prst="rect">
              <a:avLst/>
            </a:prstGeom>
            <a:solidFill>
              <a:srgbClr val="009900"/>
            </a:solidFill>
            <a:ln w="6350">
              <a:solidFill>
                <a:srgbClr val="000000"/>
              </a:solidFill>
              <a:miter lim="800000"/>
              <a:headEnd/>
              <a:tailEnd/>
            </a:ln>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719" name="Rectangle 2003"/>
            <p:cNvSpPr>
              <a:spLocks noChangeArrowheads="1"/>
            </p:cNvSpPr>
            <p:nvPr/>
          </p:nvSpPr>
          <p:spPr bwMode="auto">
            <a:xfrm>
              <a:off x="5692095" y="1689359"/>
              <a:ext cx="279400" cy="88900"/>
            </a:xfrm>
            <a:prstGeom prst="rect">
              <a:avLst/>
            </a:prstGeom>
            <a:solidFill>
              <a:srgbClr val="FF0033"/>
            </a:solidFill>
            <a:ln w="6350">
              <a:solidFill>
                <a:srgbClr val="000000"/>
              </a:solidFill>
              <a:miter lim="800000"/>
              <a:headEnd/>
              <a:tailEnd/>
            </a:ln>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720" name="Text Box 2004"/>
            <p:cNvSpPr txBox="1">
              <a:spLocks noChangeArrowheads="1"/>
            </p:cNvSpPr>
            <p:nvPr/>
          </p:nvSpPr>
          <p:spPr bwMode="auto">
            <a:xfrm>
              <a:off x="6046107" y="1136909"/>
              <a:ext cx="4857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Betriebsfläche</a:t>
              </a:r>
            </a:p>
          </p:txBody>
        </p:sp>
        <p:sp>
          <p:nvSpPr>
            <p:cNvPr id="721" name="Text Box 2005"/>
            <p:cNvSpPr txBox="1">
              <a:spLocks noChangeArrowheads="1"/>
            </p:cNvSpPr>
            <p:nvPr/>
          </p:nvSpPr>
          <p:spPr bwMode="auto">
            <a:xfrm>
              <a:off x="6046107" y="1273434"/>
              <a:ext cx="116046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Landwirtschaftliche Rekultivierung</a:t>
              </a:r>
            </a:p>
          </p:txBody>
        </p:sp>
        <p:sp>
          <p:nvSpPr>
            <p:cNvPr id="722" name="Text Box 2006"/>
            <p:cNvSpPr txBox="1">
              <a:spLocks noChangeArrowheads="1"/>
            </p:cNvSpPr>
            <p:nvPr/>
          </p:nvSpPr>
          <p:spPr bwMode="auto">
            <a:xfrm>
              <a:off x="6046107" y="1411547"/>
              <a:ext cx="11620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Forstwirtschaftliche Rekultivierung</a:t>
              </a:r>
            </a:p>
          </p:txBody>
        </p:sp>
        <p:sp>
          <p:nvSpPr>
            <p:cNvPr id="723" name="Rectangle 2007"/>
            <p:cNvSpPr>
              <a:spLocks noChangeArrowheads="1"/>
            </p:cNvSpPr>
            <p:nvPr/>
          </p:nvSpPr>
          <p:spPr bwMode="auto">
            <a:xfrm>
              <a:off x="5692095" y="1551247"/>
              <a:ext cx="279400" cy="88900"/>
            </a:xfrm>
            <a:prstGeom prst="rect">
              <a:avLst/>
            </a:prstGeom>
            <a:solidFill>
              <a:srgbClr val="66FFFF"/>
            </a:solidFill>
            <a:ln w="6350" algn="ctr">
              <a:solidFill>
                <a:srgbClr val="000000"/>
              </a:solidFill>
              <a:miter lim="800000"/>
              <a:headEnd/>
              <a:tailEnd/>
            </a:ln>
          </p:spPr>
          <p:txBody>
            <a:bodyPr wrap="none"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de-DE" altLang="de-DE"/>
            </a:p>
          </p:txBody>
        </p:sp>
        <p:sp>
          <p:nvSpPr>
            <p:cNvPr id="724" name="Text Box 2008"/>
            <p:cNvSpPr txBox="1">
              <a:spLocks noChangeArrowheads="1"/>
            </p:cNvSpPr>
            <p:nvPr/>
          </p:nvSpPr>
          <p:spPr bwMode="auto">
            <a:xfrm>
              <a:off x="6046107" y="1551247"/>
              <a:ext cx="50641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Wasserflächen</a:t>
              </a:r>
            </a:p>
          </p:txBody>
        </p:sp>
        <p:sp>
          <p:nvSpPr>
            <p:cNvPr id="725" name="Text Box 2009"/>
            <p:cNvSpPr txBox="1">
              <a:spLocks noChangeArrowheads="1"/>
            </p:cNvSpPr>
            <p:nvPr/>
          </p:nvSpPr>
          <p:spPr bwMode="auto">
            <a:xfrm>
              <a:off x="6046107" y="1692534"/>
              <a:ext cx="4921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Umsiedlungen</a:t>
              </a:r>
            </a:p>
          </p:txBody>
        </p:sp>
        <p:sp>
          <p:nvSpPr>
            <p:cNvPr id="726" name="Text Box 2010"/>
            <p:cNvSpPr txBox="1">
              <a:spLocks noChangeArrowheads="1"/>
            </p:cNvSpPr>
            <p:nvPr/>
          </p:nvSpPr>
          <p:spPr bwMode="auto">
            <a:xfrm>
              <a:off x="6046107" y="1840172"/>
              <a:ext cx="7842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Braunkohlenkraftwerke</a:t>
              </a:r>
            </a:p>
          </p:txBody>
        </p:sp>
        <p:sp>
          <p:nvSpPr>
            <p:cNvPr id="727" name="Text Box 2011"/>
            <p:cNvSpPr txBox="1">
              <a:spLocks noChangeArrowheads="1"/>
            </p:cNvSpPr>
            <p:nvPr/>
          </p:nvSpPr>
          <p:spPr bwMode="auto">
            <a:xfrm>
              <a:off x="6046107" y="1983047"/>
              <a:ext cx="89376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Kohlenveredlungsbetriebe</a:t>
              </a:r>
            </a:p>
          </p:txBody>
        </p:sp>
        <p:grpSp>
          <p:nvGrpSpPr>
            <p:cNvPr id="728" name="Group 2012"/>
            <p:cNvGrpSpPr>
              <a:grpSpLocks/>
            </p:cNvGrpSpPr>
            <p:nvPr/>
          </p:nvGrpSpPr>
          <p:grpSpPr bwMode="auto">
            <a:xfrm>
              <a:off x="5757182" y="2168784"/>
              <a:ext cx="146050" cy="28575"/>
              <a:chOff x="3658" y="1773"/>
              <a:chExt cx="92" cy="18"/>
            </a:xfrm>
          </p:grpSpPr>
          <p:sp>
            <p:nvSpPr>
              <p:cNvPr id="811" name="Freeform 2013"/>
              <p:cNvSpPr>
                <a:spLocks/>
              </p:cNvSpPr>
              <p:nvPr/>
            </p:nvSpPr>
            <p:spPr bwMode="auto">
              <a:xfrm rot="8042930">
                <a:off x="3657" y="1774"/>
                <a:ext cx="18" cy="16"/>
              </a:xfrm>
              <a:custGeom>
                <a:avLst/>
                <a:gdLst>
                  <a:gd name="T0" fmla="*/ 1 w 36"/>
                  <a:gd name="T1" fmla="*/ 0 h 33"/>
                  <a:gd name="T2" fmla="*/ 0 w 36"/>
                  <a:gd name="T3" fmla="*/ 1 h 33"/>
                  <a:gd name="T4" fmla="*/ 2 w 36"/>
                  <a:gd name="T5" fmla="*/ 0 h 33"/>
                  <a:gd name="T6" fmla="*/ 1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812" name="Freeform 2014"/>
              <p:cNvSpPr>
                <a:spLocks/>
              </p:cNvSpPr>
              <p:nvPr/>
            </p:nvSpPr>
            <p:spPr bwMode="auto">
              <a:xfrm rot="8042930">
                <a:off x="3676" y="1774"/>
                <a:ext cx="18" cy="16"/>
              </a:xfrm>
              <a:custGeom>
                <a:avLst/>
                <a:gdLst>
                  <a:gd name="T0" fmla="*/ 1 w 36"/>
                  <a:gd name="T1" fmla="*/ 0 h 33"/>
                  <a:gd name="T2" fmla="*/ 0 w 36"/>
                  <a:gd name="T3" fmla="*/ 1 h 33"/>
                  <a:gd name="T4" fmla="*/ 2 w 36"/>
                  <a:gd name="T5" fmla="*/ 0 h 33"/>
                  <a:gd name="T6" fmla="*/ 1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813" name="Freeform 2015"/>
              <p:cNvSpPr>
                <a:spLocks/>
              </p:cNvSpPr>
              <p:nvPr/>
            </p:nvSpPr>
            <p:spPr bwMode="auto">
              <a:xfrm rot="8042930">
                <a:off x="3695" y="1774"/>
                <a:ext cx="18" cy="16"/>
              </a:xfrm>
              <a:custGeom>
                <a:avLst/>
                <a:gdLst>
                  <a:gd name="T0" fmla="*/ 1 w 36"/>
                  <a:gd name="T1" fmla="*/ 0 h 33"/>
                  <a:gd name="T2" fmla="*/ 0 w 36"/>
                  <a:gd name="T3" fmla="*/ 1 h 33"/>
                  <a:gd name="T4" fmla="*/ 2 w 36"/>
                  <a:gd name="T5" fmla="*/ 0 h 33"/>
                  <a:gd name="T6" fmla="*/ 1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814" name="Freeform 2016"/>
              <p:cNvSpPr>
                <a:spLocks/>
              </p:cNvSpPr>
              <p:nvPr/>
            </p:nvSpPr>
            <p:spPr bwMode="auto">
              <a:xfrm rot="8042930">
                <a:off x="3714" y="1774"/>
                <a:ext cx="18" cy="16"/>
              </a:xfrm>
              <a:custGeom>
                <a:avLst/>
                <a:gdLst>
                  <a:gd name="T0" fmla="*/ 1 w 36"/>
                  <a:gd name="T1" fmla="*/ 0 h 33"/>
                  <a:gd name="T2" fmla="*/ 0 w 36"/>
                  <a:gd name="T3" fmla="*/ 1 h 33"/>
                  <a:gd name="T4" fmla="*/ 2 w 36"/>
                  <a:gd name="T5" fmla="*/ 0 h 33"/>
                  <a:gd name="T6" fmla="*/ 1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815" name="Freeform 2017"/>
              <p:cNvSpPr>
                <a:spLocks/>
              </p:cNvSpPr>
              <p:nvPr/>
            </p:nvSpPr>
            <p:spPr bwMode="auto">
              <a:xfrm rot="8042930">
                <a:off x="3733" y="1774"/>
                <a:ext cx="18" cy="16"/>
              </a:xfrm>
              <a:custGeom>
                <a:avLst/>
                <a:gdLst>
                  <a:gd name="T0" fmla="*/ 1 w 36"/>
                  <a:gd name="T1" fmla="*/ 0 h 33"/>
                  <a:gd name="T2" fmla="*/ 0 w 36"/>
                  <a:gd name="T3" fmla="*/ 1 h 33"/>
                  <a:gd name="T4" fmla="*/ 2 w 36"/>
                  <a:gd name="T5" fmla="*/ 0 h 33"/>
                  <a:gd name="T6" fmla="*/ 1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grpSp>
        <p:sp>
          <p:nvSpPr>
            <p:cNvPr id="729" name="Text Box 2018"/>
            <p:cNvSpPr txBox="1">
              <a:spLocks noChangeArrowheads="1"/>
            </p:cNvSpPr>
            <p:nvPr/>
          </p:nvSpPr>
          <p:spPr bwMode="auto">
            <a:xfrm>
              <a:off x="6046107" y="2116397"/>
              <a:ext cx="92233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genehmigte Abbaugrenzen</a:t>
              </a:r>
            </a:p>
          </p:txBody>
        </p:sp>
        <p:sp>
          <p:nvSpPr>
            <p:cNvPr id="730" name="Text Box 2019"/>
            <p:cNvSpPr txBox="1">
              <a:spLocks noChangeArrowheads="1"/>
            </p:cNvSpPr>
            <p:nvPr/>
          </p:nvSpPr>
          <p:spPr bwMode="auto">
            <a:xfrm rot="2427361">
              <a:off x="2065338" y="4375228"/>
              <a:ext cx="1016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500">
                  <a:solidFill>
                    <a:srgbClr val="000000"/>
                  </a:solidFill>
                </a:rPr>
                <a:t>Rur</a:t>
              </a:r>
            </a:p>
          </p:txBody>
        </p:sp>
        <p:sp>
          <p:nvSpPr>
            <p:cNvPr id="731" name="Text Box 2020"/>
            <p:cNvSpPr txBox="1">
              <a:spLocks noChangeArrowheads="1"/>
            </p:cNvSpPr>
            <p:nvPr/>
          </p:nvSpPr>
          <p:spPr bwMode="auto">
            <a:xfrm>
              <a:off x="1985963" y="1986041"/>
              <a:ext cx="528638" cy="1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700" b="1">
                  <a:solidFill>
                    <a:srgbClr val="000000"/>
                  </a:solidFill>
                </a:rPr>
                <a:t>Garzweiler II</a:t>
              </a:r>
            </a:p>
          </p:txBody>
        </p:sp>
        <p:sp>
          <p:nvSpPr>
            <p:cNvPr id="732" name="Text Box 2021"/>
            <p:cNvSpPr txBox="1">
              <a:spLocks noChangeArrowheads="1"/>
            </p:cNvSpPr>
            <p:nvPr/>
          </p:nvSpPr>
          <p:spPr bwMode="auto">
            <a:xfrm rot="-1579549">
              <a:off x="3252788" y="4584778"/>
              <a:ext cx="50006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Hambachbahn</a:t>
              </a:r>
            </a:p>
          </p:txBody>
        </p:sp>
        <p:sp>
          <p:nvSpPr>
            <p:cNvPr id="733" name="Text Box 2022"/>
            <p:cNvSpPr txBox="1">
              <a:spLocks noChangeArrowheads="1"/>
            </p:cNvSpPr>
            <p:nvPr/>
          </p:nvSpPr>
          <p:spPr bwMode="auto">
            <a:xfrm>
              <a:off x="795338" y="3181428"/>
              <a:ext cx="24447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Linnich</a:t>
              </a:r>
            </a:p>
          </p:txBody>
        </p:sp>
        <p:sp>
          <p:nvSpPr>
            <p:cNvPr id="734" name="Line 2023"/>
            <p:cNvSpPr>
              <a:spLocks noChangeShapeType="1"/>
            </p:cNvSpPr>
            <p:nvPr/>
          </p:nvSpPr>
          <p:spPr bwMode="auto">
            <a:xfrm flipH="1" flipV="1">
              <a:off x="4122738" y="1795541"/>
              <a:ext cx="638175" cy="69056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de-DE"/>
            </a:p>
          </p:txBody>
        </p:sp>
        <p:sp>
          <p:nvSpPr>
            <p:cNvPr id="735" name="Freeform 2024"/>
            <p:cNvSpPr>
              <a:spLocks/>
            </p:cNvSpPr>
            <p:nvPr/>
          </p:nvSpPr>
          <p:spPr bwMode="auto">
            <a:xfrm>
              <a:off x="4719638" y="2352753"/>
              <a:ext cx="252413" cy="258763"/>
            </a:xfrm>
            <a:custGeom>
              <a:avLst/>
              <a:gdLst>
                <a:gd name="T0" fmla="*/ 2147483647 w 159"/>
                <a:gd name="T1" fmla="*/ 2147483647 h 163"/>
                <a:gd name="T2" fmla="*/ 2147483647 w 159"/>
                <a:gd name="T3" fmla="*/ 2147483647 h 163"/>
                <a:gd name="T4" fmla="*/ 0 w 159"/>
                <a:gd name="T5" fmla="*/ 2147483647 h 163"/>
                <a:gd name="T6" fmla="*/ 0 w 159"/>
                <a:gd name="T7" fmla="*/ 2147483647 h 163"/>
                <a:gd name="T8" fmla="*/ 2147483647 w 159"/>
                <a:gd name="T9" fmla="*/ 2147483647 h 163"/>
                <a:gd name="T10" fmla="*/ 2147483647 w 159"/>
                <a:gd name="T11" fmla="*/ 2147483647 h 163"/>
                <a:gd name="T12" fmla="*/ 2147483647 w 159"/>
                <a:gd name="T13" fmla="*/ 2147483647 h 163"/>
                <a:gd name="T14" fmla="*/ 2147483647 w 159"/>
                <a:gd name="T15" fmla="*/ 0 h 163"/>
                <a:gd name="T16" fmla="*/ 2147483647 w 159"/>
                <a:gd name="T17" fmla="*/ 2147483647 h 163"/>
                <a:gd name="T18" fmla="*/ 2147483647 w 159"/>
                <a:gd name="T19" fmla="*/ 2147483647 h 163"/>
                <a:gd name="T20" fmla="*/ 2147483647 w 159"/>
                <a:gd name="T21" fmla="*/ 2147483647 h 163"/>
                <a:gd name="T22" fmla="*/ 2147483647 w 159"/>
                <a:gd name="T23" fmla="*/ 2147483647 h 163"/>
                <a:gd name="T24" fmla="*/ 2147483647 w 159"/>
                <a:gd name="T25" fmla="*/ 2147483647 h 163"/>
                <a:gd name="T26" fmla="*/ 2147483647 w 159"/>
                <a:gd name="T27" fmla="*/ 2147483647 h 163"/>
                <a:gd name="T28" fmla="*/ 2147483647 w 159"/>
                <a:gd name="T29" fmla="*/ 2147483647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9"/>
                <a:gd name="T46" fmla="*/ 0 h 163"/>
                <a:gd name="T47" fmla="*/ 159 w 159"/>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9" h="163">
                  <a:moveTo>
                    <a:pt x="74" y="163"/>
                  </a:moveTo>
                  <a:lnTo>
                    <a:pt x="24" y="112"/>
                  </a:lnTo>
                  <a:lnTo>
                    <a:pt x="0" y="111"/>
                  </a:lnTo>
                  <a:lnTo>
                    <a:pt x="0" y="70"/>
                  </a:lnTo>
                  <a:lnTo>
                    <a:pt x="63" y="64"/>
                  </a:lnTo>
                  <a:lnTo>
                    <a:pt x="84" y="39"/>
                  </a:lnTo>
                  <a:lnTo>
                    <a:pt x="44" y="22"/>
                  </a:lnTo>
                  <a:lnTo>
                    <a:pt x="63" y="0"/>
                  </a:lnTo>
                  <a:lnTo>
                    <a:pt x="96" y="22"/>
                  </a:lnTo>
                  <a:lnTo>
                    <a:pt x="159" y="33"/>
                  </a:lnTo>
                  <a:lnTo>
                    <a:pt x="158" y="49"/>
                  </a:lnTo>
                  <a:lnTo>
                    <a:pt x="132" y="90"/>
                  </a:lnTo>
                  <a:lnTo>
                    <a:pt x="117" y="141"/>
                  </a:lnTo>
                  <a:lnTo>
                    <a:pt x="86" y="141"/>
                  </a:lnTo>
                  <a:lnTo>
                    <a:pt x="74" y="163"/>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36" name="Freeform 2025"/>
            <p:cNvSpPr>
              <a:spLocks/>
            </p:cNvSpPr>
            <p:nvPr/>
          </p:nvSpPr>
          <p:spPr bwMode="auto">
            <a:xfrm>
              <a:off x="3670300" y="1428828"/>
              <a:ext cx="466725" cy="473075"/>
            </a:xfrm>
            <a:custGeom>
              <a:avLst/>
              <a:gdLst>
                <a:gd name="T0" fmla="*/ 2147483647 w 294"/>
                <a:gd name="T1" fmla="*/ 2147483647 h 298"/>
                <a:gd name="T2" fmla="*/ 0 w 294"/>
                <a:gd name="T3" fmla="*/ 2147483647 h 298"/>
                <a:gd name="T4" fmla="*/ 2147483647 w 294"/>
                <a:gd name="T5" fmla="*/ 2147483647 h 298"/>
                <a:gd name="T6" fmla="*/ 2147483647 w 294"/>
                <a:gd name="T7" fmla="*/ 2147483647 h 298"/>
                <a:gd name="T8" fmla="*/ 2147483647 w 294"/>
                <a:gd name="T9" fmla="*/ 2147483647 h 298"/>
                <a:gd name="T10" fmla="*/ 2147483647 w 294"/>
                <a:gd name="T11" fmla="*/ 2147483647 h 298"/>
                <a:gd name="T12" fmla="*/ 2147483647 w 294"/>
                <a:gd name="T13" fmla="*/ 0 h 298"/>
                <a:gd name="T14" fmla="*/ 2147483647 w 294"/>
                <a:gd name="T15" fmla="*/ 2147483647 h 298"/>
                <a:gd name="T16" fmla="*/ 2147483647 w 294"/>
                <a:gd name="T17" fmla="*/ 2147483647 h 298"/>
                <a:gd name="T18" fmla="*/ 2147483647 w 294"/>
                <a:gd name="T19" fmla="*/ 2147483647 h 298"/>
                <a:gd name="T20" fmla="*/ 2147483647 w 294"/>
                <a:gd name="T21" fmla="*/ 2147483647 h 298"/>
                <a:gd name="T22" fmla="*/ 2147483647 w 294"/>
                <a:gd name="T23" fmla="*/ 2147483647 h 298"/>
                <a:gd name="T24" fmla="*/ 2147483647 w 294"/>
                <a:gd name="T25" fmla="*/ 2147483647 h 298"/>
                <a:gd name="T26" fmla="*/ 2147483647 w 294"/>
                <a:gd name="T27" fmla="*/ 2147483647 h 298"/>
                <a:gd name="T28" fmla="*/ 2147483647 w 294"/>
                <a:gd name="T29" fmla="*/ 2147483647 h 298"/>
                <a:gd name="T30" fmla="*/ 2147483647 w 294"/>
                <a:gd name="T31" fmla="*/ 2147483647 h 298"/>
                <a:gd name="T32" fmla="*/ 2147483647 w 294"/>
                <a:gd name="T33" fmla="*/ 2147483647 h 298"/>
                <a:gd name="T34" fmla="*/ 2147483647 w 294"/>
                <a:gd name="T35" fmla="*/ 2147483647 h 298"/>
                <a:gd name="T36" fmla="*/ 2147483647 w 294"/>
                <a:gd name="T37" fmla="*/ 2147483647 h 298"/>
                <a:gd name="T38" fmla="*/ 2147483647 w 294"/>
                <a:gd name="T39" fmla="*/ 2147483647 h 298"/>
                <a:gd name="T40" fmla="*/ 2147483647 w 294"/>
                <a:gd name="T41" fmla="*/ 2147483647 h 298"/>
                <a:gd name="T42" fmla="*/ 2147483647 w 294"/>
                <a:gd name="T43" fmla="*/ 2147483647 h 298"/>
                <a:gd name="T44" fmla="*/ 2147483647 w 294"/>
                <a:gd name="T45" fmla="*/ 2147483647 h 298"/>
                <a:gd name="T46" fmla="*/ 2147483647 w 294"/>
                <a:gd name="T47" fmla="*/ 2147483647 h 298"/>
                <a:gd name="T48" fmla="*/ 2147483647 w 294"/>
                <a:gd name="T49" fmla="*/ 2147483647 h 298"/>
                <a:gd name="T50" fmla="*/ 2147483647 w 294"/>
                <a:gd name="T51" fmla="*/ 2147483647 h 298"/>
                <a:gd name="T52" fmla="*/ 2147483647 w 294"/>
                <a:gd name="T53" fmla="*/ 2147483647 h 2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4"/>
                <a:gd name="T82" fmla="*/ 0 h 298"/>
                <a:gd name="T83" fmla="*/ 294 w 294"/>
                <a:gd name="T84" fmla="*/ 298 h 2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4" h="298">
                  <a:moveTo>
                    <a:pt x="22" y="193"/>
                  </a:moveTo>
                  <a:lnTo>
                    <a:pt x="0" y="160"/>
                  </a:lnTo>
                  <a:lnTo>
                    <a:pt x="63" y="99"/>
                  </a:lnTo>
                  <a:lnTo>
                    <a:pt x="75" y="99"/>
                  </a:lnTo>
                  <a:lnTo>
                    <a:pt x="117" y="21"/>
                  </a:lnTo>
                  <a:lnTo>
                    <a:pt x="142" y="13"/>
                  </a:lnTo>
                  <a:lnTo>
                    <a:pt x="159" y="0"/>
                  </a:lnTo>
                  <a:lnTo>
                    <a:pt x="174" y="19"/>
                  </a:lnTo>
                  <a:lnTo>
                    <a:pt x="145" y="70"/>
                  </a:lnTo>
                  <a:lnTo>
                    <a:pt x="139" y="112"/>
                  </a:lnTo>
                  <a:lnTo>
                    <a:pt x="159" y="124"/>
                  </a:lnTo>
                  <a:lnTo>
                    <a:pt x="157" y="153"/>
                  </a:lnTo>
                  <a:lnTo>
                    <a:pt x="177" y="151"/>
                  </a:lnTo>
                  <a:lnTo>
                    <a:pt x="189" y="139"/>
                  </a:lnTo>
                  <a:lnTo>
                    <a:pt x="210" y="139"/>
                  </a:lnTo>
                  <a:lnTo>
                    <a:pt x="235" y="169"/>
                  </a:lnTo>
                  <a:lnTo>
                    <a:pt x="261" y="166"/>
                  </a:lnTo>
                  <a:lnTo>
                    <a:pt x="267" y="208"/>
                  </a:lnTo>
                  <a:lnTo>
                    <a:pt x="292" y="228"/>
                  </a:lnTo>
                  <a:lnTo>
                    <a:pt x="294" y="298"/>
                  </a:lnTo>
                  <a:lnTo>
                    <a:pt x="207" y="295"/>
                  </a:lnTo>
                  <a:lnTo>
                    <a:pt x="196" y="210"/>
                  </a:lnTo>
                  <a:lnTo>
                    <a:pt x="163" y="204"/>
                  </a:lnTo>
                  <a:lnTo>
                    <a:pt x="99" y="211"/>
                  </a:lnTo>
                  <a:lnTo>
                    <a:pt x="91" y="186"/>
                  </a:lnTo>
                  <a:lnTo>
                    <a:pt x="73" y="168"/>
                  </a:lnTo>
                  <a:lnTo>
                    <a:pt x="22" y="193"/>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37" name="Freeform 2026"/>
            <p:cNvSpPr>
              <a:spLocks/>
            </p:cNvSpPr>
            <p:nvPr/>
          </p:nvSpPr>
          <p:spPr bwMode="auto">
            <a:xfrm>
              <a:off x="3771900" y="703659"/>
              <a:ext cx="2386013" cy="5460682"/>
            </a:xfrm>
            <a:custGeom>
              <a:avLst/>
              <a:gdLst>
                <a:gd name="T0" fmla="*/ 2147483647 w 10000"/>
                <a:gd name="T1" fmla="*/ 2147483647 h 10920"/>
                <a:gd name="T2" fmla="*/ 2147483647 w 10000"/>
                <a:gd name="T3" fmla="*/ 2147483647 h 10920"/>
                <a:gd name="T4" fmla="*/ 2147483647 w 10000"/>
                <a:gd name="T5" fmla="*/ 2147483647 h 10920"/>
                <a:gd name="T6" fmla="*/ 2147483647 w 10000"/>
                <a:gd name="T7" fmla="*/ 2147483647 h 10920"/>
                <a:gd name="T8" fmla="*/ 2147483647 w 10000"/>
                <a:gd name="T9" fmla="*/ 2147483647 h 10920"/>
                <a:gd name="T10" fmla="*/ 2147483647 w 10000"/>
                <a:gd name="T11" fmla="*/ 2147483647 h 10920"/>
                <a:gd name="T12" fmla="*/ 2147483647 w 10000"/>
                <a:gd name="T13" fmla="*/ 2147483647 h 10920"/>
                <a:gd name="T14" fmla="*/ 2147483647 w 10000"/>
                <a:gd name="T15" fmla="*/ 2147483647 h 10920"/>
                <a:gd name="T16" fmla="*/ 2147483647 w 10000"/>
                <a:gd name="T17" fmla="*/ 2147483647 h 10920"/>
                <a:gd name="T18" fmla="*/ 2147483647 w 10000"/>
                <a:gd name="T19" fmla="*/ 2147483647 h 10920"/>
                <a:gd name="T20" fmla="*/ 2147483647 w 10000"/>
                <a:gd name="T21" fmla="*/ 2147483647 h 10920"/>
                <a:gd name="T22" fmla="*/ 2147483647 w 10000"/>
                <a:gd name="T23" fmla="*/ 2147483647 h 10920"/>
                <a:gd name="T24" fmla="*/ 2147483647 w 10000"/>
                <a:gd name="T25" fmla="*/ 2147483647 h 10920"/>
                <a:gd name="T26" fmla="*/ 2147483647 w 10000"/>
                <a:gd name="T27" fmla="*/ 2147483647 h 10920"/>
                <a:gd name="T28" fmla="*/ 2147483647 w 10000"/>
                <a:gd name="T29" fmla="*/ 2147483647 h 10920"/>
                <a:gd name="T30" fmla="*/ 2147483647 w 10000"/>
                <a:gd name="T31" fmla="*/ 2147483647 h 10920"/>
                <a:gd name="T32" fmla="*/ 2147483647 w 10000"/>
                <a:gd name="T33" fmla="*/ 2147483647 h 10920"/>
                <a:gd name="T34" fmla="*/ 2147483647 w 10000"/>
                <a:gd name="T35" fmla="*/ 2147483647 h 10920"/>
                <a:gd name="T36" fmla="*/ 2147483647 w 10000"/>
                <a:gd name="T37" fmla="*/ 2147483647 h 10920"/>
                <a:gd name="T38" fmla="*/ 2147483647 w 10000"/>
                <a:gd name="T39" fmla="*/ 2147483647 h 10920"/>
                <a:gd name="T40" fmla="*/ 2147483647 w 10000"/>
                <a:gd name="T41" fmla="*/ 2147483647 h 10920"/>
                <a:gd name="T42" fmla="*/ 2147483647 w 10000"/>
                <a:gd name="T43" fmla="*/ 2147483647 h 10920"/>
                <a:gd name="T44" fmla="*/ 2147483647 w 10000"/>
                <a:gd name="T45" fmla="*/ 2147483647 h 10920"/>
                <a:gd name="T46" fmla="*/ 2147483647 w 10000"/>
                <a:gd name="T47" fmla="*/ 2147483647 h 10920"/>
                <a:gd name="T48" fmla="*/ 2147483647 w 10000"/>
                <a:gd name="T49" fmla="*/ 2147483647 h 10920"/>
                <a:gd name="T50" fmla="*/ 2147483647 w 10000"/>
                <a:gd name="T51" fmla="*/ 2147483647 h 10920"/>
                <a:gd name="T52" fmla="*/ 2147483647 w 10000"/>
                <a:gd name="T53" fmla="*/ 2147483647 h 10920"/>
                <a:gd name="T54" fmla="*/ 2147483647 w 10000"/>
                <a:gd name="T55" fmla="*/ 2147483647 h 10920"/>
                <a:gd name="T56" fmla="*/ 2147483647 w 10000"/>
                <a:gd name="T57" fmla="*/ 2147483647 h 10920"/>
                <a:gd name="T58" fmla="*/ 2147483647 w 10000"/>
                <a:gd name="T59" fmla="*/ 2147483647 h 10920"/>
                <a:gd name="T60" fmla="*/ 2147483647 w 10000"/>
                <a:gd name="T61" fmla="*/ 2147483647 h 10920"/>
                <a:gd name="T62" fmla="*/ 2147483647 w 10000"/>
                <a:gd name="T63" fmla="*/ 2147483647 h 10920"/>
                <a:gd name="T64" fmla="*/ 2147483647 w 10000"/>
                <a:gd name="T65" fmla="*/ 2147483647 h 10920"/>
                <a:gd name="T66" fmla="*/ 2147483647 w 10000"/>
                <a:gd name="T67" fmla="*/ 2147483647 h 10920"/>
                <a:gd name="T68" fmla="*/ 2147483647 w 10000"/>
                <a:gd name="T69" fmla="*/ 2147483647 h 10920"/>
                <a:gd name="T70" fmla="*/ 2147483647 w 10000"/>
                <a:gd name="T71" fmla="*/ 2147483647 h 10920"/>
                <a:gd name="T72" fmla="*/ 2147483647 w 10000"/>
                <a:gd name="T73" fmla="*/ 2147483647 h 10920"/>
                <a:gd name="T74" fmla="*/ 2147483647 w 10000"/>
                <a:gd name="T75" fmla="*/ 2147483647 h 10920"/>
                <a:gd name="T76" fmla="*/ 2147483647 w 10000"/>
                <a:gd name="T77" fmla="*/ 2147483647 h 10920"/>
                <a:gd name="T78" fmla="*/ 2147483647 w 10000"/>
                <a:gd name="T79" fmla="*/ 2147483647 h 10920"/>
                <a:gd name="T80" fmla="*/ 2147483647 w 10000"/>
                <a:gd name="T81" fmla="*/ 2147483647 h 10920"/>
                <a:gd name="T82" fmla="*/ 2147483647 w 10000"/>
                <a:gd name="T83" fmla="*/ 2147483647 h 10920"/>
                <a:gd name="T84" fmla="*/ 2147483647 w 10000"/>
                <a:gd name="T85" fmla="*/ 2147483647 h 10920"/>
                <a:gd name="T86" fmla="*/ 2147483647 w 10000"/>
                <a:gd name="T87" fmla="*/ 2147483647 h 10920"/>
                <a:gd name="T88" fmla="*/ 2147483647 w 10000"/>
                <a:gd name="T89" fmla="*/ 2147483647 h 10920"/>
                <a:gd name="T90" fmla="*/ 2147483647 w 10000"/>
                <a:gd name="T91" fmla="*/ 2147483647 h 10920"/>
                <a:gd name="T92" fmla="*/ 2147483647 w 10000"/>
                <a:gd name="T93" fmla="*/ 2147483647 h 10920"/>
                <a:gd name="T94" fmla="*/ 2147483647 w 10000"/>
                <a:gd name="T95" fmla="*/ 2147483647 h 10920"/>
                <a:gd name="T96" fmla="*/ 2147483647 w 10000"/>
                <a:gd name="T97" fmla="*/ 2147483647 h 10920"/>
                <a:gd name="T98" fmla="*/ 2147483647 w 10000"/>
                <a:gd name="T99" fmla="*/ 2147483647 h 10920"/>
                <a:gd name="T100" fmla="*/ 2147483647 w 10000"/>
                <a:gd name="T101" fmla="*/ 2147483647 h 10920"/>
                <a:gd name="T102" fmla="*/ 2147483647 w 10000"/>
                <a:gd name="T103" fmla="*/ 2147483647 h 10920"/>
                <a:gd name="T104" fmla="*/ 2147483647 w 10000"/>
                <a:gd name="T105" fmla="*/ 2147483647 h 10920"/>
                <a:gd name="T106" fmla="*/ 2147483647 w 10000"/>
                <a:gd name="T107" fmla="*/ 2147483647 h 10920"/>
                <a:gd name="T108" fmla="*/ 2147483647 w 10000"/>
                <a:gd name="T109" fmla="*/ 2147483647 h 10920"/>
                <a:gd name="T110" fmla="*/ 2147483647 w 10000"/>
                <a:gd name="T111" fmla="*/ 2147483647 h 10920"/>
                <a:gd name="T112" fmla="*/ 2147483647 w 10000"/>
                <a:gd name="T113" fmla="*/ 2147483647 h 10920"/>
                <a:gd name="T114" fmla="*/ 2147483647 w 10000"/>
                <a:gd name="T115" fmla="*/ 2147483647 h 10920"/>
                <a:gd name="T116" fmla="*/ 2147483647 w 10000"/>
                <a:gd name="T117" fmla="*/ 2147483647 h 10920"/>
                <a:gd name="T118" fmla="*/ 2147483647 w 10000"/>
                <a:gd name="T119" fmla="*/ 2147483647 h 10920"/>
                <a:gd name="T120" fmla="*/ 2147483647 w 10000"/>
                <a:gd name="T121" fmla="*/ 0 h 109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00" h="10920">
                  <a:moveTo>
                    <a:pt x="10000" y="10920"/>
                  </a:moveTo>
                  <a:cubicBezTo>
                    <a:pt x="9887" y="10872"/>
                    <a:pt x="9461" y="10710"/>
                    <a:pt x="9321" y="10644"/>
                  </a:cubicBezTo>
                  <a:cubicBezTo>
                    <a:pt x="9182" y="10577"/>
                    <a:pt x="9182" y="10558"/>
                    <a:pt x="9142" y="10520"/>
                  </a:cubicBezTo>
                  <a:cubicBezTo>
                    <a:pt x="9102" y="10482"/>
                    <a:pt x="9108" y="10447"/>
                    <a:pt x="9062" y="10415"/>
                  </a:cubicBezTo>
                  <a:cubicBezTo>
                    <a:pt x="9015" y="10383"/>
                    <a:pt x="8942" y="10371"/>
                    <a:pt x="8862" y="10320"/>
                  </a:cubicBezTo>
                  <a:cubicBezTo>
                    <a:pt x="8782" y="10269"/>
                    <a:pt x="8623" y="10171"/>
                    <a:pt x="8563" y="10110"/>
                  </a:cubicBezTo>
                  <a:cubicBezTo>
                    <a:pt x="8503" y="10050"/>
                    <a:pt x="8536" y="10009"/>
                    <a:pt x="8503" y="9968"/>
                  </a:cubicBezTo>
                  <a:cubicBezTo>
                    <a:pt x="8470" y="9926"/>
                    <a:pt x="8423" y="9920"/>
                    <a:pt x="8343" y="9863"/>
                  </a:cubicBezTo>
                  <a:cubicBezTo>
                    <a:pt x="8263" y="9806"/>
                    <a:pt x="8117" y="9688"/>
                    <a:pt x="8044" y="9625"/>
                  </a:cubicBezTo>
                  <a:cubicBezTo>
                    <a:pt x="7971" y="9561"/>
                    <a:pt x="7937" y="9523"/>
                    <a:pt x="7884" y="9482"/>
                  </a:cubicBezTo>
                  <a:cubicBezTo>
                    <a:pt x="7831" y="9441"/>
                    <a:pt x="7784" y="9409"/>
                    <a:pt x="7725" y="9368"/>
                  </a:cubicBezTo>
                  <a:cubicBezTo>
                    <a:pt x="7665" y="9326"/>
                    <a:pt x="7585" y="9263"/>
                    <a:pt x="7525" y="9225"/>
                  </a:cubicBezTo>
                  <a:cubicBezTo>
                    <a:pt x="7465" y="9187"/>
                    <a:pt x="7418" y="9193"/>
                    <a:pt x="7345" y="9149"/>
                  </a:cubicBezTo>
                  <a:cubicBezTo>
                    <a:pt x="7272" y="9104"/>
                    <a:pt x="7259" y="9060"/>
                    <a:pt x="7086" y="8949"/>
                  </a:cubicBezTo>
                  <a:cubicBezTo>
                    <a:pt x="6913" y="8837"/>
                    <a:pt x="6527" y="8612"/>
                    <a:pt x="6307" y="8491"/>
                  </a:cubicBezTo>
                  <a:cubicBezTo>
                    <a:pt x="6088" y="8371"/>
                    <a:pt x="5902" y="8314"/>
                    <a:pt x="5768" y="8225"/>
                  </a:cubicBezTo>
                  <a:cubicBezTo>
                    <a:pt x="5635" y="8136"/>
                    <a:pt x="5569" y="8053"/>
                    <a:pt x="5489" y="7949"/>
                  </a:cubicBezTo>
                  <a:cubicBezTo>
                    <a:pt x="5409" y="7844"/>
                    <a:pt x="5363" y="7704"/>
                    <a:pt x="5269" y="7587"/>
                  </a:cubicBezTo>
                  <a:cubicBezTo>
                    <a:pt x="5176" y="7469"/>
                    <a:pt x="5043" y="7371"/>
                    <a:pt x="4930" y="7244"/>
                  </a:cubicBezTo>
                  <a:cubicBezTo>
                    <a:pt x="4817" y="7117"/>
                    <a:pt x="4711" y="6933"/>
                    <a:pt x="4591" y="6825"/>
                  </a:cubicBezTo>
                  <a:cubicBezTo>
                    <a:pt x="4471" y="6717"/>
                    <a:pt x="4318" y="6666"/>
                    <a:pt x="4192" y="6596"/>
                  </a:cubicBezTo>
                  <a:cubicBezTo>
                    <a:pt x="4065" y="6526"/>
                    <a:pt x="3952" y="6457"/>
                    <a:pt x="3832" y="6406"/>
                  </a:cubicBezTo>
                  <a:cubicBezTo>
                    <a:pt x="3713" y="6355"/>
                    <a:pt x="3599" y="6317"/>
                    <a:pt x="3473" y="6282"/>
                  </a:cubicBezTo>
                  <a:cubicBezTo>
                    <a:pt x="3347" y="6247"/>
                    <a:pt x="3174" y="6212"/>
                    <a:pt x="3054" y="6187"/>
                  </a:cubicBezTo>
                  <a:cubicBezTo>
                    <a:pt x="2934" y="6161"/>
                    <a:pt x="2854" y="6161"/>
                    <a:pt x="2735" y="6130"/>
                  </a:cubicBezTo>
                  <a:cubicBezTo>
                    <a:pt x="2615" y="6098"/>
                    <a:pt x="2402" y="6044"/>
                    <a:pt x="2315" y="5987"/>
                  </a:cubicBezTo>
                  <a:cubicBezTo>
                    <a:pt x="2229" y="5930"/>
                    <a:pt x="2262" y="5834"/>
                    <a:pt x="2216" y="5777"/>
                  </a:cubicBezTo>
                  <a:cubicBezTo>
                    <a:pt x="2169" y="5720"/>
                    <a:pt x="2109" y="5672"/>
                    <a:pt x="2036" y="5634"/>
                  </a:cubicBezTo>
                  <a:cubicBezTo>
                    <a:pt x="1963" y="5596"/>
                    <a:pt x="1890" y="5587"/>
                    <a:pt x="1776" y="5549"/>
                  </a:cubicBezTo>
                  <a:cubicBezTo>
                    <a:pt x="1663" y="5510"/>
                    <a:pt x="1464" y="5447"/>
                    <a:pt x="1357" y="5406"/>
                  </a:cubicBezTo>
                  <a:cubicBezTo>
                    <a:pt x="1251" y="5364"/>
                    <a:pt x="1244" y="5355"/>
                    <a:pt x="1118" y="5310"/>
                  </a:cubicBezTo>
                  <a:cubicBezTo>
                    <a:pt x="991" y="5266"/>
                    <a:pt x="699" y="5193"/>
                    <a:pt x="579" y="5145"/>
                  </a:cubicBezTo>
                  <a:cubicBezTo>
                    <a:pt x="459" y="5098"/>
                    <a:pt x="439" y="5063"/>
                    <a:pt x="379" y="5015"/>
                  </a:cubicBezTo>
                  <a:cubicBezTo>
                    <a:pt x="319" y="4968"/>
                    <a:pt x="273" y="4907"/>
                    <a:pt x="240" y="4853"/>
                  </a:cubicBezTo>
                  <a:cubicBezTo>
                    <a:pt x="206" y="4799"/>
                    <a:pt x="180" y="4742"/>
                    <a:pt x="180" y="4691"/>
                  </a:cubicBezTo>
                  <a:cubicBezTo>
                    <a:pt x="180" y="4641"/>
                    <a:pt x="186" y="4628"/>
                    <a:pt x="240" y="4555"/>
                  </a:cubicBezTo>
                  <a:cubicBezTo>
                    <a:pt x="293" y="4482"/>
                    <a:pt x="439" y="4358"/>
                    <a:pt x="499" y="4260"/>
                  </a:cubicBezTo>
                  <a:cubicBezTo>
                    <a:pt x="559" y="4161"/>
                    <a:pt x="612" y="4044"/>
                    <a:pt x="612" y="3964"/>
                  </a:cubicBezTo>
                  <a:cubicBezTo>
                    <a:pt x="612" y="3885"/>
                    <a:pt x="559" y="3837"/>
                    <a:pt x="499" y="3783"/>
                  </a:cubicBezTo>
                  <a:cubicBezTo>
                    <a:pt x="439" y="3730"/>
                    <a:pt x="319" y="3704"/>
                    <a:pt x="240" y="3631"/>
                  </a:cubicBezTo>
                  <a:cubicBezTo>
                    <a:pt x="160" y="3558"/>
                    <a:pt x="40" y="3466"/>
                    <a:pt x="20" y="3345"/>
                  </a:cubicBezTo>
                  <a:cubicBezTo>
                    <a:pt x="0" y="3225"/>
                    <a:pt x="60" y="3009"/>
                    <a:pt x="100" y="2907"/>
                  </a:cubicBezTo>
                  <a:cubicBezTo>
                    <a:pt x="140" y="2806"/>
                    <a:pt x="186" y="2799"/>
                    <a:pt x="253" y="2736"/>
                  </a:cubicBezTo>
                  <a:cubicBezTo>
                    <a:pt x="319" y="2672"/>
                    <a:pt x="439" y="2583"/>
                    <a:pt x="519" y="2517"/>
                  </a:cubicBezTo>
                  <a:cubicBezTo>
                    <a:pt x="599" y="2450"/>
                    <a:pt x="712" y="2390"/>
                    <a:pt x="752" y="2336"/>
                  </a:cubicBezTo>
                  <a:cubicBezTo>
                    <a:pt x="792" y="2282"/>
                    <a:pt x="772" y="2218"/>
                    <a:pt x="752" y="2183"/>
                  </a:cubicBezTo>
                  <a:cubicBezTo>
                    <a:pt x="732" y="2149"/>
                    <a:pt x="665" y="2168"/>
                    <a:pt x="639" y="2126"/>
                  </a:cubicBezTo>
                  <a:cubicBezTo>
                    <a:pt x="612" y="2085"/>
                    <a:pt x="572" y="1990"/>
                    <a:pt x="592" y="1939"/>
                  </a:cubicBezTo>
                  <a:cubicBezTo>
                    <a:pt x="612" y="1888"/>
                    <a:pt x="705" y="1847"/>
                    <a:pt x="778" y="1815"/>
                  </a:cubicBezTo>
                  <a:cubicBezTo>
                    <a:pt x="851" y="1783"/>
                    <a:pt x="933" y="1767"/>
                    <a:pt x="1030" y="1747"/>
                  </a:cubicBezTo>
                  <a:cubicBezTo>
                    <a:pt x="1127" y="1727"/>
                    <a:pt x="1282" y="1726"/>
                    <a:pt x="1363" y="1694"/>
                  </a:cubicBezTo>
                  <a:cubicBezTo>
                    <a:pt x="1444" y="1662"/>
                    <a:pt x="1468" y="1582"/>
                    <a:pt x="1517" y="1555"/>
                  </a:cubicBezTo>
                  <a:cubicBezTo>
                    <a:pt x="1566" y="1528"/>
                    <a:pt x="1603" y="1539"/>
                    <a:pt x="1657" y="1530"/>
                  </a:cubicBezTo>
                  <a:cubicBezTo>
                    <a:pt x="1710" y="1520"/>
                    <a:pt x="1765" y="1516"/>
                    <a:pt x="1830" y="1488"/>
                  </a:cubicBezTo>
                  <a:cubicBezTo>
                    <a:pt x="1895" y="1460"/>
                    <a:pt x="1998" y="1404"/>
                    <a:pt x="2045" y="1360"/>
                  </a:cubicBezTo>
                  <a:cubicBezTo>
                    <a:pt x="2091" y="1315"/>
                    <a:pt x="2029" y="1295"/>
                    <a:pt x="2109" y="1225"/>
                  </a:cubicBezTo>
                  <a:cubicBezTo>
                    <a:pt x="2176" y="1177"/>
                    <a:pt x="2322" y="1205"/>
                    <a:pt x="2378" y="1103"/>
                  </a:cubicBezTo>
                  <a:cubicBezTo>
                    <a:pt x="2430" y="1043"/>
                    <a:pt x="2306" y="879"/>
                    <a:pt x="2446" y="799"/>
                  </a:cubicBezTo>
                  <a:cubicBezTo>
                    <a:pt x="2515" y="735"/>
                    <a:pt x="2696" y="888"/>
                    <a:pt x="3017" y="755"/>
                  </a:cubicBezTo>
                  <a:cubicBezTo>
                    <a:pt x="3180" y="706"/>
                    <a:pt x="3140" y="555"/>
                    <a:pt x="3365" y="429"/>
                  </a:cubicBezTo>
                  <a:cubicBezTo>
                    <a:pt x="3591" y="303"/>
                    <a:pt x="4212" y="84"/>
                    <a:pt x="4370" y="0"/>
                  </a:cubicBezTo>
                </a:path>
              </a:pathLst>
            </a:custGeom>
            <a:noFill/>
            <a:ln w="12700"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38" name="Text Box 2027"/>
            <p:cNvSpPr txBox="1">
              <a:spLocks noChangeArrowheads="1"/>
            </p:cNvSpPr>
            <p:nvPr/>
          </p:nvSpPr>
          <p:spPr bwMode="auto">
            <a:xfrm>
              <a:off x="3740150" y="1838403"/>
              <a:ext cx="250825"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540 </a:t>
              </a:r>
            </a:p>
          </p:txBody>
        </p:sp>
        <p:sp>
          <p:nvSpPr>
            <p:cNvPr id="739" name="Freeform 2028"/>
            <p:cNvSpPr>
              <a:spLocks/>
            </p:cNvSpPr>
            <p:nvPr/>
          </p:nvSpPr>
          <p:spPr bwMode="auto">
            <a:xfrm>
              <a:off x="2441575" y="3689428"/>
              <a:ext cx="33338" cy="90488"/>
            </a:xfrm>
            <a:custGeom>
              <a:avLst/>
              <a:gdLst>
                <a:gd name="T0" fmla="*/ 2147483647 w 21"/>
                <a:gd name="T1" fmla="*/ 2147483647 h 57"/>
                <a:gd name="T2" fmla="*/ 2147483647 w 21"/>
                <a:gd name="T3" fmla="*/ 2147483647 h 57"/>
                <a:gd name="T4" fmla="*/ 0 w 21"/>
                <a:gd name="T5" fmla="*/ 0 h 57"/>
                <a:gd name="T6" fmla="*/ 0 60000 65536"/>
                <a:gd name="T7" fmla="*/ 0 60000 65536"/>
                <a:gd name="T8" fmla="*/ 0 60000 65536"/>
                <a:gd name="T9" fmla="*/ 0 w 21"/>
                <a:gd name="T10" fmla="*/ 0 h 57"/>
                <a:gd name="T11" fmla="*/ 21 w 21"/>
                <a:gd name="T12" fmla="*/ 57 h 57"/>
              </a:gdLst>
              <a:ahLst/>
              <a:cxnLst>
                <a:cxn ang="T6">
                  <a:pos x="T0" y="T1"/>
                </a:cxn>
                <a:cxn ang="T7">
                  <a:pos x="T2" y="T3"/>
                </a:cxn>
                <a:cxn ang="T8">
                  <a:pos x="T4" y="T5"/>
                </a:cxn>
              </a:cxnLst>
              <a:rect l="T9" t="T10" r="T11" b="T12"/>
              <a:pathLst>
                <a:path w="21" h="57">
                  <a:moveTo>
                    <a:pt x="21" y="57"/>
                  </a:moveTo>
                  <a:cubicBezTo>
                    <a:pt x="15" y="49"/>
                    <a:pt x="10" y="41"/>
                    <a:pt x="6" y="32"/>
                  </a:cubicBezTo>
                  <a:cubicBezTo>
                    <a:pt x="2" y="23"/>
                    <a:pt x="1" y="11"/>
                    <a:pt x="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40" name="Freeform 2029"/>
            <p:cNvSpPr>
              <a:spLocks/>
            </p:cNvSpPr>
            <p:nvPr/>
          </p:nvSpPr>
          <p:spPr bwMode="auto">
            <a:xfrm>
              <a:off x="2374900" y="3519566"/>
              <a:ext cx="268288" cy="204788"/>
            </a:xfrm>
            <a:custGeom>
              <a:avLst/>
              <a:gdLst>
                <a:gd name="T0" fmla="*/ 0 w 169"/>
                <a:gd name="T1" fmla="*/ 2147483647 h 129"/>
                <a:gd name="T2" fmla="*/ 2147483647 w 169"/>
                <a:gd name="T3" fmla="*/ 2147483647 h 129"/>
                <a:gd name="T4" fmla="*/ 2147483647 w 169"/>
                <a:gd name="T5" fmla="*/ 2147483647 h 129"/>
                <a:gd name="T6" fmla="*/ 2147483647 w 169"/>
                <a:gd name="T7" fmla="*/ 2147483647 h 129"/>
                <a:gd name="T8" fmla="*/ 2147483647 w 169"/>
                <a:gd name="T9" fmla="*/ 2147483647 h 129"/>
                <a:gd name="T10" fmla="*/ 2147483647 w 169"/>
                <a:gd name="T11" fmla="*/ 2147483647 h 129"/>
                <a:gd name="T12" fmla="*/ 2147483647 w 169"/>
                <a:gd name="T13" fmla="*/ 0 h 129"/>
                <a:gd name="T14" fmla="*/ 2147483647 w 169"/>
                <a:gd name="T15" fmla="*/ 2147483647 h 129"/>
                <a:gd name="T16" fmla="*/ 2147483647 w 169"/>
                <a:gd name="T17" fmla="*/ 2147483647 h 129"/>
                <a:gd name="T18" fmla="*/ 2147483647 w 169"/>
                <a:gd name="T19" fmla="*/ 2147483647 h 129"/>
                <a:gd name="T20" fmla="*/ 2147483647 w 169"/>
                <a:gd name="T21" fmla="*/ 2147483647 h 129"/>
                <a:gd name="T22" fmla="*/ 2147483647 w 169"/>
                <a:gd name="T23" fmla="*/ 2147483647 h 129"/>
                <a:gd name="T24" fmla="*/ 2147483647 w 169"/>
                <a:gd name="T25" fmla="*/ 2147483647 h 129"/>
                <a:gd name="T26" fmla="*/ 2147483647 w 169"/>
                <a:gd name="T27" fmla="*/ 2147483647 h 129"/>
                <a:gd name="T28" fmla="*/ 2147483647 w 169"/>
                <a:gd name="T29" fmla="*/ 2147483647 h 129"/>
                <a:gd name="T30" fmla="*/ 2147483647 w 169"/>
                <a:gd name="T31" fmla="*/ 2147483647 h 129"/>
                <a:gd name="T32" fmla="*/ 2147483647 w 169"/>
                <a:gd name="T33" fmla="*/ 2147483647 h 129"/>
                <a:gd name="T34" fmla="*/ 0 w 169"/>
                <a:gd name="T35" fmla="*/ 2147483647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9"/>
                <a:gd name="T55" fmla="*/ 0 h 129"/>
                <a:gd name="T56" fmla="*/ 169 w 169"/>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9" h="129">
                  <a:moveTo>
                    <a:pt x="0" y="87"/>
                  </a:moveTo>
                  <a:lnTo>
                    <a:pt x="67" y="70"/>
                  </a:lnTo>
                  <a:lnTo>
                    <a:pt x="79" y="78"/>
                  </a:lnTo>
                  <a:lnTo>
                    <a:pt x="96" y="55"/>
                  </a:lnTo>
                  <a:lnTo>
                    <a:pt x="111" y="55"/>
                  </a:lnTo>
                  <a:lnTo>
                    <a:pt x="102" y="10"/>
                  </a:lnTo>
                  <a:lnTo>
                    <a:pt x="147" y="0"/>
                  </a:lnTo>
                  <a:lnTo>
                    <a:pt x="154" y="16"/>
                  </a:lnTo>
                  <a:lnTo>
                    <a:pt x="142" y="28"/>
                  </a:lnTo>
                  <a:lnTo>
                    <a:pt x="151" y="46"/>
                  </a:lnTo>
                  <a:lnTo>
                    <a:pt x="169" y="48"/>
                  </a:lnTo>
                  <a:lnTo>
                    <a:pt x="168" y="63"/>
                  </a:lnTo>
                  <a:lnTo>
                    <a:pt x="109" y="76"/>
                  </a:lnTo>
                  <a:lnTo>
                    <a:pt x="102" y="90"/>
                  </a:lnTo>
                  <a:lnTo>
                    <a:pt x="58" y="108"/>
                  </a:lnTo>
                  <a:lnTo>
                    <a:pt x="49" y="129"/>
                  </a:lnTo>
                  <a:lnTo>
                    <a:pt x="1" y="112"/>
                  </a:lnTo>
                  <a:lnTo>
                    <a:pt x="0" y="87"/>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41" name="Text Box 2030"/>
            <p:cNvSpPr txBox="1">
              <a:spLocks noChangeArrowheads="1"/>
            </p:cNvSpPr>
            <p:nvPr/>
          </p:nvSpPr>
          <p:spPr bwMode="auto">
            <a:xfrm rot="1585187">
              <a:off x="1065213" y="2782966"/>
              <a:ext cx="1016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500">
                  <a:solidFill>
                    <a:srgbClr val="000000"/>
                  </a:solidFill>
                </a:rPr>
                <a:t>Rur</a:t>
              </a:r>
            </a:p>
          </p:txBody>
        </p:sp>
        <p:sp>
          <p:nvSpPr>
            <p:cNvPr id="742" name="Text Box 2031"/>
            <p:cNvSpPr txBox="1">
              <a:spLocks noChangeArrowheads="1"/>
            </p:cNvSpPr>
            <p:nvPr/>
          </p:nvSpPr>
          <p:spPr bwMode="auto">
            <a:xfrm>
              <a:off x="981075" y="5121353"/>
              <a:ext cx="2428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Dürwiß</a:t>
              </a:r>
            </a:p>
          </p:txBody>
        </p:sp>
        <p:sp>
          <p:nvSpPr>
            <p:cNvPr id="743" name="Freeform 2032"/>
            <p:cNvSpPr>
              <a:spLocks/>
            </p:cNvSpPr>
            <p:nvPr/>
          </p:nvSpPr>
          <p:spPr bwMode="auto">
            <a:xfrm>
              <a:off x="1976438" y="4332366"/>
              <a:ext cx="30163" cy="134938"/>
            </a:xfrm>
            <a:custGeom>
              <a:avLst/>
              <a:gdLst>
                <a:gd name="T0" fmla="*/ 2147483647 w 19"/>
                <a:gd name="T1" fmla="*/ 2147483647 h 85"/>
                <a:gd name="T2" fmla="*/ 2147483647 w 19"/>
                <a:gd name="T3" fmla="*/ 2147483647 h 85"/>
                <a:gd name="T4" fmla="*/ 2147483647 w 19"/>
                <a:gd name="T5" fmla="*/ 2147483647 h 85"/>
                <a:gd name="T6" fmla="*/ 2147483647 w 19"/>
                <a:gd name="T7" fmla="*/ 2147483647 h 85"/>
                <a:gd name="T8" fmla="*/ 2147483647 w 19"/>
                <a:gd name="T9" fmla="*/ 2147483647 h 85"/>
                <a:gd name="T10" fmla="*/ 0 w 19"/>
                <a:gd name="T11" fmla="*/ 0 h 85"/>
                <a:gd name="T12" fmla="*/ 0 60000 65536"/>
                <a:gd name="T13" fmla="*/ 0 60000 65536"/>
                <a:gd name="T14" fmla="*/ 0 60000 65536"/>
                <a:gd name="T15" fmla="*/ 0 60000 65536"/>
                <a:gd name="T16" fmla="*/ 0 60000 65536"/>
                <a:gd name="T17" fmla="*/ 0 60000 65536"/>
                <a:gd name="T18" fmla="*/ 0 w 19"/>
                <a:gd name="T19" fmla="*/ 0 h 85"/>
                <a:gd name="T20" fmla="*/ 19 w 19"/>
                <a:gd name="T21" fmla="*/ 85 h 85"/>
              </a:gdLst>
              <a:ahLst/>
              <a:cxnLst>
                <a:cxn ang="T12">
                  <a:pos x="T0" y="T1"/>
                </a:cxn>
                <a:cxn ang="T13">
                  <a:pos x="T2" y="T3"/>
                </a:cxn>
                <a:cxn ang="T14">
                  <a:pos x="T4" y="T5"/>
                </a:cxn>
                <a:cxn ang="T15">
                  <a:pos x="T6" y="T7"/>
                </a:cxn>
                <a:cxn ang="T16">
                  <a:pos x="T8" y="T9"/>
                </a:cxn>
                <a:cxn ang="T17">
                  <a:pos x="T10" y="T11"/>
                </a:cxn>
              </a:cxnLst>
              <a:rect l="T18" t="T19" r="T20" b="T21"/>
              <a:pathLst>
                <a:path w="19" h="85">
                  <a:moveTo>
                    <a:pt x="18" y="85"/>
                  </a:moveTo>
                  <a:cubicBezTo>
                    <a:pt x="18" y="83"/>
                    <a:pt x="19" y="77"/>
                    <a:pt x="18" y="71"/>
                  </a:cubicBezTo>
                  <a:cubicBezTo>
                    <a:pt x="17" y="65"/>
                    <a:pt x="15" y="57"/>
                    <a:pt x="15" y="51"/>
                  </a:cubicBezTo>
                  <a:cubicBezTo>
                    <a:pt x="15" y="45"/>
                    <a:pt x="17" y="42"/>
                    <a:pt x="15" y="37"/>
                  </a:cubicBezTo>
                  <a:cubicBezTo>
                    <a:pt x="14" y="31"/>
                    <a:pt x="10" y="22"/>
                    <a:pt x="8" y="16"/>
                  </a:cubicBezTo>
                  <a:cubicBezTo>
                    <a:pt x="5" y="10"/>
                    <a:pt x="1" y="3"/>
                    <a:pt x="0" y="0"/>
                  </a:cubicBezTo>
                </a:path>
              </a:pathLst>
            </a:custGeom>
            <a:noFill/>
            <a:ln w="12700"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44" name="Freeform 2033"/>
            <p:cNvSpPr>
              <a:spLocks/>
            </p:cNvSpPr>
            <p:nvPr/>
          </p:nvSpPr>
          <p:spPr bwMode="auto">
            <a:xfrm>
              <a:off x="5662613" y="2802016"/>
              <a:ext cx="1160463" cy="2774950"/>
            </a:xfrm>
            <a:custGeom>
              <a:avLst/>
              <a:gdLst>
                <a:gd name="T0" fmla="*/ 2147483647 w 731"/>
                <a:gd name="T1" fmla="*/ 2147483647 h 1748"/>
                <a:gd name="T2" fmla="*/ 2147483647 w 731"/>
                <a:gd name="T3" fmla="*/ 2147483647 h 1748"/>
                <a:gd name="T4" fmla="*/ 2147483647 w 731"/>
                <a:gd name="T5" fmla="*/ 2147483647 h 1748"/>
                <a:gd name="T6" fmla="*/ 2147483647 w 731"/>
                <a:gd name="T7" fmla="*/ 2147483647 h 1748"/>
                <a:gd name="T8" fmla="*/ 2147483647 w 731"/>
                <a:gd name="T9" fmla="*/ 2147483647 h 1748"/>
                <a:gd name="T10" fmla="*/ 2147483647 w 731"/>
                <a:gd name="T11" fmla="*/ 2147483647 h 1748"/>
                <a:gd name="T12" fmla="*/ 2147483647 w 731"/>
                <a:gd name="T13" fmla="*/ 2147483647 h 1748"/>
                <a:gd name="T14" fmla="*/ 2147483647 w 731"/>
                <a:gd name="T15" fmla="*/ 2147483647 h 1748"/>
                <a:gd name="T16" fmla="*/ 2147483647 w 731"/>
                <a:gd name="T17" fmla="*/ 2147483647 h 1748"/>
                <a:gd name="T18" fmla="*/ 2147483647 w 731"/>
                <a:gd name="T19" fmla="*/ 2147483647 h 1748"/>
                <a:gd name="T20" fmla="*/ 2147483647 w 731"/>
                <a:gd name="T21" fmla="*/ 2147483647 h 1748"/>
                <a:gd name="T22" fmla="*/ 2147483647 w 731"/>
                <a:gd name="T23" fmla="*/ 2147483647 h 1748"/>
                <a:gd name="T24" fmla="*/ 2147483647 w 731"/>
                <a:gd name="T25" fmla="*/ 2147483647 h 1748"/>
                <a:gd name="T26" fmla="*/ 2147483647 w 731"/>
                <a:gd name="T27" fmla="*/ 2147483647 h 1748"/>
                <a:gd name="T28" fmla="*/ 2147483647 w 731"/>
                <a:gd name="T29" fmla="*/ 2147483647 h 1748"/>
                <a:gd name="T30" fmla="*/ 2147483647 w 731"/>
                <a:gd name="T31" fmla="*/ 2147483647 h 1748"/>
                <a:gd name="T32" fmla="*/ 2147483647 w 731"/>
                <a:gd name="T33" fmla="*/ 2147483647 h 1748"/>
                <a:gd name="T34" fmla="*/ 2147483647 w 731"/>
                <a:gd name="T35" fmla="*/ 2147483647 h 1748"/>
                <a:gd name="T36" fmla="*/ 2147483647 w 731"/>
                <a:gd name="T37" fmla="*/ 2147483647 h 1748"/>
                <a:gd name="T38" fmla="*/ 2147483647 w 731"/>
                <a:gd name="T39" fmla="*/ 2147483647 h 1748"/>
                <a:gd name="T40" fmla="*/ 2147483647 w 731"/>
                <a:gd name="T41" fmla="*/ 2147483647 h 1748"/>
                <a:gd name="T42" fmla="*/ 2147483647 w 731"/>
                <a:gd name="T43" fmla="*/ 2147483647 h 1748"/>
                <a:gd name="T44" fmla="*/ 2147483647 w 731"/>
                <a:gd name="T45" fmla="*/ 2147483647 h 1748"/>
                <a:gd name="T46" fmla="*/ 2147483647 w 731"/>
                <a:gd name="T47" fmla="*/ 2147483647 h 1748"/>
                <a:gd name="T48" fmla="*/ 2147483647 w 731"/>
                <a:gd name="T49" fmla="*/ 0 h 17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1"/>
                <a:gd name="T76" fmla="*/ 0 h 1748"/>
                <a:gd name="T77" fmla="*/ 731 w 731"/>
                <a:gd name="T78" fmla="*/ 1748 h 17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1" h="1748">
                  <a:moveTo>
                    <a:pt x="23" y="1748"/>
                  </a:moveTo>
                  <a:cubicBezTo>
                    <a:pt x="20" y="1743"/>
                    <a:pt x="6" y="1731"/>
                    <a:pt x="3" y="1720"/>
                  </a:cubicBezTo>
                  <a:cubicBezTo>
                    <a:pt x="0" y="1709"/>
                    <a:pt x="4" y="1698"/>
                    <a:pt x="6" y="1683"/>
                  </a:cubicBezTo>
                  <a:cubicBezTo>
                    <a:pt x="8" y="1668"/>
                    <a:pt x="9" y="1652"/>
                    <a:pt x="18" y="1632"/>
                  </a:cubicBezTo>
                  <a:cubicBezTo>
                    <a:pt x="27" y="1612"/>
                    <a:pt x="46" y="1582"/>
                    <a:pt x="57" y="1562"/>
                  </a:cubicBezTo>
                  <a:cubicBezTo>
                    <a:pt x="68" y="1542"/>
                    <a:pt x="76" y="1538"/>
                    <a:pt x="86" y="1514"/>
                  </a:cubicBezTo>
                  <a:cubicBezTo>
                    <a:pt x="96" y="1490"/>
                    <a:pt x="110" y="1447"/>
                    <a:pt x="116" y="1418"/>
                  </a:cubicBezTo>
                  <a:cubicBezTo>
                    <a:pt x="122" y="1389"/>
                    <a:pt x="124" y="1365"/>
                    <a:pt x="125" y="1341"/>
                  </a:cubicBezTo>
                  <a:cubicBezTo>
                    <a:pt x="126" y="1317"/>
                    <a:pt x="125" y="1296"/>
                    <a:pt x="122" y="1275"/>
                  </a:cubicBezTo>
                  <a:cubicBezTo>
                    <a:pt x="119" y="1254"/>
                    <a:pt x="110" y="1229"/>
                    <a:pt x="108" y="1217"/>
                  </a:cubicBezTo>
                  <a:cubicBezTo>
                    <a:pt x="106" y="1205"/>
                    <a:pt x="111" y="1212"/>
                    <a:pt x="111" y="1203"/>
                  </a:cubicBezTo>
                  <a:cubicBezTo>
                    <a:pt x="111" y="1194"/>
                    <a:pt x="109" y="1176"/>
                    <a:pt x="111" y="1163"/>
                  </a:cubicBezTo>
                  <a:cubicBezTo>
                    <a:pt x="113" y="1150"/>
                    <a:pt x="112" y="1136"/>
                    <a:pt x="120" y="1125"/>
                  </a:cubicBezTo>
                  <a:cubicBezTo>
                    <a:pt x="128" y="1114"/>
                    <a:pt x="137" y="1114"/>
                    <a:pt x="158" y="1098"/>
                  </a:cubicBezTo>
                  <a:cubicBezTo>
                    <a:pt x="179" y="1082"/>
                    <a:pt x="214" y="1054"/>
                    <a:pt x="245" y="1028"/>
                  </a:cubicBezTo>
                  <a:cubicBezTo>
                    <a:pt x="276" y="1002"/>
                    <a:pt x="326" y="960"/>
                    <a:pt x="344" y="941"/>
                  </a:cubicBezTo>
                  <a:cubicBezTo>
                    <a:pt x="362" y="922"/>
                    <a:pt x="355" y="925"/>
                    <a:pt x="355" y="912"/>
                  </a:cubicBezTo>
                  <a:cubicBezTo>
                    <a:pt x="355" y="899"/>
                    <a:pt x="347" y="884"/>
                    <a:pt x="342" y="863"/>
                  </a:cubicBezTo>
                  <a:cubicBezTo>
                    <a:pt x="337" y="842"/>
                    <a:pt x="326" y="810"/>
                    <a:pt x="327" y="783"/>
                  </a:cubicBezTo>
                  <a:cubicBezTo>
                    <a:pt x="328" y="756"/>
                    <a:pt x="345" y="734"/>
                    <a:pt x="351" y="702"/>
                  </a:cubicBezTo>
                  <a:cubicBezTo>
                    <a:pt x="357" y="670"/>
                    <a:pt x="361" y="656"/>
                    <a:pt x="365" y="590"/>
                  </a:cubicBezTo>
                  <a:cubicBezTo>
                    <a:pt x="369" y="524"/>
                    <a:pt x="363" y="372"/>
                    <a:pt x="374" y="308"/>
                  </a:cubicBezTo>
                  <a:cubicBezTo>
                    <a:pt x="385" y="244"/>
                    <a:pt x="393" y="234"/>
                    <a:pt x="431" y="204"/>
                  </a:cubicBezTo>
                  <a:cubicBezTo>
                    <a:pt x="469" y="174"/>
                    <a:pt x="552" y="160"/>
                    <a:pt x="602" y="126"/>
                  </a:cubicBezTo>
                  <a:cubicBezTo>
                    <a:pt x="652" y="92"/>
                    <a:pt x="704" y="26"/>
                    <a:pt x="731"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45" name="Text Box 2034"/>
            <p:cNvSpPr txBox="1">
              <a:spLocks noChangeArrowheads="1"/>
            </p:cNvSpPr>
            <p:nvPr/>
          </p:nvSpPr>
          <p:spPr bwMode="auto">
            <a:xfrm>
              <a:off x="6116638" y="4226003"/>
              <a:ext cx="165100"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1 </a:t>
              </a:r>
            </a:p>
          </p:txBody>
        </p:sp>
        <p:sp>
          <p:nvSpPr>
            <p:cNvPr id="746" name="Text Box 2035"/>
            <p:cNvSpPr txBox="1">
              <a:spLocks noChangeArrowheads="1"/>
            </p:cNvSpPr>
            <p:nvPr/>
          </p:nvSpPr>
          <p:spPr bwMode="auto">
            <a:xfrm>
              <a:off x="5848350" y="4353003"/>
              <a:ext cx="325410" cy="92333"/>
            </a:xfrm>
            <a:prstGeom prst="rect">
              <a:avLst/>
            </a:prstGeom>
            <a:solidFill>
              <a:srgbClr val="FFFF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 Frechen </a:t>
              </a:r>
            </a:p>
          </p:txBody>
        </p:sp>
        <p:sp>
          <p:nvSpPr>
            <p:cNvPr id="747" name="Freeform 2036"/>
            <p:cNvSpPr>
              <a:spLocks/>
            </p:cNvSpPr>
            <p:nvPr/>
          </p:nvSpPr>
          <p:spPr bwMode="auto">
            <a:xfrm>
              <a:off x="6624638" y="4262516"/>
              <a:ext cx="204788" cy="277813"/>
            </a:xfrm>
            <a:custGeom>
              <a:avLst/>
              <a:gdLst>
                <a:gd name="T0" fmla="*/ 0 w 129"/>
                <a:gd name="T1" fmla="*/ 2147483647 h 175"/>
                <a:gd name="T2" fmla="*/ 2147483647 w 129"/>
                <a:gd name="T3" fmla="*/ 2147483647 h 175"/>
                <a:gd name="T4" fmla="*/ 2147483647 w 129"/>
                <a:gd name="T5" fmla="*/ 0 h 175"/>
                <a:gd name="T6" fmla="*/ 0 60000 65536"/>
                <a:gd name="T7" fmla="*/ 0 60000 65536"/>
                <a:gd name="T8" fmla="*/ 0 60000 65536"/>
                <a:gd name="T9" fmla="*/ 0 w 129"/>
                <a:gd name="T10" fmla="*/ 0 h 175"/>
                <a:gd name="T11" fmla="*/ 129 w 129"/>
                <a:gd name="T12" fmla="*/ 175 h 175"/>
              </a:gdLst>
              <a:ahLst/>
              <a:cxnLst>
                <a:cxn ang="T6">
                  <a:pos x="T0" y="T1"/>
                </a:cxn>
                <a:cxn ang="T7">
                  <a:pos x="T2" y="T3"/>
                </a:cxn>
                <a:cxn ang="T8">
                  <a:pos x="T4" y="T5"/>
                </a:cxn>
              </a:cxnLst>
              <a:rect l="T9" t="T10" r="T11" b="T12"/>
              <a:pathLst>
                <a:path w="129" h="175">
                  <a:moveTo>
                    <a:pt x="0" y="175"/>
                  </a:moveTo>
                  <a:cubicBezTo>
                    <a:pt x="13" y="162"/>
                    <a:pt x="27" y="150"/>
                    <a:pt x="48" y="121"/>
                  </a:cubicBezTo>
                  <a:cubicBezTo>
                    <a:pt x="69" y="92"/>
                    <a:pt x="99" y="46"/>
                    <a:pt x="129"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48" name="Freeform 2037"/>
            <p:cNvSpPr>
              <a:spLocks/>
            </p:cNvSpPr>
            <p:nvPr/>
          </p:nvSpPr>
          <p:spPr bwMode="auto">
            <a:xfrm>
              <a:off x="5949950" y="2827416"/>
              <a:ext cx="1685925" cy="1787525"/>
            </a:xfrm>
            <a:custGeom>
              <a:avLst/>
              <a:gdLst>
                <a:gd name="T0" fmla="*/ 2147483647 w 1062"/>
                <a:gd name="T1" fmla="*/ 2147483647 h 1126"/>
                <a:gd name="T2" fmla="*/ 2147483647 w 1062"/>
                <a:gd name="T3" fmla="*/ 2147483647 h 1126"/>
                <a:gd name="T4" fmla="*/ 2147483647 w 1062"/>
                <a:gd name="T5" fmla="*/ 2147483647 h 1126"/>
                <a:gd name="T6" fmla="*/ 2147483647 w 1062"/>
                <a:gd name="T7" fmla="*/ 2147483647 h 1126"/>
                <a:gd name="T8" fmla="*/ 2147483647 w 1062"/>
                <a:gd name="T9" fmla="*/ 2147483647 h 1126"/>
                <a:gd name="T10" fmla="*/ 2147483647 w 1062"/>
                <a:gd name="T11" fmla="*/ 2147483647 h 1126"/>
                <a:gd name="T12" fmla="*/ 2147483647 w 1062"/>
                <a:gd name="T13" fmla="*/ 2147483647 h 1126"/>
                <a:gd name="T14" fmla="*/ 2147483647 w 1062"/>
                <a:gd name="T15" fmla="*/ 2147483647 h 1126"/>
                <a:gd name="T16" fmla="*/ 2147483647 w 1062"/>
                <a:gd name="T17" fmla="*/ 2147483647 h 1126"/>
                <a:gd name="T18" fmla="*/ 2147483647 w 1062"/>
                <a:gd name="T19" fmla="*/ 2147483647 h 1126"/>
                <a:gd name="T20" fmla="*/ 2147483647 w 1062"/>
                <a:gd name="T21" fmla="*/ 2147483647 h 1126"/>
                <a:gd name="T22" fmla="*/ 2147483647 w 1062"/>
                <a:gd name="T23" fmla="*/ 2147483647 h 1126"/>
                <a:gd name="T24" fmla="*/ 2147483647 w 1062"/>
                <a:gd name="T25" fmla="*/ 2147483647 h 1126"/>
                <a:gd name="T26" fmla="*/ 2147483647 w 1062"/>
                <a:gd name="T27" fmla="*/ 2147483647 h 1126"/>
                <a:gd name="T28" fmla="*/ 2147483647 w 1062"/>
                <a:gd name="T29" fmla="*/ 2147483647 h 1126"/>
                <a:gd name="T30" fmla="*/ 2147483647 w 1062"/>
                <a:gd name="T31" fmla="*/ 2147483647 h 1126"/>
                <a:gd name="T32" fmla="*/ 2147483647 w 1062"/>
                <a:gd name="T33" fmla="*/ 2147483647 h 1126"/>
                <a:gd name="T34" fmla="*/ 2147483647 w 1062"/>
                <a:gd name="T35" fmla="*/ 2147483647 h 1126"/>
                <a:gd name="T36" fmla="*/ 2147483647 w 1062"/>
                <a:gd name="T37" fmla="*/ 2147483647 h 1126"/>
                <a:gd name="T38" fmla="*/ 2147483647 w 1062"/>
                <a:gd name="T39" fmla="*/ 2147483647 h 1126"/>
                <a:gd name="T40" fmla="*/ 2147483647 w 1062"/>
                <a:gd name="T41" fmla="*/ 2147483647 h 1126"/>
                <a:gd name="T42" fmla="*/ 2147483647 w 1062"/>
                <a:gd name="T43" fmla="*/ 2147483647 h 1126"/>
                <a:gd name="T44" fmla="*/ 2147483647 w 1062"/>
                <a:gd name="T45" fmla="*/ 2147483647 h 1126"/>
                <a:gd name="T46" fmla="*/ 0 w 1062"/>
                <a:gd name="T47" fmla="*/ 2147483647 h 1126"/>
                <a:gd name="T48" fmla="*/ 2147483647 w 1062"/>
                <a:gd name="T49" fmla="*/ 2147483647 h 1126"/>
                <a:gd name="T50" fmla="*/ 2147483647 w 1062"/>
                <a:gd name="T51" fmla="*/ 2147483647 h 1126"/>
                <a:gd name="T52" fmla="*/ 2147483647 w 1062"/>
                <a:gd name="T53" fmla="*/ 2147483647 h 1126"/>
                <a:gd name="T54" fmla="*/ 2147483647 w 1062"/>
                <a:gd name="T55" fmla="*/ 2147483647 h 1126"/>
                <a:gd name="T56" fmla="*/ 2147483647 w 1062"/>
                <a:gd name="T57" fmla="*/ 2147483647 h 1126"/>
                <a:gd name="T58" fmla="*/ 2147483647 w 1062"/>
                <a:gd name="T59" fmla="*/ 2147483647 h 1126"/>
                <a:gd name="T60" fmla="*/ 2147483647 w 1062"/>
                <a:gd name="T61" fmla="*/ 2147483647 h 1126"/>
                <a:gd name="T62" fmla="*/ 2147483647 w 1062"/>
                <a:gd name="T63" fmla="*/ 2147483647 h 1126"/>
                <a:gd name="T64" fmla="*/ 2147483647 w 1062"/>
                <a:gd name="T65" fmla="*/ 2147483647 h 1126"/>
                <a:gd name="T66" fmla="*/ 2147483647 w 1062"/>
                <a:gd name="T67" fmla="*/ 2147483647 h 1126"/>
                <a:gd name="T68" fmla="*/ 2147483647 w 1062"/>
                <a:gd name="T69" fmla="*/ 2147483647 h 1126"/>
                <a:gd name="T70" fmla="*/ 2147483647 w 1062"/>
                <a:gd name="T71" fmla="*/ 2147483647 h 1126"/>
                <a:gd name="T72" fmla="*/ 2147483647 w 1062"/>
                <a:gd name="T73" fmla="*/ 2147483647 h 1126"/>
                <a:gd name="T74" fmla="*/ 2147483647 w 1062"/>
                <a:gd name="T75" fmla="*/ 2147483647 h 1126"/>
                <a:gd name="T76" fmla="*/ 2147483647 w 1062"/>
                <a:gd name="T77" fmla="*/ 2147483647 h 1126"/>
                <a:gd name="T78" fmla="*/ 2147483647 w 1062"/>
                <a:gd name="T79" fmla="*/ 2147483647 h 1126"/>
                <a:gd name="T80" fmla="*/ 2147483647 w 1062"/>
                <a:gd name="T81" fmla="*/ 2147483647 h 1126"/>
                <a:gd name="T82" fmla="*/ 2147483647 w 1062"/>
                <a:gd name="T83" fmla="*/ 2147483647 h 1126"/>
                <a:gd name="T84" fmla="*/ 2147483647 w 1062"/>
                <a:gd name="T85" fmla="*/ 2147483647 h 1126"/>
                <a:gd name="T86" fmla="*/ 2147483647 w 1062"/>
                <a:gd name="T87" fmla="*/ 2147483647 h 1126"/>
                <a:gd name="T88" fmla="*/ 2147483647 w 1062"/>
                <a:gd name="T89" fmla="*/ 2147483647 h 1126"/>
                <a:gd name="T90" fmla="*/ 2147483647 w 1062"/>
                <a:gd name="T91" fmla="*/ 2147483647 h 1126"/>
                <a:gd name="T92" fmla="*/ 2147483647 w 1062"/>
                <a:gd name="T93" fmla="*/ 2147483647 h 1126"/>
                <a:gd name="T94" fmla="*/ 2147483647 w 1062"/>
                <a:gd name="T95" fmla="*/ 2147483647 h 1126"/>
                <a:gd name="T96" fmla="*/ 2147483647 w 1062"/>
                <a:gd name="T97" fmla="*/ 2147483647 h 1126"/>
                <a:gd name="T98" fmla="*/ 2147483647 w 1062"/>
                <a:gd name="T99" fmla="*/ 2147483647 h 1126"/>
                <a:gd name="T100" fmla="*/ 2147483647 w 1062"/>
                <a:gd name="T101" fmla="*/ 2147483647 h 1126"/>
                <a:gd name="T102" fmla="*/ 2147483647 w 1062"/>
                <a:gd name="T103" fmla="*/ 2147483647 h 1126"/>
                <a:gd name="T104" fmla="*/ 2147483647 w 1062"/>
                <a:gd name="T105" fmla="*/ 2147483647 h 1126"/>
                <a:gd name="T106" fmla="*/ 2147483647 w 1062"/>
                <a:gd name="T107" fmla="*/ 2147483647 h 1126"/>
                <a:gd name="T108" fmla="*/ 2147483647 w 1062"/>
                <a:gd name="T109" fmla="*/ 2147483647 h 1126"/>
                <a:gd name="T110" fmla="*/ 2147483647 w 1062"/>
                <a:gd name="T111" fmla="*/ 2147483647 h 1126"/>
                <a:gd name="T112" fmla="*/ 2147483647 w 1062"/>
                <a:gd name="T113" fmla="*/ 2147483647 h 1126"/>
                <a:gd name="T114" fmla="*/ 2147483647 w 1062"/>
                <a:gd name="T115" fmla="*/ 0 h 1126"/>
                <a:gd name="T116" fmla="*/ 2147483647 w 1062"/>
                <a:gd name="T117" fmla="*/ 0 h 1126"/>
                <a:gd name="T118" fmla="*/ 2147483647 w 1062"/>
                <a:gd name="T119" fmla="*/ 2147483647 h 1126"/>
                <a:gd name="T120" fmla="*/ 2147483647 w 1062"/>
                <a:gd name="T121" fmla="*/ 2147483647 h 1126"/>
                <a:gd name="T122" fmla="*/ 2147483647 w 1062"/>
                <a:gd name="T123" fmla="*/ 2147483647 h 1126"/>
                <a:gd name="T124" fmla="*/ 2147483647 w 1062"/>
                <a:gd name="T125" fmla="*/ 2147483647 h 11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62"/>
                <a:gd name="T190" fmla="*/ 0 h 1126"/>
                <a:gd name="T191" fmla="*/ 1062 w 1062"/>
                <a:gd name="T192" fmla="*/ 1126 h 11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62" h="1126">
                  <a:moveTo>
                    <a:pt x="980" y="1126"/>
                  </a:moveTo>
                  <a:lnTo>
                    <a:pt x="928" y="1058"/>
                  </a:lnTo>
                  <a:lnTo>
                    <a:pt x="930" y="970"/>
                  </a:lnTo>
                  <a:lnTo>
                    <a:pt x="908" y="962"/>
                  </a:lnTo>
                  <a:lnTo>
                    <a:pt x="880" y="1020"/>
                  </a:lnTo>
                  <a:lnTo>
                    <a:pt x="726" y="1010"/>
                  </a:lnTo>
                  <a:lnTo>
                    <a:pt x="702" y="960"/>
                  </a:lnTo>
                  <a:lnTo>
                    <a:pt x="660" y="950"/>
                  </a:lnTo>
                  <a:lnTo>
                    <a:pt x="638" y="974"/>
                  </a:lnTo>
                  <a:lnTo>
                    <a:pt x="526" y="904"/>
                  </a:lnTo>
                  <a:lnTo>
                    <a:pt x="542" y="862"/>
                  </a:lnTo>
                  <a:lnTo>
                    <a:pt x="536" y="832"/>
                  </a:lnTo>
                  <a:lnTo>
                    <a:pt x="510" y="856"/>
                  </a:lnTo>
                  <a:lnTo>
                    <a:pt x="476" y="828"/>
                  </a:lnTo>
                  <a:lnTo>
                    <a:pt x="444" y="830"/>
                  </a:lnTo>
                  <a:lnTo>
                    <a:pt x="416" y="794"/>
                  </a:lnTo>
                  <a:lnTo>
                    <a:pt x="456" y="762"/>
                  </a:lnTo>
                  <a:lnTo>
                    <a:pt x="432" y="762"/>
                  </a:lnTo>
                  <a:lnTo>
                    <a:pt x="412" y="742"/>
                  </a:lnTo>
                  <a:lnTo>
                    <a:pt x="206" y="732"/>
                  </a:lnTo>
                  <a:lnTo>
                    <a:pt x="174" y="678"/>
                  </a:lnTo>
                  <a:lnTo>
                    <a:pt x="62" y="674"/>
                  </a:lnTo>
                  <a:lnTo>
                    <a:pt x="26" y="654"/>
                  </a:lnTo>
                  <a:lnTo>
                    <a:pt x="0" y="582"/>
                  </a:lnTo>
                  <a:lnTo>
                    <a:pt x="16" y="524"/>
                  </a:lnTo>
                  <a:lnTo>
                    <a:pt x="40" y="508"/>
                  </a:lnTo>
                  <a:lnTo>
                    <a:pt x="100" y="510"/>
                  </a:lnTo>
                  <a:lnTo>
                    <a:pt x="110" y="538"/>
                  </a:lnTo>
                  <a:lnTo>
                    <a:pt x="204" y="540"/>
                  </a:lnTo>
                  <a:lnTo>
                    <a:pt x="296" y="538"/>
                  </a:lnTo>
                  <a:lnTo>
                    <a:pt x="308" y="514"/>
                  </a:lnTo>
                  <a:lnTo>
                    <a:pt x="286" y="398"/>
                  </a:lnTo>
                  <a:lnTo>
                    <a:pt x="298" y="386"/>
                  </a:lnTo>
                  <a:lnTo>
                    <a:pt x="400" y="356"/>
                  </a:lnTo>
                  <a:lnTo>
                    <a:pt x="406" y="282"/>
                  </a:lnTo>
                  <a:lnTo>
                    <a:pt x="420" y="276"/>
                  </a:lnTo>
                  <a:lnTo>
                    <a:pt x="424" y="208"/>
                  </a:lnTo>
                  <a:lnTo>
                    <a:pt x="470" y="208"/>
                  </a:lnTo>
                  <a:lnTo>
                    <a:pt x="474" y="282"/>
                  </a:lnTo>
                  <a:lnTo>
                    <a:pt x="504" y="286"/>
                  </a:lnTo>
                  <a:lnTo>
                    <a:pt x="528" y="318"/>
                  </a:lnTo>
                  <a:lnTo>
                    <a:pt x="568" y="298"/>
                  </a:lnTo>
                  <a:lnTo>
                    <a:pt x="532" y="240"/>
                  </a:lnTo>
                  <a:lnTo>
                    <a:pt x="594" y="214"/>
                  </a:lnTo>
                  <a:lnTo>
                    <a:pt x="658" y="286"/>
                  </a:lnTo>
                  <a:lnTo>
                    <a:pt x="704" y="260"/>
                  </a:lnTo>
                  <a:lnTo>
                    <a:pt x="672" y="222"/>
                  </a:lnTo>
                  <a:lnTo>
                    <a:pt x="704" y="170"/>
                  </a:lnTo>
                  <a:lnTo>
                    <a:pt x="728" y="214"/>
                  </a:lnTo>
                  <a:lnTo>
                    <a:pt x="766" y="210"/>
                  </a:lnTo>
                  <a:lnTo>
                    <a:pt x="766" y="162"/>
                  </a:lnTo>
                  <a:lnTo>
                    <a:pt x="854" y="158"/>
                  </a:lnTo>
                  <a:lnTo>
                    <a:pt x="886" y="172"/>
                  </a:lnTo>
                  <a:lnTo>
                    <a:pt x="928" y="154"/>
                  </a:lnTo>
                  <a:lnTo>
                    <a:pt x="856" y="112"/>
                  </a:lnTo>
                  <a:lnTo>
                    <a:pt x="864" y="42"/>
                  </a:lnTo>
                  <a:lnTo>
                    <a:pt x="898" y="38"/>
                  </a:lnTo>
                  <a:lnTo>
                    <a:pt x="908" y="0"/>
                  </a:lnTo>
                  <a:lnTo>
                    <a:pt x="980" y="0"/>
                  </a:lnTo>
                  <a:lnTo>
                    <a:pt x="1018" y="172"/>
                  </a:lnTo>
                  <a:lnTo>
                    <a:pt x="1062" y="156"/>
                  </a:lnTo>
                  <a:lnTo>
                    <a:pt x="1062" y="1088"/>
                  </a:lnTo>
                  <a:lnTo>
                    <a:pt x="980" y="1126"/>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49" name="Freeform 2038"/>
            <p:cNvSpPr>
              <a:spLocks/>
            </p:cNvSpPr>
            <p:nvPr/>
          </p:nvSpPr>
          <p:spPr bwMode="auto">
            <a:xfrm>
              <a:off x="7197725" y="2655966"/>
              <a:ext cx="444500" cy="2771775"/>
            </a:xfrm>
            <a:custGeom>
              <a:avLst/>
              <a:gdLst>
                <a:gd name="T0" fmla="*/ 2147483647 w 280"/>
                <a:gd name="T1" fmla="*/ 2147483647 h 1746"/>
                <a:gd name="T2" fmla="*/ 2147483647 w 280"/>
                <a:gd name="T3" fmla="*/ 2147483647 h 1746"/>
                <a:gd name="T4" fmla="*/ 2147483647 w 280"/>
                <a:gd name="T5" fmla="*/ 2147483647 h 1746"/>
                <a:gd name="T6" fmla="*/ 2147483647 w 280"/>
                <a:gd name="T7" fmla="*/ 2147483647 h 1746"/>
                <a:gd name="T8" fmla="*/ 2147483647 w 280"/>
                <a:gd name="T9" fmla="*/ 2147483647 h 1746"/>
                <a:gd name="T10" fmla="*/ 2147483647 w 280"/>
                <a:gd name="T11" fmla="*/ 2147483647 h 1746"/>
                <a:gd name="T12" fmla="*/ 2147483647 w 280"/>
                <a:gd name="T13" fmla="*/ 2147483647 h 1746"/>
                <a:gd name="T14" fmla="*/ 2147483647 w 280"/>
                <a:gd name="T15" fmla="*/ 2147483647 h 1746"/>
                <a:gd name="T16" fmla="*/ 2147483647 w 280"/>
                <a:gd name="T17" fmla="*/ 2147483647 h 1746"/>
                <a:gd name="T18" fmla="*/ 2147483647 w 280"/>
                <a:gd name="T19" fmla="*/ 2147483647 h 1746"/>
                <a:gd name="T20" fmla="*/ 2147483647 w 280"/>
                <a:gd name="T21" fmla="*/ 2147483647 h 1746"/>
                <a:gd name="T22" fmla="*/ 2147483647 w 280"/>
                <a:gd name="T23" fmla="*/ 2147483647 h 1746"/>
                <a:gd name="T24" fmla="*/ 2147483647 w 280"/>
                <a:gd name="T25" fmla="*/ 2147483647 h 1746"/>
                <a:gd name="T26" fmla="*/ 2147483647 w 280"/>
                <a:gd name="T27" fmla="*/ 2147483647 h 1746"/>
                <a:gd name="T28" fmla="*/ 2147483647 w 280"/>
                <a:gd name="T29" fmla="*/ 2147483647 h 1746"/>
                <a:gd name="T30" fmla="*/ 2147483647 w 280"/>
                <a:gd name="T31" fmla="*/ 2147483647 h 1746"/>
                <a:gd name="T32" fmla="*/ 2147483647 w 280"/>
                <a:gd name="T33" fmla="*/ 2147483647 h 1746"/>
                <a:gd name="T34" fmla="*/ 2147483647 w 280"/>
                <a:gd name="T35" fmla="*/ 2147483647 h 1746"/>
                <a:gd name="T36" fmla="*/ 2147483647 w 280"/>
                <a:gd name="T37" fmla="*/ 2147483647 h 1746"/>
                <a:gd name="T38" fmla="*/ 2147483647 w 280"/>
                <a:gd name="T39" fmla="*/ 2147483647 h 1746"/>
                <a:gd name="T40" fmla="*/ 2147483647 w 280"/>
                <a:gd name="T41" fmla="*/ 0 h 17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0"/>
                <a:gd name="T64" fmla="*/ 0 h 1746"/>
                <a:gd name="T65" fmla="*/ 280 w 280"/>
                <a:gd name="T66" fmla="*/ 1746 h 17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0" h="1746">
                  <a:moveTo>
                    <a:pt x="280" y="1746"/>
                  </a:moveTo>
                  <a:cubicBezTo>
                    <a:pt x="255" y="1737"/>
                    <a:pt x="156" y="1720"/>
                    <a:pt x="132" y="1694"/>
                  </a:cubicBezTo>
                  <a:cubicBezTo>
                    <a:pt x="108" y="1668"/>
                    <a:pt x="130" y="1615"/>
                    <a:pt x="134" y="1592"/>
                  </a:cubicBezTo>
                  <a:cubicBezTo>
                    <a:pt x="138" y="1569"/>
                    <a:pt x="140" y="1575"/>
                    <a:pt x="158" y="1556"/>
                  </a:cubicBezTo>
                  <a:cubicBezTo>
                    <a:pt x="176" y="1537"/>
                    <a:pt x="225" y="1509"/>
                    <a:pt x="242" y="1480"/>
                  </a:cubicBezTo>
                  <a:cubicBezTo>
                    <a:pt x="259" y="1451"/>
                    <a:pt x="259" y="1424"/>
                    <a:pt x="260" y="1380"/>
                  </a:cubicBezTo>
                  <a:cubicBezTo>
                    <a:pt x="261" y="1336"/>
                    <a:pt x="267" y="1269"/>
                    <a:pt x="246" y="1214"/>
                  </a:cubicBezTo>
                  <a:cubicBezTo>
                    <a:pt x="225" y="1159"/>
                    <a:pt x="163" y="1095"/>
                    <a:pt x="136" y="1048"/>
                  </a:cubicBezTo>
                  <a:cubicBezTo>
                    <a:pt x="109" y="1001"/>
                    <a:pt x="98" y="972"/>
                    <a:pt x="82" y="932"/>
                  </a:cubicBezTo>
                  <a:cubicBezTo>
                    <a:pt x="66" y="892"/>
                    <a:pt x="49" y="850"/>
                    <a:pt x="42" y="810"/>
                  </a:cubicBezTo>
                  <a:cubicBezTo>
                    <a:pt x="35" y="770"/>
                    <a:pt x="33" y="728"/>
                    <a:pt x="40" y="694"/>
                  </a:cubicBezTo>
                  <a:cubicBezTo>
                    <a:pt x="47" y="660"/>
                    <a:pt x="64" y="632"/>
                    <a:pt x="84" y="606"/>
                  </a:cubicBezTo>
                  <a:cubicBezTo>
                    <a:pt x="104" y="580"/>
                    <a:pt x="142" y="557"/>
                    <a:pt x="162" y="538"/>
                  </a:cubicBezTo>
                  <a:cubicBezTo>
                    <a:pt x="182" y="519"/>
                    <a:pt x="197" y="510"/>
                    <a:pt x="206" y="490"/>
                  </a:cubicBezTo>
                  <a:cubicBezTo>
                    <a:pt x="215" y="470"/>
                    <a:pt x="222" y="436"/>
                    <a:pt x="216" y="416"/>
                  </a:cubicBezTo>
                  <a:cubicBezTo>
                    <a:pt x="210" y="396"/>
                    <a:pt x="186" y="384"/>
                    <a:pt x="168" y="370"/>
                  </a:cubicBezTo>
                  <a:cubicBezTo>
                    <a:pt x="150" y="356"/>
                    <a:pt x="129" y="347"/>
                    <a:pt x="108" y="334"/>
                  </a:cubicBezTo>
                  <a:cubicBezTo>
                    <a:pt x="87" y="321"/>
                    <a:pt x="59" y="309"/>
                    <a:pt x="44" y="292"/>
                  </a:cubicBezTo>
                  <a:cubicBezTo>
                    <a:pt x="29" y="275"/>
                    <a:pt x="20" y="255"/>
                    <a:pt x="16" y="232"/>
                  </a:cubicBezTo>
                  <a:cubicBezTo>
                    <a:pt x="12" y="209"/>
                    <a:pt x="0" y="191"/>
                    <a:pt x="18" y="152"/>
                  </a:cubicBezTo>
                  <a:cubicBezTo>
                    <a:pt x="36" y="113"/>
                    <a:pt x="81" y="56"/>
                    <a:pt x="126" y="0"/>
                  </a:cubicBezTo>
                </a:path>
              </a:pathLst>
            </a:custGeom>
            <a:noFill/>
            <a:ln w="38100" cap="flat" cmpd="sng">
              <a:solidFill>
                <a:srgbClr val="66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50" name="Text Box 2039"/>
            <p:cNvSpPr txBox="1">
              <a:spLocks noChangeArrowheads="1"/>
            </p:cNvSpPr>
            <p:nvPr/>
          </p:nvSpPr>
          <p:spPr bwMode="auto">
            <a:xfrm rot="4571210">
              <a:off x="7259638" y="4005341"/>
              <a:ext cx="20161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Rhein</a:t>
              </a:r>
            </a:p>
          </p:txBody>
        </p:sp>
        <p:sp>
          <p:nvSpPr>
            <p:cNvPr id="751" name="Text Box 2040"/>
            <p:cNvSpPr txBox="1">
              <a:spLocks noChangeArrowheads="1"/>
            </p:cNvSpPr>
            <p:nvPr/>
          </p:nvSpPr>
          <p:spPr bwMode="auto">
            <a:xfrm rot="5252300">
              <a:off x="4260850" y="2548016"/>
              <a:ext cx="508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500">
                  <a:solidFill>
                    <a:srgbClr val="000000"/>
                  </a:solidFill>
                </a:rPr>
                <a:t>Nord - Süd - Bahn</a:t>
              </a:r>
            </a:p>
          </p:txBody>
        </p:sp>
        <p:sp>
          <p:nvSpPr>
            <p:cNvPr id="752" name="Freeform 2041"/>
            <p:cNvSpPr>
              <a:spLocks/>
            </p:cNvSpPr>
            <p:nvPr/>
          </p:nvSpPr>
          <p:spPr bwMode="auto">
            <a:xfrm>
              <a:off x="995363" y="4540328"/>
              <a:ext cx="425450" cy="776288"/>
            </a:xfrm>
            <a:custGeom>
              <a:avLst/>
              <a:gdLst>
                <a:gd name="T0" fmla="*/ 0 w 268"/>
                <a:gd name="T1" fmla="*/ 2147483647 h 489"/>
                <a:gd name="T2" fmla="*/ 2147483647 w 268"/>
                <a:gd name="T3" fmla="*/ 2147483647 h 489"/>
                <a:gd name="T4" fmla="*/ 2147483647 w 268"/>
                <a:gd name="T5" fmla="*/ 2147483647 h 489"/>
                <a:gd name="T6" fmla="*/ 2147483647 w 268"/>
                <a:gd name="T7" fmla="*/ 2147483647 h 489"/>
                <a:gd name="T8" fmla="*/ 2147483647 w 268"/>
                <a:gd name="T9" fmla="*/ 2147483647 h 489"/>
                <a:gd name="T10" fmla="*/ 2147483647 w 268"/>
                <a:gd name="T11" fmla="*/ 2147483647 h 489"/>
                <a:gd name="T12" fmla="*/ 2147483647 w 268"/>
                <a:gd name="T13" fmla="*/ 2147483647 h 489"/>
                <a:gd name="T14" fmla="*/ 2147483647 w 268"/>
                <a:gd name="T15" fmla="*/ 2147483647 h 489"/>
                <a:gd name="T16" fmla="*/ 2147483647 w 268"/>
                <a:gd name="T17" fmla="*/ 2147483647 h 489"/>
                <a:gd name="T18" fmla="*/ 2147483647 w 268"/>
                <a:gd name="T19" fmla="*/ 2147483647 h 489"/>
                <a:gd name="T20" fmla="*/ 2147483647 w 268"/>
                <a:gd name="T21" fmla="*/ 2147483647 h 489"/>
                <a:gd name="T22" fmla="*/ 2147483647 w 268"/>
                <a:gd name="T23" fmla="*/ 2147483647 h 489"/>
                <a:gd name="T24" fmla="*/ 2147483647 w 268"/>
                <a:gd name="T25" fmla="*/ 2147483647 h 489"/>
                <a:gd name="T26" fmla="*/ 2147483647 w 268"/>
                <a:gd name="T27" fmla="*/ 2147483647 h 489"/>
                <a:gd name="T28" fmla="*/ 2147483647 w 268"/>
                <a:gd name="T29" fmla="*/ 2147483647 h 489"/>
                <a:gd name="T30" fmla="*/ 2147483647 w 268"/>
                <a:gd name="T31" fmla="*/ 2147483647 h 489"/>
                <a:gd name="T32" fmla="*/ 2147483647 w 268"/>
                <a:gd name="T33" fmla="*/ 2147483647 h 489"/>
                <a:gd name="T34" fmla="*/ 2147483647 w 268"/>
                <a:gd name="T35" fmla="*/ 2147483647 h 489"/>
                <a:gd name="T36" fmla="*/ 2147483647 w 268"/>
                <a:gd name="T37" fmla="*/ 2147483647 h 489"/>
                <a:gd name="T38" fmla="*/ 2147483647 w 268"/>
                <a:gd name="T39" fmla="*/ 2147483647 h 489"/>
                <a:gd name="T40" fmla="*/ 2147483647 w 268"/>
                <a:gd name="T41" fmla="*/ 2147483647 h 489"/>
                <a:gd name="T42" fmla="*/ 2147483647 w 268"/>
                <a:gd name="T43" fmla="*/ 0 h 4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8"/>
                <a:gd name="T67" fmla="*/ 0 h 489"/>
                <a:gd name="T68" fmla="*/ 268 w 268"/>
                <a:gd name="T69" fmla="*/ 489 h 48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8" h="489">
                  <a:moveTo>
                    <a:pt x="0" y="489"/>
                  </a:moveTo>
                  <a:cubicBezTo>
                    <a:pt x="16" y="483"/>
                    <a:pt x="56" y="470"/>
                    <a:pt x="96" y="452"/>
                  </a:cubicBezTo>
                  <a:cubicBezTo>
                    <a:pt x="136" y="434"/>
                    <a:pt x="211" y="394"/>
                    <a:pt x="239" y="379"/>
                  </a:cubicBezTo>
                  <a:cubicBezTo>
                    <a:pt x="267" y="364"/>
                    <a:pt x="259" y="369"/>
                    <a:pt x="263" y="363"/>
                  </a:cubicBezTo>
                  <a:cubicBezTo>
                    <a:pt x="268" y="357"/>
                    <a:pt x="267" y="351"/>
                    <a:pt x="267" y="342"/>
                  </a:cubicBezTo>
                  <a:cubicBezTo>
                    <a:pt x="266" y="334"/>
                    <a:pt x="265" y="319"/>
                    <a:pt x="262" y="311"/>
                  </a:cubicBezTo>
                  <a:cubicBezTo>
                    <a:pt x="260" y="303"/>
                    <a:pt x="255" y="300"/>
                    <a:pt x="252" y="293"/>
                  </a:cubicBezTo>
                  <a:cubicBezTo>
                    <a:pt x="249" y="286"/>
                    <a:pt x="247" y="279"/>
                    <a:pt x="244" y="269"/>
                  </a:cubicBezTo>
                  <a:cubicBezTo>
                    <a:pt x="240" y="259"/>
                    <a:pt x="235" y="241"/>
                    <a:pt x="231" y="235"/>
                  </a:cubicBezTo>
                  <a:cubicBezTo>
                    <a:pt x="227" y="228"/>
                    <a:pt x="226" y="232"/>
                    <a:pt x="223" y="230"/>
                  </a:cubicBezTo>
                  <a:cubicBezTo>
                    <a:pt x="219" y="228"/>
                    <a:pt x="214" y="224"/>
                    <a:pt x="209" y="220"/>
                  </a:cubicBezTo>
                  <a:cubicBezTo>
                    <a:pt x="204" y="216"/>
                    <a:pt x="198" y="212"/>
                    <a:pt x="192" y="206"/>
                  </a:cubicBezTo>
                  <a:cubicBezTo>
                    <a:pt x="187" y="200"/>
                    <a:pt x="183" y="192"/>
                    <a:pt x="178" y="184"/>
                  </a:cubicBezTo>
                  <a:cubicBezTo>
                    <a:pt x="173" y="177"/>
                    <a:pt x="170" y="170"/>
                    <a:pt x="165" y="163"/>
                  </a:cubicBezTo>
                  <a:cubicBezTo>
                    <a:pt x="161" y="156"/>
                    <a:pt x="155" y="147"/>
                    <a:pt x="150" y="141"/>
                  </a:cubicBezTo>
                  <a:cubicBezTo>
                    <a:pt x="146" y="135"/>
                    <a:pt x="143" y="135"/>
                    <a:pt x="139" y="128"/>
                  </a:cubicBezTo>
                  <a:cubicBezTo>
                    <a:pt x="135" y="122"/>
                    <a:pt x="130" y="109"/>
                    <a:pt x="127" y="101"/>
                  </a:cubicBezTo>
                  <a:cubicBezTo>
                    <a:pt x="125" y="93"/>
                    <a:pt x="122" y="90"/>
                    <a:pt x="123" y="83"/>
                  </a:cubicBezTo>
                  <a:cubicBezTo>
                    <a:pt x="123" y="76"/>
                    <a:pt x="128" y="68"/>
                    <a:pt x="132" y="59"/>
                  </a:cubicBezTo>
                  <a:cubicBezTo>
                    <a:pt x="135" y="50"/>
                    <a:pt x="140" y="38"/>
                    <a:pt x="142" y="30"/>
                  </a:cubicBezTo>
                  <a:cubicBezTo>
                    <a:pt x="145" y="23"/>
                    <a:pt x="145" y="16"/>
                    <a:pt x="145" y="11"/>
                  </a:cubicBezTo>
                  <a:cubicBezTo>
                    <a:pt x="145" y="6"/>
                    <a:pt x="143" y="3"/>
                    <a:pt x="142"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53" name="Freeform 2042"/>
            <p:cNvSpPr>
              <a:spLocks/>
            </p:cNvSpPr>
            <p:nvPr/>
          </p:nvSpPr>
          <p:spPr bwMode="auto">
            <a:xfrm rot="-9034336">
              <a:off x="1941513" y="2398791"/>
              <a:ext cx="19050" cy="17463"/>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754" name="Text Box 2043"/>
            <p:cNvSpPr txBox="1">
              <a:spLocks noChangeArrowheads="1"/>
            </p:cNvSpPr>
            <p:nvPr/>
          </p:nvSpPr>
          <p:spPr bwMode="auto">
            <a:xfrm>
              <a:off x="6761163" y="3698953"/>
              <a:ext cx="22542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800" b="1">
                  <a:solidFill>
                    <a:srgbClr val="000000"/>
                  </a:solidFill>
                </a:rPr>
                <a:t>Köln</a:t>
              </a:r>
            </a:p>
          </p:txBody>
        </p:sp>
        <p:sp>
          <p:nvSpPr>
            <p:cNvPr id="755" name="Text Box 2045"/>
            <p:cNvSpPr txBox="1">
              <a:spLocks noChangeArrowheads="1"/>
            </p:cNvSpPr>
            <p:nvPr/>
          </p:nvSpPr>
          <p:spPr bwMode="auto">
            <a:xfrm>
              <a:off x="4929188" y="5256291"/>
              <a:ext cx="3016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Gymnich</a:t>
              </a:r>
            </a:p>
          </p:txBody>
        </p:sp>
        <p:sp>
          <p:nvSpPr>
            <p:cNvPr id="756" name="Text Box 2046"/>
            <p:cNvSpPr txBox="1">
              <a:spLocks noChangeArrowheads="1"/>
            </p:cNvSpPr>
            <p:nvPr/>
          </p:nvSpPr>
          <p:spPr bwMode="auto">
            <a:xfrm>
              <a:off x="5324475" y="5557916"/>
              <a:ext cx="35083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Lechenich</a:t>
              </a:r>
            </a:p>
          </p:txBody>
        </p:sp>
        <p:sp>
          <p:nvSpPr>
            <p:cNvPr id="757" name="Text Box 2047"/>
            <p:cNvSpPr txBox="1">
              <a:spLocks noChangeArrowheads="1"/>
            </p:cNvSpPr>
            <p:nvPr/>
          </p:nvSpPr>
          <p:spPr bwMode="auto">
            <a:xfrm>
              <a:off x="2862263" y="3338591"/>
              <a:ext cx="33020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Rödingen</a:t>
              </a:r>
            </a:p>
          </p:txBody>
        </p:sp>
        <p:sp>
          <p:nvSpPr>
            <p:cNvPr id="758" name="Text Box 2048"/>
            <p:cNvSpPr txBox="1">
              <a:spLocks noChangeArrowheads="1"/>
            </p:cNvSpPr>
            <p:nvPr/>
          </p:nvSpPr>
          <p:spPr bwMode="auto">
            <a:xfrm>
              <a:off x="4949825" y="2481341"/>
              <a:ext cx="57943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Rommerskirchen</a:t>
              </a:r>
            </a:p>
          </p:txBody>
        </p:sp>
        <p:sp>
          <p:nvSpPr>
            <p:cNvPr id="759" name="Freeform 2049"/>
            <p:cNvSpPr>
              <a:spLocks/>
            </p:cNvSpPr>
            <p:nvPr/>
          </p:nvSpPr>
          <p:spPr bwMode="auto">
            <a:xfrm>
              <a:off x="3265488" y="4816553"/>
              <a:ext cx="530225" cy="223838"/>
            </a:xfrm>
            <a:custGeom>
              <a:avLst/>
              <a:gdLst>
                <a:gd name="T0" fmla="*/ 2147483647 w 334"/>
                <a:gd name="T1" fmla="*/ 2147483647 h 141"/>
                <a:gd name="T2" fmla="*/ 2147483647 w 334"/>
                <a:gd name="T3" fmla="*/ 2147483647 h 141"/>
                <a:gd name="T4" fmla="*/ 2147483647 w 334"/>
                <a:gd name="T5" fmla="*/ 2147483647 h 141"/>
                <a:gd name="T6" fmla="*/ 2147483647 w 334"/>
                <a:gd name="T7" fmla="*/ 2147483647 h 141"/>
                <a:gd name="T8" fmla="*/ 2147483647 w 334"/>
                <a:gd name="T9" fmla="*/ 2147483647 h 141"/>
                <a:gd name="T10" fmla="*/ 2147483647 w 334"/>
                <a:gd name="T11" fmla="*/ 2147483647 h 141"/>
                <a:gd name="T12" fmla="*/ 2147483647 w 334"/>
                <a:gd name="T13" fmla="*/ 2147483647 h 141"/>
                <a:gd name="T14" fmla="*/ 2147483647 w 334"/>
                <a:gd name="T15" fmla="*/ 2147483647 h 141"/>
                <a:gd name="T16" fmla="*/ 0 w 334"/>
                <a:gd name="T17" fmla="*/ 2147483647 h 1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4"/>
                <a:gd name="T28" fmla="*/ 0 h 141"/>
                <a:gd name="T29" fmla="*/ 334 w 334"/>
                <a:gd name="T30" fmla="*/ 141 h 1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4" h="141">
                  <a:moveTo>
                    <a:pt x="334" y="2"/>
                  </a:moveTo>
                  <a:cubicBezTo>
                    <a:pt x="328" y="2"/>
                    <a:pt x="313" y="2"/>
                    <a:pt x="297" y="2"/>
                  </a:cubicBezTo>
                  <a:cubicBezTo>
                    <a:pt x="281" y="2"/>
                    <a:pt x="256" y="0"/>
                    <a:pt x="240" y="2"/>
                  </a:cubicBezTo>
                  <a:cubicBezTo>
                    <a:pt x="224" y="4"/>
                    <a:pt x="217" y="8"/>
                    <a:pt x="202" y="14"/>
                  </a:cubicBezTo>
                  <a:cubicBezTo>
                    <a:pt x="187" y="20"/>
                    <a:pt x="162" y="30"/>
                    <a:pt x="151" y="38"/>
                  </a:cubicBezTo>
                  <a:cubicBezTo>
                    <a:pt x="140" y="46"/>
                    <a:pt x="148" y="50"/>
                    <a:pt x="133" y="60"/>
                  </a:cubicBezTo>
                  <a:cubicBezTo>
                    <a:pt x="118" y="70"/>
                    <a:pt x="77" y="89"/>
                    <a:pt x="61" y="98"/>
                  </a:cubicBezTo>
                  <a:cubicBezTo>
                    <a:pt x="45" y="107"/>
                    <a:pt x="49" y="109"/>
                    <a:pt x="39" y="116"/>
                  </a:cubicBezTo>
                  <a:cubicBezTo>
                    <a:pt x="29" y="123"/>
                    <a:pt x="14" y="132"/>
                    <a:pt x="0" y="141"/>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60" name="Freeform 2050"/>
            <p:cNvSpPr>
              <a:spLocks/>
            </p:cNvSpPr>
            <p:nvPr/>
          </p:nvSpPr>
          <p:spPr bwMode="auto">
            <a:xfrm>
              <a:off x="3708400" y="4472066"/>
              <a:ext cx="152400" cy="458788"/>
            </a:xfrm>
            <a:custGeom>
              <a:avLst/>
              <a:gdLst>
                <a:gd name="T0" fmla="*/ 2147483647 w 96"/>
                <a:gd name="T1" fmla="*/ 2147483647 h 289"/>
                <a:gd name="T2" fmla="*/ 2147483647 w 96"/>
                <a:gd name="T3" fmla="*/ 2147483647 h 289"/>
                <a:gd name="T4" fmla="*/ 2147483647 w 96"/>
                <a:gd name="T5" fmla="*/ 2147483647 h 289"/>
                <a:gd name="T6" fmla="*/ 2147483647 w 96"/>
                <a:gd name="T7" fmla="*/ 2147483647 h 289"/>
                <a:gd name="T8" fmla="*/ 2147483647 w 96"/>
                <a:gd name="T9" fmla="*/ 2147483647 h 289"/>
                <a:gd name="T10" fmla="*/ 0 w 96"/>
                <a:gd name="T11" fmla="*/ 0 h 289"/>
                <a:gd name="T12" fmla="*/ 0 60000 65536"/>
                <a:gd name="T13" fmla="*/ 0 60000 65536"/>
                <a:gd name="T14" fmla="*/ 0 60000 65536"/>
                <a:gd name="T15" fmla="*/ 0 60000 65536"/>
                <a:gd name="T16" fmla="*/ 0 60000 65536"/>
                <a:gd name="T17" fmla="*/ 0 60000 65536"/>
                <a:gd name="T18" fmla="*/ 0 w 96"/>
                <a:gd name="T19" fmla="*/ 0 h 289"/>
                <a:gd name="T20" fmla="*/ 96 w 96"/>
                <a:gd name="T21" fmla="*/ 289 h 289"/>
              </a:gdLst>
              <a:ahLst/>
              <a:cxnLst>
                <a:cxn ang="T12">
                  <a:pos x="T0" y="T1"/>
                </a:cxn>
                <a:cxn ang="T13">
                  <a:pos x="T2" y="T3"/>
                </a:cxn>
                <a:cxn ang="T14">
                  <a:pos x="T4" y="T5"/>
                </a:cxn>
                <a:cxn ang="T15">
                  <a:pos x="T6" y="T7"/>
                </a:cxn>
                <a:cxn ang="T16">
                  <a:pos x="T8" y="T9"/>
                </a:cxn>
                <a:cxn ang="T17">
                  <a:pos x="T10" y="T11"/>
                </a:cxn>
              </a:cxnLst>
              <a:rect l="T18" t="T19" r="T20" b="T21"/>
              <a:pathLst>
                <a:path w="96" h="289">
                  <a:moveTo>
                    <a:pt x="96" y="289"/>
                  </a:moveTo>
                  <a:cubicBezTo>
                    <a:pt x="82" y="271"/>
                    <a:pt x="69" y="253"/>
                    <a:pt x="60" y="232"/>
                  </a:cubicBezTo>
                  <a:cubicBezTo>
                    <a:pt x="51" y="211"/>
                    <a:pt x="48" y="183"/>
                    <a:pt x="45" y="166"/>
                  </a:cubicBezTo>
                  <a:cubicBezTo>
                    <a:pt x="42" y="149"/>
                    <a:pt x="46" y="144"/>
                    <a:pt x="43" y="127"/>
                  </a:cubicBezTo>
                  <a:cubicBezTo>
                    <a:pt x="40" y="110"/>
                    <a:pt x="35" y="82"/>
                    <a:pt x="28" y="61"/>
                  </a:cubicBezTo>
                  <a:cubicBezTo>
                    <a:pt x="21" y="40"/>
                    <a:pt x="5" y="10"/>
                    <a:pt x="0" y="0"/>
                  </a:cubicBez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61" name="Freeform 2051"/>
            <p:cNvSpPr>
              <a:spLocks/>
            </p:cNvSpPr>
            <p:nvPr/>
          </p:nvSpPr>
          <p:spPr bwMode="auto">
            <a:xfrm>
              <a:off x="3503613" y="4800678"/>
              <a:ext cx="100013" cy="95250"/>
            </a:xfrm>
            <a:custGeom>
              <a:avLst/>
              <a:gdLst>
                <a:gd name="T0" fmla="*/ 2147483647 w 63"/>
                <a:gd name="T1" fmla="*/ 2147483647 h 60"/>
                <a:gd name="T2" fmla="*/ 2147483647 w 63"/>
                <a:gd name="T3" fmla="*/ 2147483647 h 60"/>
                <a:gd name="T4" fmla="*/ 0 w 63"/>
                <a:gd name="T5" fmla="*/ 2147483647 h 60"/>
                <a:gd name="T6" fmla="*/ 2147483647 w 63"/>
                <a:gd name="T7" fmla="*/ 2147483647 h 60"/>
                <a:gd name="T8" fmla="*/ 2147483647 w 63"/>
                <a:gd name="T9" fmla="*/ 0 h 60"/>
                <a:gd name="T10" fmla="*/ 2147483647 w 63"/>
                <a:gd name="T11" fmla="*/ 0 h 60"/>
                <a:gd name="T12" fmla="*/ 2147483647 w 63"/>
                <a:gd name="T13" fmla="*/ 2147483647 h 60"/>
                <a:gd name="T14" fmla="*/ 2147483647 w 63"/>
                <a:gd name="T15" fmla="*/ 2147483647 h 60"/>
                <a:gd name="T16" fmla="*/ 2147483647 w 63"/>
                <a:gd name="T17" fmla="*/ 2147483647 h 60"/>
                <a:gd name="T18" fmla="*/ 2147483647 w 63"/>
                <a:gd name="T19" fmla="*/ 2147483647 h 60"/>
                <a:gd name="T20" fmla="*/ 2147483647 w 63"/>
                <a:gd name="T21" fmla="*/ 2147483647 h 60"/>
                <a:gd name="T22" fmla="*/ 2147483647 w 63"/>
                <a:gd name="T23" fmla="*/ 21474836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3"/>
                <a:gd name="T37" fmla="*/ 0 h 60"/>
                <a:gd name="T38" fmla="*/ 63 w 63"/>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3" h="60">
                  <a:moveTo>
                    <a:pt x="42" y="60"/>
                  </a:moveTo>
                  <a:lnTo>
                    <a:pt x="28" y="48"/>
                  </a:lnTo>
                  <a:lnTo>
                    <a:pt x="0" y="45"/>
                  </a:lnTo>
                  <a:lnTo>
                    <a:pt x="12" y="27"/>
                  </a:lnTo>
                  <a:lnTo>
                    <a:pt x="6" y="0"/>
                  </a:lnTo>
                  <a:lnTo>
                    <a:pt x="21" y="0"/>
                  </a:lnTo>
                  <a:lnTo>
                    <a:pt x="37" y="27"/>
                  </a:lnTo>
                  <a:lnTo>
                    <a:pt x="51" y="18"/>
                  </a:lnTo>
                  <a:lnTo>
                    <a:pt x="63" y="33"/>
                  </a:lnTo>
                  <a:lnTo>
                    <a:pt x="54" y="40"/>
                  </a:lnTo>
                  <a:lnTo>
                    <a:pt x="63" y="60"/>
                  </a:lnTo>
                  <a:lnTo>
                    <a:pt x="42" y="6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62" name="Freeform 2052"/>
            <p:cNvSpPr>
              <a:spLocks/>
            </p:cNvSpPr>
            <p:nvPr/>
          </p:nvSpPr>
          <p:spPr bwMode="auto">
            <a:xfrm>
              <a:off x="3803650" y="4856241"/>
              <a:ext cx="228600" cy="188913"/>
            </a:xfrm>
            <a:custGeom>
              <a:avLst/>
              <a:gdLst>
                <a:gd name="T0" fmla="*/ 2147483647 w 308"/>
                <a:gd name="T1" fmla="*/ 0 h 249"/>
                <a:gd name="T2" fmla="*/ 2147483647 w 308"/>
                <a:gd name="T3" fmla="*/ 2147483647 h 249"/>
                <a:gd name="T4" fmla="*/ 2147483647 w 308"/>
                <a:gd name="T5" fmla="*/ 2147483647 h 249"/>
                <a:gd name="T6" fmla="*/ 2147483647 w 308"/>
                <a:gd name="T7" fmla="*/ 2147483647 h 249"/>
                <a:gd name="T8" fmla="*/ 2147483647 w 308"/>
                <a:gd name="T9" fmla="*/ 2147483647 h 249"/>
                <a:gd name="T10" fmla="*/ 2147483647 w 308"/>
                <a:gd name="T11" fmla="*/ 2147483647 h 249"/>
                <a:gd name="T12" fmla="*/ 2147483647 w 308"/>
                <a:gd name="T13" fmla="*/ 2147483647 h 249"/>
                <a:gd name="T14" fmla="*/ 2147483647 w 308"/>
                <a:gd name="T15" fmla="*/ 2147483647 h 249"/>
                <a:gd name="T16" fmla="*/ 2147483647 w 308"/>
                <a:gd name="T17" fmla="*/ 2147483647 h 249"/>
                <a:gd name="T18" fmla="*/ 2147483647 w 308"/>
                <a:gd name="T19" fmla="*/ 2147483647 h 249"/>
                <a:gd name="T20" fmla="*/ 2147483647 w 308"/>
                <a:gd name="T21" fmla="*/ 2147483647 h 249"/>
                <a:gd name="T22" fmla="*/ 2147483647 w 308"/>
                <a:gd name="T23" fmla="*/ 2147483647 h 249"/>
                <a:gd name="T24" fmla="*/ 2147483647 w 308"/>
                <a:gd name="T25" fmla="*/ 2147483647 h 249"/>
                <a:gd name="T26" fmla="*/ 0 w 308"/>
                <a:gd name="T27" fmla="*/ 2147483647 h 249"/>
                <a:gd name="T28" fmla="*/ 2147483647 w 308"/>
                <a:gd name="T29" fmla="*/ 2147483647 h 249"/>
                <a:gd name="T30" fmla="*/ 2147483647 w 308"/>
                <a:gd name="T31" fmla="*/ 2147483647 h 249"/>
                <a:gd name="T32" fmla="*/ 2147483647 w 308"/>
                <a:gd name="T33" fmla="*/ 2147483647 h 249"/>
                <a:gd name="T34" fmla="*/ 2147483647 w 308"/>
                <a:gd name="T35" fmla="*/ 2147483647 h 249"/>
                <a:gd name="T36" fmla="*/ 2147483647 w 308"/>
                <a:gd name="T37" fmla="*/ 0 h 2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8"/>
                <a:gd name="T58" fmla="*/ 0 h 249"/>
                <a:gd name="T59" fmla="*/ 308 w 308"/>
                <a:gd name="T60" fmla="*/ 249 h 2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8" h="249">
                  <a:moveTo>
                    <a:pt x="201" y="0"/>
                  </a:moveTo>
                  <a:lnTo>
                    <a:pt x="222" y="126"/>
                  </a:lnTo>
                  <a:lnTo>
                    <a:pt x="267" y="160"/>
                  </a:lnTo>
                  <a:lnTo>
                    <a:pt x="276" y="177"/>
                  </a:lnTo>
                  <a:lnTo>
                    <a:pt x="308" y="198"/>
                  </a:lnTo>
                  <a:lnTo>
                    <a:pt x="303" y="214"/>
                  </a:lnTo>
                  <a:lnTo>
                    <a:pt x="224" y="219"/>
                  </a:lnTo>
                  <a:lnTo>
                    <a:pt x="216" y="249"/>
                  </a:lnTo>
                  <a:lnTo>
                    <a:pt x="183" y="247"/>
                  </a:lnTo>
                  <a:lnTo>
                    <a:pt x="189" y="201"/>
                  </a:lnTo>
                  <a:lnTo>
                    <a:pt x="48" y="217"/>
                  </a:lnTo>
                  <a:lnTo>
                    <a:pt x="47" y="181"/>
                  </a:lnTo>
                  <a:lnTo>
                    <a:pt x="29" y="192"/>
                  </a:lnTo>
                  <a:lnTo>
                    <a:pt x="0" y="157"/>
                  </a:lnTo>
                  <a:lnTo>
                    <a:pt x="17" y="141"/>
                  </a:lnTo>
                  <a:lnTo>
                    <a:pt x="51" y="172"/>
                  </a:lnTo>
                  <a:lnTo>
                    <a:pt x="90" y="130"/>
                  </a:lnTo>
                  <a:lnTo>
                    <a:pt x="59" y="88"/>
                  </a:lnTo>
                  <a:lnTo>
                    <a:pt x="201" y="0"/>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63" name="Freeform 2053"/>
            <p:cNvSpPr>
              <a:spLocks/>
            </p:cNvSpPr>
            <p:nvPr/>
          </p:nvSpPr>
          <p:spPr bwMode="auto">
            <a:xfrm>
              <a:off x="3689350" y="3697366"/>
              <a:ext cx="61913" cy="57150"/>
            </a:xfrm>
            <a:custGeom>
              <a:avLst/>
              <a:gdLst>
                <a:gd name="T0" fmla="*/ 2147483647 w 84"/>
                <a:gd name="T1" fmla="*/ 2147483647 h 75"/>
                <a:gd name="T2" fmla="*/ 0 w 84"/>
                <a:gd name="T3" fmla="*/ 2147483647 h 75"/>
                <a:gd name="T4" fmla="*/ 2147483647 w 84"/>
                <a:gd name="T5" fmla="*/ 0 h 75"/>
                <a:gd name="T6" fmla="*/ 2147483647 w 84"/>
                <a:gd name="T7" fmla="*/ 2147483647 h 75"/>
                <a:gd name="T8" fmla="*/ 2147483647 w 84"/>
                <a:gd name="T9" fmla="*/ 2147483647 h 75"/>
                <a:gd name="T10" fmla="*/ 0 60000 65536"/>
                <a:gd name="T11" fmla="*/ 0 60000 65536"/>
                <a:gd name="T12" fmla="*/ 0 60000 65536"/>
                <a:gd name="T13" fmla="*/ 0 60000 65536"/>
                <a:gd name="T14" fmla="*/ 0 60000 65536"/>
                <a:gd name="T15" fmla="*/ 0 w 84"/>
                <a:gd name="T16" fmla="*/ 0 h 75"/>
                <a:gd name="T17" fmla="*/ 84 w 84"/>
                <a:gd name="T18" fmla="*/ 75 h 75"/>
              </a:gdLst>
              <a:ahLst/>
              <a:cxnLst>
                <a:cxn ang="T10">
                  <a:pos x="T0" y="T1"/>
                </a:cxn>
                <a:cxn ang="T11">
                  <a:pos x="T2" y="T3"/>
                </a:cxn>
                <a:cxn ang="T12">
                  <a:pos x="T4" y="T5"/>
                </a:cxn>
                <a:cxn ang="T13">
                  <a:pos x="T6" y="T7"/>
                </a:cxn>
                <a:cxn ang="T14">
                  <a:pos x="T8" y="T9"/>
                </a:cxn>
              </a:cxnLst>
              <a:rect l="T15" t="T16" r="T17" b="T18"/>
              <a:pathLst>
                <a:path w="84" h="75">
                  <a:moveTo>
                    <a:pt x="36" y="75"/>
                  </a:moveTo>
                  <a:lnTo>
                    <a:pt x="0" y="45"/>
                  </a:lnTo>
                  <a:lnTo>
                    <a:pt x="49" y="0"/>
                  </a:lnTo>
                  <a:lnTo>
                    <a:pt x="84" y="31"/>
                  </a:lnTo>
                  <a:lnTo>
                    <a:pt x="36" y="75"/>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64" name="Freeform 2054"/>
            <p:cNvSpPr>
              <a:spLocks/>
            </p:cNvSpPr>
            <p:nvPr/>
          </p:nvSpPr>
          <p:spPr bwMode="auto">
            <a:xfrm>
              <a:off x="3530600" y="3713241"/>
              <a:ext cx="381000" cy="279400"/>
            </a:xfrm>
            <a:custGeom>
              <a:avLst/>
              <a:gdLst>
                <a:gd name="T0" fmla="*/ 2147483647 w 513"/>
                <a:gd name="T1" fmla="*/ 2147483647 h 367"/>
                <a:gd name="T2" fmla="*/ 2147483647 w 513"/>
                <a:gd name="T3" fmla="*/ 2147483647 h 367"/>
                <a:gd name="T4" fmla="*/ 2147483647 w 513"/>
                <a:gd name="T5" fmla="*/ 2147483647 h 367"/>
                <a:gd name="T6" fmla="*/ 2147483647 w 513"/>
                <a:gd name="T7" fmla="*/ 2147483647 h 367"/>
                <a:gd name="T8" fmla="*/ 2147483647 w 513"/>
                <a:gd name="T9" fmla="*/ 0 h 367"/>
                <a:gd name="T10" fmla="*/ 2147483647 w 513"/>
                <a:gd name="T11" fmla="*/ 2147483647 h 367"/>
                <a:gd name="T12" fmla="*/ 2147483647 w 513"/>
                <a:gd name="T13" fmla="*/ 2147483647 h 367"/>
                <a:gd name="T14" fmla="*/ 2147483647 w 513"/>
                <a:gd name="T15" fmla="*/ 2147483647 h 367"/>
                <a:gd name="T16" fmla="*/ 2147483647 w 513"/>
                <a:gd name="T17" fmla="*/ 2147483647 h 367"/>
                <a:gd name="T18" fmla="*/ 2147483647 w 513"/>
                <a:gd name="T19" fmla="*/ 2147483647 h 367"/>
                <a:gd name="T20" fmla="*/ 2147483647 w 513"/>
                <a:gd name="T21" fmla="*/ 2147483647 h 367"/>
                <a:gd name="T22" fmla="*/ 2147483647 w 513"/>
                <a:gd name="T23" fmla="*/ 2147483647 h 367"/>
                <a:gd name="T24" fmla="*/ 2147483647 w 513"/>
                <a:gd name="T25" fmla="*/ 2147483647 h 367"/>
                <a:gd name="T26" fmla="*/ 2147483647 w 513"/>
                <a:gd name="T27" fmla="*/ 2147483647 h 367"/>
                <a:gd name="T28" fmla="*/ 2147483647 w 513"/>
                <a:gd name="T29" fmla="*/ 2147483647 h 367"/>
                <a:gd name="T30" fmla="*/ 2147483647 w 513"/>
                <a:gd name="T31" fmla="*/ 2147483647 h 367"/>
                <a:gd name="T32" fmla="*/ 2147483647 w 513"/>
                <a:gd name="T33" fmla="*/ 2147483647 h 367"/>
                <a:gd name="T34" fmla="*/ 0 w 513"/>
                <a:gd name="T35" fmla="*/ 2147483647 h 367"/>
                <a:gd name="T36" fmla="*/ 2147483647 w 513"/>
                <a:gd name="T37" fmla="*/ 2147483647 h 367"/>
                <a:gd name="T38" fmla="*/ 2147483647 w 513"/>
                <a:gd name="T39" fmla="*/ 2147483647 h 367"/>
                <a:gd name="T40" fmla="*/ 2147483647 w 513"/>
                <a:gd name="T41" fmla="*/ 2147483647 h 367"/>
                <a:gd name="T42" fmla="*/ 2147483647 w 513"/>
                <a:gd name="T43" fmla="*/ 2147483647 h 367"/>
                <a:gd name="T44" fmla="*/ 2147483647 w 513"/>
                <a:gd name="T45" fmla="*/ 2147483647 h 367"/>
                <a:gd name="T46" fmla="*/ 2147483647 w 513"/>
                <a:gd name="T47" fmla="*/ 2147483647 h 367"/>
                <a:gd name="T48" fmla="*/ 2147483647 w 513"/>
                <a:gd name="T49" fmla="*/ 2147483647 h 367"/>
                <a:gd name="T50" fmla="*/ 2147483647 w 513"/>
                <a:gd name="T51" fmla="*/ 2147483647 h 367"/>
                <a:gd name="T52" fmla="*/ 2147483647 w 513"/>
                <a:gd name="T53" fmla="*/ 2147483647 h 367"/>
                <a:gd name="T54" fmla="*/ 2147483647 w 513"/>
                <a:gd name="T55" fmla="*/ 2147483647 h 367"/>
                <a:gd name="T56" fmla="*/ 2147483647 w 513"/>
                <a:gd name="T57" fmla="*/ 2147483647 h 367"/>
                <a:gd name="T58" fmla="*/ 2147483647 w 513"/>
                <a:gd name="T59" fmla="*/ 2147483647 h 36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3"/>
                <a:gd name="T91" fmla="*/ 0 h 367"/>
                <a:gd name="T92" fmla="*/ 513 w 513"/>
                <a:gd name="T93" fmla="*/ 367 h 36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3" h="367">
                  <a:moveTo>
                    <a:pt x="241" y="367"/>
                  </a:moveTo>
                  <a:lnTo>
                    <a:pt x="349" y="222"/>
                  </a:lnTo>
                  <a:lnTo>
                    <a:pt x="375" y="226"/>
                  </a:lnTo>
                  <a:lnTo>
                    <a:pt x="513" y="151"/>
                  </a:lnTo>
                  <a:lnTo>
                    <a:pt x="409" y="0"/>
                  </a:lnTo>
                  <a:lnTo>
                    <a:pt x="369" y="70"/>
                  </a:lnTo>
                  <a:lnTo>
                    <a:pt x="307" y="57"/>
                  </a:lnTo>
                  <a:lnTo>
                    <a:pt x="279" y="90"/>
                  </a:lnTo>
                  <a:lnTo>
                    <a:pt x="256" y="75"/>
                  </a:lnTo>
                  <a:lnTo>
                    <a:pt x="267" y="63"/>
                  </a:lnTo>
                  <a:lnTo>
                    <a:pt x="213" y="18"/>
                  </a:lnTo>
                  <a:lnTo>
                    <a:pt x="175" y="57"/>
                  </a:lnTo>
                  <a:lnTo>
                    <a:pt x="142" y="28"/>
                  </a:lnTo>
                  <a:lnTo>
                    <a:pt x="76" y="42"/>
                  </a:lnTo>
                  <a:lnTo>
                    <a:pt x="33" y="12"/>
                  </a:lnTo>
                  <a:lnTo>
                    <a:pt x="10" y="22"/>
                  </a:lnTo>
                  <a:lnTo>
                    <a:pt x="15" y="49"/>
                  </a:lnTo>
                  <a:lnTo>
                    <a:pt x="0" y="78"/>
                  </a:lnTo>
                  <a:lnTo>
                    <a:pt x="28" y="106"/>
                  </a:lnTo>
                  <a:lnTo>
                    <a:pt x="52" y="90"/>
                  </a:lnTo>
                  <a:lnTo>
                    <a:pt x="147" y="147"/>
                  </a:lnTo>
                  <a:lnTo>
                    <a:pt x="112" y="190"/>
                  </a:lnTo>
                  <a:lnTo>
                    <a:pt x="165" y="195"/>
                  </a:lnTo>
                  <a:lnTo>
                    <a:pt x="199" y="180"/>
                  </a:lnTo>
                  <a:lnTo>
                    <a:pt x="213" y="201"/>
                  </a:lnTo>
                  <a:lnTo>
                    <a:pt x="201" y="265"/>
                  </a:lnTo>
                  <a:lnTo>
                    <a:pt x="174" y="270"/>
                  </a:lnTo>
                  <a:lnTo>
                    <a:pt x="187" y="300"/>
                  </a:lnTo>
                  <a:lnTo>
                    <a:pt x="238" y="294"/>
                  </a:lnTo>
                  <a:lnTo>
                    <a:pt x="241" y="367"/>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65" name="Freeform 2055"/>
            <p:cNvSpPr>
              <a:spLocks/>
            </p:cNvSpPr>
            <p:nvPr/>
          </p:nvSpPr>
          <p:spPr bwMode="auto">
            <a:xfrm rot="-3294873">
              <a:off x="3282950" y="4994353"/>
              <a:ext cx="26988" cy="25400"/>
            </a:xfrm>
            <a:custGeom>
              <a:avLst/>
              <a:gdLst>
                <a:gd name="T0" fmla="*/ 2147483647 w 36"/>
                <a:gd name="T1" fmla="*/ 0 h 33"/>
                <a:gd name="T2" fmla="*/ 0 w 36"/>
                <a:gd name="T3" fmla="*/ 2147483647 h 33"/>
                <a:gd name="T4" fmla="*/ 2147483647 w 36"/>
                <a:gd name="T5" fmla="*/ 2147483647 h 33"/>
                <a:gd name="T6" fmla="*/ 2147483647 w 36"/>
                <a:gd name="T7" fmla="*/ 0 h 33"/>
                <a:gd name="T8" fmla="*/ 0 60000 65536"/>
                <a:gd name="T9" fmla="*/ 0 60000 65536"/>
                <a:gd name="T10" fmla="*/ 0 60000 65536"/>
                <a:gd name="T11" fmla="*/ 0 60000 65536"/>
                <a:gd name="T12" fmla="*/ 0 w 36"/>
                <a:gd name="T13" fmla="*/ 0 h 33"/>
                <a:gd name="T14" fmla="*/ 36 w 36"/>
                <a:gd name="T15" fmla="*/ 33 h 33"/>
              </a:gdLst>
              <a:ahLst/>
              <a:cxnLst>
                <a:cxn ang="T8">
                  <a:pos x="T0" y="T1"/>
                </a:cxn>
                <a:cxn ang="T9">
                  <a:pos x="T2" y="T3"/>
                </a:cxn>
                <a:cxn ang="T10">
                  <a:pos x="T4" y="T5"/>
                </a:cxn>
                <a:cxn ang="T11">
                  <a:pos x="T6" y="T7"/>
                </a:cxn>
              </a:cxnLst>
              <a:rect l="T12" t="T13" r="T14" b="T15"/>
              <a:pathLst>
                <a:path w="36" h="33">
                  <a:moveTo>
                    <a:pt x="12" y="0"/>
                  </a:moveTo>
                  <a:lnTo>
                    <a:pt x="0" y="33"/>
                  </a:lnTo>
                  <a:lnTo>
                    <a:pt x="36" y="26"/>
                  </a:lnTo>
                  <a:lnTo>
                    <a:pt x="12" y="0"/>
                  </a:lnTo>
                  <a:close/>
                </a:path>
              </a:pathLst>
            </a:custGeom>
            <a:solidFill>
              <a:srgbClr val="000000"/>
            </a:solidFill>
            <a:ln w="0">
              <a:solidFill>
                <a:srgbClr val="000000"/>
              </a:solidFill>
              <a:prstDash val="solid"/>
              <a:round/>
              <a:headEnd/>
              <a:tailEnd/>
            </a:ln>
          </p:spPr>
          <p:txBody>
            <a:bodyPr/>
            <a:lstStyle/>
            <a:p>
              <a:endParaRPr lang="de-DE"/>
            </a:p>
          </p:txBody>
        </p:sp>
        <p:sp>
          <p:nvSpPr>
            <p:cNvPr id="766" name="Freeform 2056"/>
            <p:cNvSpPr>
              <a:spLocks/>
            </p:cNvSpPr>
            <p:nvPr/>
          </p:nvSpPr>
          <p:spPr bwMode="auto">
            <a:xfrm>
              <a:off x="3717925" y="3987878"/>
              <a:ext cx="146050" cy="104775"/>
            </a:xfrm>
            <a:custGeom>
              <a:avLst/>
              <a:gdLst>
                <a:gd name="T0" fmla="*/ 2147483647 w 196"/>
                <a:gd name="T1" fmla="*/ 2147483647 h 138"/>
                <a:gd name="T2" fmla="*/ 2147483647 w 196"/>
                <a:gd name="T3" fmla="*/ 2147483647 h 138"/>
                <a:gd name="T4" fmla="*/ 2147483647 w 196"/>
                <a:gd name="T5" fmla="*/ 2147483647 h 138"/>
                <a:gd name="T6" fmla="*/ 2147483647 w 196"/>
                <a:gd name="T7" fmla="*/ 2147483647 h 138"/>
                <a:gd name="T8" fmla="*/ 2147483647 w 196"/>
                <a:gd name="T9" fmla="*/ 2147483647 h 138"/>
                <a:gd name="T10" fmla="*/ 2147483647 w 196"/>
                <a:gd name="T11" fmla="*/ 2147483647 h 138"/>
                <a:gd name="T12" fmla="*/ 2147483647 w 196"/>
                <a:gd name="T13" fmla="*/ 2147483647 h 138"/>
                <a:gd name="T14" fmla="*/ 2147483647 w 196"/>
                <a:gd name="T15" fmla="*/ 2147483647 h 138"/>
                <a:gd name="T16" fmla="*/ 2147483647 w 196"/>
                <a:gd name="T17" fmla="*/ 2147483647 h 1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38"/>
                <a:gd name="T29" fmla="*/ 196 w 196"/>
                <a:gd name="T30" fmla="*/ 138 h 1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38">
                  <a:moveTo>
                    <a:pt x="179" y="133"/>
                  </a:moveTo>
                  <a:cubicBezTo>
                    <a:pt x="163" y="128"/>
                    <a:pt x="109" y="90"/>
                    <a:pt x="81" y="72"/>
                  </a:cubicBezTo>
                  <a:cubicBezTo>
                    <a:pt x="53" y="54"/>
                    <a:pt x="27" y="37"/>
                    <a:pt x="14" y="26"/>
                  </a:cubicBezTo>
                  <a:cubicBezTo>
                    <a:pt x="1" y="15"/>
                    <a:pt x="0" y="9"/>
                    <a:pt x="1" y="5"/>
                  </a:cubicBezTo>
                  <a:cubicBezTo>
                    <a:pt x="2" y="1"/>
                    <a:pt x="11" y="0"/>
                    <a:pt x="19" y="3"/>
                  </a:cubicBezTo>
                  <a:cubicBezTo>
                    <a:pt x="27" y="6"/>
                    <a:pt x="31" y="9"/>
                    <a:pt x="52" y="23"/>
                  </a:cubicBezTo>
                  <a:cubicBezTo>
                    <a:pt x="73" y="37"/>
                    <a:pt x="123" y="71"/>
                    <a:pt x="144" y="85"/>
                  </a:cubicBezTo>
                  <a:cubicBezTo>
                    <a:pt x="165" y="99"/>
                    <a:pt x="171" y="98"/>
                    <a:pt x="179" y="105"/>
                  </a:cubicBezTo>
                  <a:cubicBezTo>
                    <a:pt x="187" y="112"/>
                    <a:pt x="196" y="138"/>
                    <a:pt x="179" y="133"/>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767" name="Freeform 2057"/>
            <p:cNvSpPr>
              <a:spLocks/>
            </p:cNvSpPr>
            <p:nvPr/>
          </p:nvSpPr>
          <p:spPr bwMode="auto">
            <a:xfrm>
              <a:off x="3311525" y="2938541"/>
              <a:ext cx="1273175" cy="1843088"/>
            </a:xfrm>
            <a:custGeom>
              <a:avLst/>
              <a:gdLst>
                <a:gd name="T0" fmla="*/ 0 w 802"/>
                <a:gd name="T1" fmla="*/ 2147483647 h 1161"/>
                <a:gd name="T2" fmla="*/ 2147483647 w 802"/>
                <a:gd name="T3" fmla="*/ 2147483647 h 1161"/>
                <a:gd name="T4" fmla="*/ 2147483647 w 802"/>
                <a:gd name="T5" fmla="*/ 2147483647 h 1161"/>
                <a:gd name="T6" fmla="*/ 2147483647 w 802"/>
                <a:gd name="T7" fmla="*/ 2147483647 h 1161"/>
                <a:gd name="T8" fmla="*/ 2147483647 w 802"/>
                <a:gd name="T9" fmla="*/ 2147483647 h 1161"/>
                <a:gd name="T10" fmla="*/ 2147483647 w 802"/>
                <a:gd name="T11" fmla="*/ 2147483647 h 1161"/>
                <a:gd name="T12" fmla="*/ 2147483647 w 802"/>
                <a:gd name="T13" fmla="*/ 2147483647 h 1161"/>
                <a:gd name="T14" fmla="*/ 2147483647 w 802"/>
                <a:gd name="T15" fmla="*/ 2147483647 h 1161"/>
                <a:gd name="T16" fmla="*/ 2147483647 w 802"/>
                <a:gd name="T17" fmla="*/ 2147483647 h 1161"/>
                <a:gd name="T18" fmla="*/ 2147483647 w 802"/>
                <a:gd name="T19" fmla="*/ 2147483647 h 1161"/>
                <a:gd name="T20" fmla="*/ 2147483647 w 802"/>
                <a:gd name="T21" fmla="*/ 2147483647 h 1161"/>
                <a:gd name="T22" fmla="*/ 2147483647 w 802"/>
                <a:gd name="T23" fmla="*/ 2147483647 h 1161"/>
                <a:gd name="T24" fmla="*/ 2147483647 w 802"/>
                <a:gd name="T25" fmla="*/ 2147483647 h 1161"/>
                <a:gd name="T26" fmla="*/ 2147483647 w 802"/>
                <a:gd name="T27" fmla="*/ 2147483647 h 1161"/>
                <a:gd name="T28" fmla="*/ 2147483647 w 802"/>
                <a:gd name="T29" fmla="*/ 2147483647 h 1161"/>
                <a:gd name="T30" fmla="*/ 2147483647 w 802"/>
                <a:gd name="T31" fmla="*/ 2147483647 h 1161"/>
                <a:gd name="T32" fmla="*/ 2147483647 w 802"/>
                <a:gd name="T33" fmla="*/ 2147483647 h 1161"/>
                <a:gd name="T34" fmla="*/ 2147483647 w 802"/>
                <a:gd name="T35" fmla="*/ 2147483647 h 1161"/>
                <a:gd name="T36" fmla="*/ 2147483647 w 802"/>
                <a:gd name="T37" fmla="*/ 2147483647 h 1161"/>
                <a:gd name="T38" fmla="*/ 2147483647 w 802"/>
                <a:gd name="T39" fmla="*/ 2147483647 h 1161"/>
                <a:gd name="T40" fmla="*/ 2147483647 w 802"/>
                <a:gd name="T41" fmla="*/ 2147483647 h 1161"/>
                <a:gd name="T42" fmla="*/ 2147483647 w 802"/>
                <a:gd name="T43" fmla="*/ 2147483647 h 1161"/>
                <a:gd name="T44" fmla="*/ 2147483647 w 802"/>
                <a:gd name="T45" fmla="*/ 2147483647 h 1161"/>
                <a:gd name="T46" fmla="*/ 2147483647 w 802"/>
                <a:gd name="T47" fmla="*/ 2147483647 h 1161"/>
                <a:gd name="T48" fmla="*/ 2147483647 w 802"/>
                <a:gd name="T49" fmla="*/ 2147483647 h 1161"/>
                <a:gd name="T50" fmla="*/ 2147483647 w 802"/>
                <a:gd name="T51" fmla="*/ 2147483647 h 1161"/>
                <a:gd name="T52" fmla="*/ 2147483647 w 802"/>
                <a:gd name="T53" fmla="*/ 2147483647 h 1161"/>
                <a:gd name="T54" fmla="*/ 2147483647 w 802"/>
                <a:gd name="T55" fmla="*/ 0 h 11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2"/>
                <a:gd name="T85" fmla="*/ 0 h 1161"/>
                <a:gd name="T86" fmla="*/ 802 w 802"/>
                <a:gd name="T87" fmla="*/ 1161 h 11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2" h="1161">
                  <a:moveTo>
                    <a:pt x="0" y="1161"/>
                  </a:moveTo>
                  <a:cubicBezTo>
                    <a:pt x="21" y="1150"/>
                    <a:pt x="70" y="1122"/>
                    <a:pt x="124" y="1094"/>
                  </a:cubicBezTo>
                  <a:cubicBezTo>
                    <a:pt x="178" y="1066"/>
                    <a:pt x="285" y="1015"/>
                    <a:pt x="326" y="992"/>
                  </a:cubicBezTo>
                  <a:cubicBezTo>
                    <a:pt x="367" y="969"/>
                    <a:pt x="357" y="966"/>
                    <a:pt x="371" y="956"/>
                  </a:cubicBezTo>
                  <a:cubicBezTo>
                    <a:pt x="385" y="946"/>
                    <a:pt x="395" y="942"/>
                    <a:pt x="412" y="932"/>
                  </a:cubicBezTo>
                  <a:cubicBezTo>
                    <a:pt x="429" y="922"/>
                    <a:pt x="454" y="908"/>
                    <a:pt x="470" y="899"/>
                  </a:cubicBezTo>
                  <a:cubicBezTo>
                    <a:pt x="486" y="890"/>
                    <a:pt x="498" y="888"/>
                    <a:pt x="509" y="878"/>
                  </a:cubicBezTo>
                  <a:cubicBezTo>
                    <a:pt x="520" y="868"/>
                    <a:pt x="531" y="856"/>
                    <a:pt x="538" y="837"/>
                  </a:cubicBezTo>
                  <a:cubicBezTo>
                    <a:pt x="545" y="818"/>
                    <a:pt x="549" y="794"/>
                    <a:pt x="550" y="766"/>
                  </a:cubicBezTo>
                  <a:lnTo>
                    <a:pt x="547" y="671"/>
                  </a:lnTo>
                  <a:lnTo>
                    <a:pt x="537" y="586"/>
                  </a:lnTo>
                  <a:cubicBezTo>
                    <a:pt x="535" y="569"/>
                    <a:pt x="535" y="579"/>
                    <a:pt x="532" y="568"/>
                  </a:cubicBezTo>
                  <a:cubicBezTo>
                    <a:pt x="529" y="557"/>
                    <a:pt x="519" y="530"/>
                    <a:pt x="516" y="517"/>
                  </a:cubicBezTo>
                  <a:cubicBezTo>
                    <a:pt x="513" y="504"/>
                    <a:pt x="514" y="505"/>
                    <a:pt x="516" y="492"/>
                  </a:cubicBezTo>
                  <a:cubicBezTo>
                    <a:pt x="518" y="479"/>
                    <a:pt x="517" y="464"/>
                    <a:pt x="529" y="441"/>
                  </a:cubicBezTo>
                  <a:cubicBezTo>
                    <a:pt x="541" y="418"/>
                    <a:pt x="570" y="374"/>
                    <a:pt x="590" y="353"/>
                  </a:cubicBezTo>
                  <a:cubicBezTo>
                    <a:pt x="610" y="332"/>
                    <a:pt x="633" y="325"/>
                    <a:pt x="648" y="314"/>
                  </a:cubicBezTo>
                  <a:cubicBezTo>
                    <a:pt x="663" y="303"/>
                    <a:pt x="666" y="294"/>
                    <a:pt x="679" y="285"/>
                  </a:cubicBezTo>
                  <a:cubicBezTo>
                    <a:pt x="692" y="276"/>
                    <a:pt x="708" y="265"/>
                    <a:pt x="725" y="257"/>
                  </a:cubicBezTo>
                  <a:cubicBezTo>
                    <a:pt x="742" y="249"/>
                    <a:pt x="767" y="243"/>
                    <a:pt x="779" y="236"/>
                  </a:cubicBezTo>
                  <a:cubicBezTo>
                    <a:pt x="791" y="229"/>
                    <a:pt x="796" y="226"/>
                    <a:pt x="799" y="217"/>
                  </a:cubicBezTo>
                  <a:cubicBezTo>
                    <a:pt x="802" y="208"/>
                    <a:pt x="802" y="197"/>
                    <a:pt x="797" y="184"/>
                  </a:cubicBezTo>
                  <a:cubicBezTo>
                    <a:pt x="792" y="171"/>
                    <a:pt x="781" y="154"/>
                    <a:pt x="771" y="137"/>
                  </a:cubicBezTo>
                  <a:cubicBezTo>
                    <a:pt x="761" y="120"/>
                    <a:pt x="747" y="97"/>
                    <a:pt x="740" y="84"/>
                  </a:cubicBezTo>
                  <a:cubicBezTo>
                    <a:pt x="733" y="71"/>
                    <a:pt x="727" y="67"/>
                    <a:pt x="727" y="60"/>
                  </a:cubicBezTo>
                  <a:cubicBezTo>
                    <a:pt x="727" y="53"/>
                    <a:pt x="732" y="49"/>
                    <a:pt x="740" y="43"/>
                  </a:cubicBezTo>
                  <a:cubicBezTo>
                    <a:pt x="748" y="37"/>
                    <a:pt x="769" y="30"/>
                    <a:pt x="775" y="23"/>
                  </a:cubicBezTo>
                  <a:cubicBezTo>
                    <a:pt x="781" y="16"/>
                    <a:pt x="778" y="8"/>
                    <a:pt x="776" y="0"/>
                  </a:cubicBezTo>
                </a:path>
              </a:pathLst>
            </a:custGeom>
            <a:noFill/>
            <a:ln w="9525" cap="flat" cmpd="sng">
              <a:solidFill>
                <a:srgbClr val="CC00FF"/>
              </a:solidFill>
              <a:prstDash val="lg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68" name="Freeform 2058"/>
            <p:cNvSpPr>
              <a:spLocks/>
            </p:cNvSpPr>
            <p:nvPr/>
          </p:nvSpPr>
          <p:spPr bwMode="auto">
            <a:xfrm>
              <a:off x="1800225" y="4335541"/>
              <a:ext cx="20638" cy="63500"/>
            </a:xfrm>
            <a:custGeom>
              <a:avLst/>
              <a:gdLst>
                <a:gd name="T0" fmla="*/ 2147483647 w 13"/>
                <a:gd name="T1" fmla="*/ 2147483647 h 40"/>
                <a:gd name="T2" fmla="*/ 2147483647 w 13"/>
                <a:gd name="T3" fmla="*/ 2147483647 h 40"/>
                <a:gd name="T4" fmla="*/ 2147483647 w 13"/>
                <a:gd name="T5" fmla="*/ 2147483647 h 40"/>
                <a:gd name="T6" fmla="*/ 2147483647 w 13"/>
                <a:gd name="T7" fmla="*/ 2147483647 h 40"/>
                <a:gd name="T8" fmla="*/ 2147483647 w 13"/>
                <a:gd name="T9" fmla="*/ 2147483647 h 40"/>
                <a:gd name="T10" fmla="*/ 0 60000 65536"/>
                <a:gd name="T11" fmla="*/ 0 60000 65536"/>
                <a:gd name="T12" fmla="*/ 0 60000 65536"/>
                <a:gd name="T13" fmla="*/ 0 60000 65536"/>
                <a:gd name="T14" fmla="*/ 0 60000 65536"/>
                <a:gd name="T15" fmla="*/ 0 w 13"/>
                <a:gd name="T16" fmla="*/ 0 h 40"/>
                <a:gd name="T17" fmla="*/ 13 w 13"/>
                <a:gd name="T18" fmla="*/ 40 h 40"/>
              </a:gdLst>
              <a:ahLst/>
              <a:cxnLst>
                <a:cxn ang="T10">
                  <a:pos x="T0" y="T1"/>
                </a:cxn>
                <a:cxn ang="T11">
                  <a:pos x="T2" y="T3"/>
                </a:cxn>
                <a:cxn ang="T12">
                  <a:pos x="T4" y="T5"/>
                </a:cxn>
                <a:cxn ang="T13">
                  <a:pos x="T6" y="T7"/>
                </a:cxn>
                <a:cxn ang="T14">
                  <a:pos x="T8" y="T9"/>
                </a:cxn>
              </a:cxnLst>
              <a:rect l="T15" t="T16" r="T17" b="T18"/>
              <a:pathLst>
                <a:path w="13" h="40">
                  <a:moveTo>
                    <a:pt x="5" y="40"/>
                  </a:moveTo>
                  <a:cubicBezTo>
                    <a:pt x="3" y="34"/>
                    <a:pt x="1" y="29"/>
                    <a:pt x="1" y="23"/>
                  </a:cubicBezTo>
                  <a:cubicBezTo>
                    <a:pt x="1" y="17"/>
                    <a:pt x="0" y="8"/>
                    <a:pt x="2" y="5"/>
                  </a:cubicBezTo>
                  <a:cubicBezTo>
                    <a:pt x="4" y="2"/>
                    <a:pt x="9" y="0"/>
                    <a:pt x="11" y="5"/>
                  </a:cubicBezTo>
                  <a:cubicBezTo>
                    <a:pt x="13" y="10"/>
                    <a:pt x="13" y="28"/>
                    <a:pt x="13" y="34"/>
                  </a:cubicBezTo>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769" name="Text Box 2059"/>
            <p:cNvSpPr txBox="1">
              <a:spLocks noChangeArrowheads="1"/>
            </p:cNvSpPr>
            <p:nvPr/>
          </p:nvSpPr>
          <p:spPr bwMode="auto">
            <a:xfrm>
              <a:off x="2217721" y="4973700"/>
              <a:ext cx="136525"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Pier</a:t>
              </a:r>
            </a:p>
          </p:txBody>
        </p:sp>
        <p:sp>
          <p:nvSpPr>
            <p:cNvPr id="770" name="Freeform 2060"/>
            <p:cNvSpPr>
              <a:spLocks/>
            </p:cNvSpPr>
            <p:nvPr/>
          </p:nvSpPr>
          <p:spPr bwMode="auto">
            <a:xfrm>
              <a:off x="4719638" y="3476703"/>
              <a:ext cx="147638" cy="209550"/>
            </a:xfrm>
            <a:custGeom>
              <a:avLst/>
              <a:gdLst>
                <a:gd name="T0" fmla="*/ 2147483647 w 93"/>
                <a:gd name="T1" fmla="*/ 2147483647 h 132"/>
                <a:gd name="T2" fmla="*/ 2147483647 w 93"/>
                <a:gd name="T3" fmla="*/ 2147483647 h 132"/>
                <a:gd name="T4" fmla="*/ 0 w 93"/>
                <a:gd name="T5" fmla="*/ 2147483647 h 132"/>
                <a:gd name="T6" fmla="*/ 2147483647 w 93"/>
                <a:gd name="T7" fmla="*/ 2147483647 h 132"/>
                <a:gd name="T8" fmla="*/ 2147483647 w 93"/>
                <a:gd name="T9" fmla="*/ 0 h 132"/>
                <a:gd name="T10" fmla="*/ 2147483647 w 93"/>
                <a:gd name="T11" fmla="*/ 2147483647 h 132"/>
                <a:gd name="T12" fmla="*/ 2147483647 w 93"/>
                <a:gd name="T13" fmla="*/ 2147483647 h 132"/>
                <a:gd name="T14" fmla="*/ 2147483647 w 93"/>
                <a:gd name="T15" fmla="*/ 2147483647 h 132"/>
                <a:gd name="T16" fmla="*/ 2147483647 w 93"/>
                <a:gd name="T17" fmla="*/ 2147483647 h 132"/>
                <a:gd name="T18" fmla="*/ 2147483647 w 93"/>
                <a:gd name="T19" fmla="*/ 2147483647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32"/>
                <a:gd name="T32" fmla="*/ 93 w 93"/>
                <a:gd name="T33" fmla="*/ 132 h 1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32">
                  <a:moveTo>
                    <a:pt x="47" y="130"/>
                  </a:moveTo>
                  <a:lnTo>
                    <a:pt x="18" y="132"/>
                  </a:lnTo>
                  <a:lnTo>
                    <a:pt x="0" y="91"/>
                  </a:lnTo>
                  <a:lnTo>
                    <a:pt x="33" y="48"/>
                  </a:lnTo>
                  <a:lnTo>
                    <a:pt x="62" y="0"/>
                  </a:lnTo>
                  <a:lnTo>
                    <a:pt x="81" y="69"/>
                  </a:lnTo>
                  <a:lnTo>
                    <a:pt x="89" y="102"/>
                  </a:lnTo>
                  <a:lnTo>
                    <a:pt x="93" y="117"/>
                  </a:lnTo>
                  <a:lnTo>
                    <a:pt x="72" y="126"/>
                  </a:lnTo>
                  <a:lnTo>
                    <a:pt x="47" y="130"/>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771" name="Freeform 2061"/>
            <p:cNvSpPr>
              <a:spLocks/>
            </p:cNvSpPr>
            <p:nvPr/>
          </p:nvSpPr>
          <p:spPr bwMode="auto">
            <a:xfrm>
              <a:off x="4441825" y="3165553"/>
              <a:ext cx="342900" cy="473075"/>
            </a:xfrm>
            <a:custGeom>
              <a:avLst/>
              <a:gdLst>
                <a:gd name="T0" fmla="*/ 2147483647 w 216"/>
                <a:gd name="T1" fmla="*/ 2147483647 h 298"/>
                <a:gd name="T2" fmla="*/ 2147483647 w 216"/>
                <a:gd name="T3" fmla="*/ 2147483647 h 298"/>
                <a:gd name="T4" fmla="*/ 2147483647 w 216"/>
                <a:gd name="T5" fmla="*/ 2147483647 h 298"/>
                <a:gd name="T6" fmla="*/ 2147483647 w 216"/>
                <a:gd name="T7" fmla="*/ 2147483647 h 298"/>
                <a:gd name="T8" fmla="*/ 2147483647 w 216"/>
                <a:gd name="T9" fmla="*/ 2147483647 h 298"/>
                <a:gd name="T10" fmla="*/ 2147483647 w 216"/>
                <a:gd name="T11" fmla="*/ 2147483647 h 298"/>
                <a:gd name="T12" fmla="*/ 2147483647 w 216"/>
                <a:gd name="T13" fmla="*/ 2147483647 h 298"/>
                <a:gd name="T14" fmla="*/ 2147483647 w 216"/>
                <a:gd name="T15" fmla="*/ 2147483647 h 298"/>
                <a:gd name="T16" fmla="*/ 2147483647 w 216"/>
                <a:gd name="T17" fmla="*/ 2147483647 h 298"/>
                <a:gd name="T18" fmla="*/ 2147483647 w 216"/>
                <a:gd name="T19" fmla="*/ 2147483647 h 298"/>
                <a:gd name="T20" fmla="*/ 2147483647 w 216"/>
                <a:gd name="T21" fmla="*/ 2147483647 h 298"/>
                <a:gd name="T22" fmla="*/ 2147483647 w 216"/>
                <a:gd name="T23" fmla="*/ 2147483647 h 298"/>
                <a:gd name="T24" fmla="*/ 2147483647 w 216"/>
                <a:gd name="T25" fmla="*/ 2147483647 h 298"/>
                <a:gd name="T26" fmla="*/ 2147483647 w 216"/>
                <a:gd name="T27" fmla="*/ 2147483647 h 298"/>
                <a:gd name="T28" fmla="*/ 0 w 216"/>
                <a:gd name="T29" fmla="*/ 2147483647 h 298"/>
                <a:gd name="T30" fmla="*/ 2147483647 w 216"/>
                <a:gd name="T31" fmla="*/ 2147483647 h 298"/>
                <a:gd name="T32" fmla="*/ 2147483647 w 216"/>
                <a:gd name="T33" fmla="*/ 2147483647 h 298"/>
                <a:gd name="T34" fmla="*/ 2147483647 w 216"/>
                <a:gd name="T35" fmla="*/ 2147483647 h 298"/>
                <a:gd name="T36" fmla="*/ 2147483647 w 216"/>
                <a:gd name="T37" fmla="*/ 2147483647 h 298"/>
                <a:gd name="T38" fmla="*/ 2147483647 w 216"/>
                <a:gd name="T39" fmla="*/ 2147483647 h 298"/>
                <a:gd name="T40" fmla="*/ 2147483647 w 216"/>
                <a:gd name="T41" fmla="*/ 2147483647 h 298"/>
                <a:gd name="T42" fmla="*/ 2147483647 w 216"/>
                <a:gd name="T43" fmla="*/ 2147483647 h 298"/>
                <a:gd name="T44" fmla="*/ 2147483647 w 216"/>
                <a:gd name="T45" fmla="*/ 2147483647 h 298"/>
                <a:gd name="T46" fmla="*/ 2147483647 w 216"/>
                <a:gd name="T47" fmla="*/ 2147483647 h 298"/>
                <a:gd name="T48" fmla="*/ 2147483647 w 216"/>
                <a:gd name="T49" fmla="*/ 2147483647 h 298"/>
                <a:gd name="T50" fmla="*/ 2147483647 w 216"/>
                <a:gd name="T51" fmla="*/ 2147483647 h 298"/>
                <a:gd name="T52" fmla="*/ 2147483647 w 216"/>
                <a:gd name="T53" fmla="*/ 2147483647 h 298"/>
                <a:gd name="T54" fmla="*/ 2147483647 w 216"/>
                <a:gd name="T55" fmla="*/ 2147483647 h 298"/>
                <a:gd name="T56" fmla="*/ 2147483647 w 216"/>
                <a:gd name="T57" fmla="*/ 2147483647 h 298"/>
                <a:gd name="T58" fmla="*/ 2147483647 w 216"/>
                <a:gd name="T59" fmla="*/ 2147483647 h 298"/>
                <a:gd name="T60" fmla="*/ 2147483647 w 216"/>
                <a:gd name="T61" fmla="*/ 2147483647 h 298"/>
                <a:gd name="T62" fmla="*/ 2147483647 w 216"/>
                <a:gd name="T63" fmla="*/ 2147483647 h 298"/>
                <a:gd name="T64" fmla="*/ 2147483647 w 216"/>
                <a:gd name="T65" fmla="*/ 2147483647 h 298"/>
                <a:gd name="T66" fmla="*/ 2147483647 w 216"/>
                <a:gd name="T67" fmla="*/ 2147483647 h 298"/>
                <a:gd name="T68" fmla="*/ 2147483647 w 216"/>
                <a:gd name="T69" fmla="*/ 2147483647 h 298"/>
                <a:gd name="T70" fmla="*/ 2147483647 w 216"/>
                <a:gd name="T71" fmla="*/ 2147483647 h 298"/>
                <a:gd name="T72" fmla="*/ 2147483647 w 216"/>
                <a:gd name="T73" fmla="*/ 2147483647 h 298"/>
                <a:gd name="T74" fmla="*/ 2147483647 w 216"/>
                <a:gd name="T75" fmla="*/ 2147483647 h 298"/>
                <a:gd name="T76" fmla="*/ 2147483647 w 216"/>
                <a:gd name="T77" fmla="*/ 2147483647 h 298"/>
                <a:gd name="T78" fmla="*/ 2147483647 w 216"/>
                <a:gd name="T79" fmla="*/ 2147483647 h 298"/>
                <a:gd name="T80" fmla="*/ 2147483647 w 216"/>
                <a:gd name="T81" fmla="*/ 2147483647 h 298"/>
                <a:gd name="T82" fmla="*/ 2147483647 w 216"/>
                <a:gd name="T83" fmla="*/ 2147483647 h 298"/>
                <a:gd name="T84" fmla="*/ 2147483647 w 216"/>
                <a:gd name="T85" fmla="*/ 2147483647 h 298"/>
                <a:gd name="T86" fmla="*/ 2147483647 w 216"/>
                <a:gd name="T87" fmla="*/ 2147483647 h 298"/>
                <a:gd name="T88" fmla="*/ 2147483647 w 216"/>
                <a:gd name="T89" fmla="*/ 2147483647 h 298"/>
                <a:gd name="T90" fmla="*/ 2147483647 w 216"/>
                <a:gd name="T91" fmla="*/ 2147483647 h 2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6"/>
                <a:gd name="T139" fmla="*/ 0 h 298"/>
                <a:gd name="T140" fmla="*/ 216 w 216"/>
                <a:gd name="T141" fmla="*/ 298 h 2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6" h="298">
                  <a:moveTo>
                    <a:pt x="155" y="298"/>
                  </a:moveTo>
                  <a:cubicBezTo>
                    <a:pt x="153" y="297"/>
                    <a:pt x="149" y="294"/>
                    <a:pt x="144" y="290"/>
                  </a:cubicBezTo>
                  <a:cubicBezTo>
                    <a:pt x="139" y="287"/>
                    <a:pt x="132" y="282"/>
                    <a:pt x="127" y="278"/>
                  </a:cubicBezTo>
                  <a:cubicBezTo>
                    <a:pt x="123" y="275"/>
                    <a:pt x="121" y="272"/>
                    <a:pt x="118" y="270"/>
                  </a:cubicBezTo>
                  <a:cubicBezTo>
                    <a:pt x="114" y="268"/>
                    <a:pt x="110" y="266"/>
                    <a:pt x="106" y="265"/>
                  </a:cubicBezTo>
                  <a:cubicBezTo>
                    <a:pt x="103" y="265"/>
                    <a:pt x="101" y="266"/>
                    <a:pt x="98" y="267"/>
                  </a:cubicBezTo>
                  <a:cubicBezTo>
                    <a:pt x="95" y="268"/>
                    <a:pt x="90" y="269"/>
                    <a:pt x="86" y="270"/>
                  </a:cubicBezTo>
                  <a:cubicBezTo>
                    <a:pt x="83" y="272"/>
                    <a:pt x="82" y="277"/>
                    <a:pt x="78" y="277"/>
                  </a:cubicBezTo>
                  <a:cubicBezTo>
                    <a:pt x="75" y="277"/>
                    <a:pt x="70" y="275"/>
                    <a:pt x="65" y="271"/>
                  </a:cubicBezTo>
                  <a:cubicBezTo>
                    <a:pt x="61" y="268"/>
                    <a:pt x="57" y="262"/>
                    <a:pt x="51" y="255"/>
                  </a:cubicBezTo>
                  <a:cubicBezTo>
                    <a:pt x="46" y="249"/>
                    <a:pt x="36" y="238"/>
                    <a:pt x="31" y="233"/>
                  </a:cubicBezTo>
                  <a:cubicBezTo>
                    <a:pt x="26" y="227"/>
                    <a:pt x="22" y="225"/>
                    <a:pt x="20" y="221"/>
                  </a:cubicBezTo>
                  <a:cubicBezTo>
                    <a:pt x="17" y="217"/>
                    <a:pt x="15" y="215"/>
                    <a:pt x="13" y="210"/>
                  </a:cubicBezTo>
                  <a:cubicBezTo>
                    <a:pt x="10" y="205"/>
                    <a:pt x="6" y="194"/>
                    <a:pt x="4" y="189"/>
                  </a:cubicBezTo>
                  <a:cubicBezTo>
                    <a:pt x="2" y="183"/>
                    <a:pt x="0" y="181"/>
                    <a:pt x="0" y="176"/>
                  </a:cubicBezTo>
                  <a:cubicBezTo>
                    <a:pt x="0" y="170"/>
                    <a:pt x="2" y="158"/>
                    <a:pt x="3" y="153"/>
                  </a:cubicBezTo>
                  <a:cubicBezTo>
                    <a:pt x="3" y="148"/>
                    <a:pt x="2" y="149"/>
                    <a:pt x="3" y="147"/>
                  </a:cubicBezTo>
                  <a:cubicBezTo>
                    <a:pt x="3" y="145"/>
                    <a:pt x="4" y="144"/>
                    <a:pt x="6" y="142"/>
                  </a:cubicBezTo>
                  <a:cubicBezTo>
                    <a:pt x="7" y="141"/>
                    <a:pt x="10" y="137"/>
                    <a:pt x="14" y="137"/>
                  </a:cubicBezTo>
                  <a:cubicBezTo>
                    <a:pt x="18" y="137"/>
                    <a:pt x="26" y="141"/>
                    <a:pt x="31" y="141"/>
                  </a:cubicBezTo>
                  <a:cubicBezTo>
                    <a:pt x="35" y="142"/>
                    <a:pt x="41" y="142"/>
                    <a:pt x="42" y="141"/>
                  </a:cubicBezTo>
                  <a:cubicBezTo>
                    <a:pt x="43" y="140"/>
                    <a:pt x="35" y="135"/>
                    <a:pt x="39" y="135"/>
                  </a:cubicBezTo>
                  <a:cubicBezTo>
                    <a:pt x="43" y="135"/>
                    <a:pt x="59" y="137"/>
                    <a:pt x="69" y="139"/>
                  </a:cubicBezTo>
                  <a:cubicBezTo>
                    <a:pt x="79" y="141"/>
                    <a:pt x="93" y="148"/>
                    <a:pt x="100" y="145"/>
                  </a:cubicBezTo>
                  <a:cubicBezTo>
                    <a:pt x="107" y="142"/>
                    <a:pt x="105" y="122"/>
                    <a:pt x="112" y="118"/>
                  </a:cubicBezTo>
                  <a:cubicBezTo>
                    <a:pt x="119" y="114"/>
                    <a:pt x="138" y="122"/>
                    <a:pt x="141" y="119"/>
                  </a:cubicBezTo>
                  <a:cubicBezTo>
                    <a:pt x="144" y="116"/>
                    <a:pt x="134" y="111"/>
                    <a:pt x="129" y="103"/>
                  </a:cubicBezTo>
                  <a:cubicBezTo>
                    <a:pt x="124" y="95"/>
                    <a:pt x="117" y="74"/>
                    <a:pt x="109" y="71"/>
                  </a:cubicBezTo>
                  <a:cubicBezTo>
                    <a:pt x="101" y="68"/>
                    <a:pt x="85" y="86"/>
                    <a:pt x="78" y="84"/>
                  </a:cubicBezTo>
                  <a:cubicBezTo>
                    <a:pt x="71" y="82"/>
                    <a:pt x="72" y="67"/>
                    <a:pt x="69" y="61"/>
                  </a:cubicBezTo>
                  <a:cubicBezTo>
                    <a:pt x="67" y="55"/>
                    <a:pt x="63" y="51"/>
                    <a:pt x="61" y="45"/>
                  </a:cubicBezTo>
                  <a:cubicBezTo>
                    <a:pt x="59" y="40"/>
                    <a:pt x="59" y="34"/>
                    <a:pt x="57" y="29"/>
                  </a:cubicBezTo>
                  <a:cubicBezTo>
                    <a:pt x="55" y="24"/>
                    <a:pt x="49" y="18"/>
                    <a:pt x="49" y="13"/>
                  </a:cubicBezTo>
                  <a:cubicBezTo>
                    <a:pt x="49" y="8"/>
                    <a:pt x="55" y="2"/>
                    <a:pt x="58" y="1"/>
                  </a:cubicBezTo>
                  <a:cubicBezTo>
                    <a:pt x="61" y="0"/>
                    <a:pt x="67" y="3"/>
                    <a:pt x="70" y="5"/>
                  </a:cubicBezTo>
                  <a:cubicBezTo>
                    <a:pt x="73" y="7"/>
                    <a:pt x="74" y="5"/>
                    <a:pt x="76" y="11"/>
                  </a:cubicBezTo>
                  <a:cubicBezTo>
                    <a:pt x="79" y="16"/>
                    <a:pt x="81" y="32"/>
                    <a:pt x="83" y="39"/>
                  </a:cubicBezTo>
                  <a:cubicBezTo>
                    <a:pt x="86" y="47"/>
                    <a:pt x="90" y="52"/>
                    <a:pt x="93" y="56"/>
                  </a:cubicBezTo>
                  <a:cubicBezTo>
                    <a:pt x="97" y="61"/>
                    <a:pt x="98" y="64"/>
                    <a:pt x="102" y="68"/>
                  </a:cubicBezTo>
                  <a:cubicBezTo>
                    <a:pt x="106" y="73"/>
                    <a:pt x="111" y="79"/>
                    <a:pt x="116" y="84"/>
                  </a:cubicBezTo>
                  <a:cubicBezTo>
                    <a:pt x="120" y="89"/>
                    <a:pt x="125" y="96"/>
                    <a:pt x="130" y="101"/>
                  </a:cubicBezTo>
                  <a:cubicBezTo>
                    <a:pt x="134" y="106"/>
                    <a:pt x="135" y="110"/>
                    <a:pt x="141" y="117"/>
                  </a:cubicBezTo>
                  <a:cubicBezTo>
                    <a:pt x="146" y="124"/>
                    <a:pt x="157" y="134"/>
                    <a:pt x="162" y="141"/>
                  </a:cubicBezTo>
                  <a:cubicBezTo>
                    <a:pt x="168" y="148"/>
                    <a:pt x="169" y="152"/>
                    <a:pt x="174" y="157"/>
                  </a:cubicBezTo>
                  <a:cubicBezTo>
                    <a:pt x="180" y="161"/>
                    <a:pt x="188" y="166"/>
                    <a:pt x="195" y="170"/>
                  </a:cubicBezTo>
                  <a:cubicBezTo>
                    <a:pt x="202" y="174"/>
                    <a:pt x="213" y="180"/>
                    <a:pt x="216" y="182"/>
                  </a:cubicBezTo>
                </a:path>
              </a:pathLst>
            </a:custGeom>
            <a:solidFill>
              <a:srgbClr val="663300"/>
            </a:solidFill>
            <a:ln w="9525" cap="flat" cmpd="sng">
              <a:solidFill>
                <a:srgbClr val="663300"/>
              </a:solidFill>
              <a:prstDash val="solid"/>
              <a:round/>
              <a:headEnd type="none" w="med" len="med"/>
              <a:tailEnd type="none" w="med" len="med"/>
            </a:ln>
          </p:spPr>
          <p:txBody>
            <a:bodyPr wrap="none" lIns="0" tIns="0" rIns="0" bIns="0">
              <a:spAutoFit/>
            </a:bodyPr>
            <a:lstStyle/>
            <a:p>
              <a:endParaRPr lang="de-DE"/>
            </a:p>
          </p:txBody>
        </p:sp>
        <p:sp>
          <p:nvSpPr>
            <p:cNvPr id="772" name="Freeform 2062"/>
            <p:cNvSpPr>
              <a:spLocks/>
            </p:cNvSpPr>
            <p:nvPr/>
          </p:nvSpPr>
          <p:spPr bwMode="auto">
            <a:xfrm>
              <a:off x="4438650" y="3367163"/>
              <a:ext cx="155572" cy="138109"/>
            </a:xfrm>
            <a:custGeom>
              <a:avLst/>
              <a:gdLst>
                <a:gd name="T0" fmla="*/ 1581105446 w 10000"/>
                <a:gd name="T1" fmla="*/ 2147483647 h 11154"/>
                <a:gd name="T2" fmla="*/ 743633833 w 10000"/>
                <a:gd name="T3" fmla="*/ 2147483647 h 11154"/>
                <a:gd name="T4" fmla="*/ 558646948 w 10000"/>
                <a:gd name="T5" fmla="*/ 1940384485 h 11154"/>
                <a:gd name="T6" fmla="*/ 0 w 10000"/>
                <a:gd name="T7" fmla="*/ 1380700648 h 11154"/>
                <a:gd name="T8" fmla="*/ 465686518 w 10000"/>
                <a:gd name="T9" fmla="*/ 559683837 h 11154"/>
                <a:gd name="T10" fmla="*/ 2147483647 w 10000"/>
                <a:gd name="T11" fmla="*/ 373405430 h 11154"/>
                <a:gd name="T12" fmla="*/ 2147483647 w 10000"/>
                <a:gd name="T13" fmla="*/ 373122562 h 11154"/>
                <a:gd name="T14" fmla="*/ 2147483647 w 10000"/>
                <a:gd name="T15" fmla="*/ 597221626 h 11154"/>
                <a:gd name="T16" fmla="*/ 2147483647 w 10000"/>
                <a:gd name="T17" fmla="*/ 2147483647 h 11154"/>
                <a:gd name="T18" fmla="*/ 1952013192 w 10000"/>
                <a:gd name="T19" fmla="*/ 2147483647 h 11154"/>
                <a:gd name="T20" fmla="*/ 1115418928 w 10000"/>
                <a:gd name="T21" fmla="*/ 2147483647 h 11154"/>
                <a:gd name="T22" fmla="*/ 743633833 w 10000"/>
                <a:gd name="T23" fmla="*/ 2052434097 h 111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00" h="11154">
                  <a:moveTo>
                    <a:pt x="1735" y="9744"/>
                  </a:moveTo>
                  <a:cubicBezTo>
                    <a:pt x="1633" y="9488"/>
                    <a:pt x="1020" y="8718"/>
                    <a:pt x="816" y="8206"/>
                  </a:cubicBezTo>
                  <a:cubicBezTo>
                    <a:pt x="613" y="7693"/>
                    <a:pt x="714" y="7180"/>
                    <a:pt x="613" y="6667"/>
                  </a:cubicBezTo>
                  <a:cubicBezTo>
                    <a:pt x="511" y="6155"/>
                    <a:pt x="0" y="5513"/>
                    <a:pt x="0" y="4744"/>
                  </a:cubicBezTo>
                  <a:cubicBezTo>
                    <a:pt x="0" y="3975"/>
                    <a:pt x="102" y="2564"/>
                    <a:pt x="511" y="1923"/>
                  </a:cubicBezTo>
                  <a:cubicBezTo>
                    <a:pt x="918" y="1283"/>
                    <a:pt x="1820" y="1390"/>
                    <a:pt x="2653" y="1283"/>
                  </a:cubicBezTo>
                  <a:cubicBezTo>
                    <a:pt x="3486" y="1176"/>
                    <a:pt x="4898" y="0"/>
                    <a:pt x="5510" y="1282"/>
                  </a:cubicBezTo>
                  <a:lnTo>
                    <a:pt x="10000" y="2052"/>
                  </a:lnTo>
                  <a:lnTo>
                    <a:pt x="7653" y="8398"/>
                  </a:lnTo>
                  <a:lnTo>
                    <a:pt x="2142" y="11154"/>
                  </a:lnTo>
                  <a:cubicBezTo>
                    <a:pt x="1224" y="11026"/>
                    <a:pt x="1429" y="8718"/>
                    <a:pt x="1224" y="8077"/>
                  </a:cubicBezTo>
                  <a:cubicBezTo>
                    <a:pt x="1020" y="7437"/>
                    <a:pt x="918" y="7308"/>
                    <a:pt x="816" y="7052"/>
                  </a:cubicBezTo>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773" name="Freeform 2063"/>
            <p:cNvSpPr>
              <a:spLocks/>
            </p:cNvSpPr>
            <p:nvPr/>
          </p:nvSpPr>
          <p:spPr bwMode="auto">
            <a:xfrm>
              <a:off x="4518025" y="3340168"/>
              <a:ext cx="268288" cy="341322"/>
            </a:xfrm>
            <a:custGeom>
              <a:avLst/>
              <a:gdLst>
                <a:gd name="T0" fmla="*/ 2147483647 w 10000"/>
                <a:gd name="T1" fmla="*/ 2147483647 h 12798"/>
                <a:gd name="T2" fmla="*/ 0 w 10000"/>
                <a:gd name="T3" fmla="*/ 2147483647 h 12798"/>
                <a:gd name="T4" fmla="*/ 2147483647 w 10000"/>
                <a:gd name="T5" fmla="*/ 2147483647 h 12798"/>
                <a:gd name="T6" fmla="*/ 2147483647 w 10000"/>
                <a:gd name="T7" fmla="*/ 0 h 12798"/>
                <a:gd name="T8" fmla="*/ 2147483647 w 10000"/>
                <a:gd name="T9" fmla="*/ 2147483647 h 12798"/>
                <a:gd name="T10" fmla="*/ 2147483647 w 10000"/>
                <a:gd name="T11" fmla="*/ 2147483647 h 12798"/>
                <a:gd name="T12" fmla="*/ 2147483647 w 10000"/>
                <a:gd name="T13" fmla="*/ 2147483647 h 12798"/>
                <a:gd name="T14" fmla="*/ 2147483647 w 10000"/>
                <a:gd name="T15" fmla="*/ 2147483647 h 12798"/>
                <a:gd name="T16" fmla="*/ 2147483647 w 10000"/>
                <a:gd name="T17" fmla="*/ 2147483647 h 1279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000" h="12798">
                  <a:moveTo>
                    <a:pt x="1479" y="9822"/>
                  </a:moveTo>
                  <a:lnTo>
                    <a:pt x="0" y="8215"/>
                  </a:lnTo>
                  <a:lnTo>
                    <a:pt x="1243" y="6429"/>
                  </a:lnTo>
                  <a:lnTo>
                    <a:pt x="3994" y="0"/>
                  </a:lnTo>
                  <a:cubicBezTo>
                    <a:pt x="6292" y="546"/>
                    <a:pt x="6193" y="1984"/>
                    <a:pt x="7337" y="2798"/>
                  </a:cubicBezTo>
                  <a:lnTo>
                    <a:pt x="10000" y="4108"/>
                  </a:lnTo>
                  <a:lnTo>
                    <a:pt x="8876" y="12322"/>
                  </a:lnTo>
                  <a:lnTo>
                    <a:pt x="5917" y="12798"/>
                  </a:lnTo>
                  <a:lnTo>
                    <a:pt x="1479" y="9822"/>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774" name="Freeform 2064"/>
            <p:cNvSpPr>
              <a:spLocks/>
            </p:cNvSpPr>
            <p:nvPr/>
          </p:nvSpPr>
          <p:spPr bwMode="auto">
            <a:xfrm>
              <a:off x="4787900" y="3392566"/>
              <a:ext cx="555625" cy="636588"/>
            </a:xfrm>
            <a:custGeom>
              <a:avLst/>
              <a:gdLst>
                <a:gd name="T0" fmla="*/ 2147483647 w 350"/>
                <a:gd name="T1" fmla="*/ 2147483647 h 401"/>
                <a:gd name="T2" fmla="*/ 2147483647 w 350"/>
                <a:gd name="T3" fmla="*/ 2147483647 h 401"/>
                <a:gd name="T4" fmla="*/ 2147483647 w 350"/>
                <a:gd name="T5" fmla="*/ 2147483647 h 401"/>
                <a:gd name="T6" fmla="*/ 2147483647 w 350"/>
                <a:gd name="T7" fmla="*/ 2147483647 h 401"/>
                <a:gd name="T8" fmla="*/ 2147483647 w 350"/>
                <a:gd name="T9" fmla="*/ 2147483647 h 401"/>
                <a:gd name="T10" fmla="*/ 2147483647 w 350"/>
                <a:gd name="T11" fmla="*/ 2147483647 h 401"/>
                <a:gd name="T12" fmla="*/ 2147483647 w 350"/>
                <a:gd name="T13" fmla="*/ 2147483647 h 401"/>
                <a:gd name="T14" fmla="*/ 2147483647 w 350"/>
                <a:gd name="T15" fmla="*/ 2147483647 h 401"/>
                <a:gd name="T16" fmla="*/ 2147483647 w 350"/>
                <a:gd name="T17" fmla="*/ 2147483647 h 401"/>
                <a:gd name="T18" fmla="*/ 2147483647 w 350"/>
                <a:gd name="T19" fmla="*/ 2147483647 h 401"/>
                <a:gd name="T20" fmla="*/ 2147483647 w 350"/>
                <a:gd name="T21" fmla="*/ 2147483647 h 401"/>
                <a:gd name="T22" fmla="*/ 2147483647 w 350"/>
                <a:gd name="T23" fmla="*/ 2147483647 h 401"/>
                <a:gd name="T24" fmla="*/ 2147483647 w 350"/>
                <a:gd name="T25" fmla="*/ 2147483647 h 401"/>
                <a:gd name="T26" fmla="*/ 2147483647 w 350"/>
                <a:gd name="T27" fmla="*/ 2147483647 h 401"/>
                <a:gd name="T28" fmla="*/ 2147483647 w 350"/>
                <a:gd name="T29" fmla="*/ 2147483647 h 401"/>
                <a:gd name="T30" fmla="*/ 2147483647 w 350"/>
                <a:gd name="T31" fmla="*/ 2147483647 h 401"/>
                <a:gd name="T32" fmla="*/ 2147483647 w 350"/>
                <a:gd name="T33" fmla="*/ 2147483647 h 401"/>
                <a:gd name="T34" fmla="*/ 2147483647 w 350"/>
                <a:gd name="T35" fmla="*/ 2147483647 h 401"/>
                <a:gd name="T36" fmla="*/ 2147483647 w 350"/>
                <a:gd name="T37" fmla="*/ 2147483647 h 401"/>
                <a:gd name="T38" fmla="*/ 2147483647 w 350"/>
                <a:gd name="T39" fmla="*/ 2147483647 h 401"/>
                <a:gd name="T40" fmla="*/ 2147483647 w 350"/>
                <a:gd name="T41" fmla="*/ 2147483647 h 401"/>
                <a:gd name="T42" fmla="*/ 2147483647 w 350"/>
                <a:gd name="T43" fmla="*/ 2147483647 h 401"/>
                <a:gd name="T44" fmla="*/ 2147483647 w 350"/>
                <a:gd name="T45" fmla="*/ 2147483647 h 401"/>
                <a:gd name="T46" fmla="*/ 2147483647 w 350"/>
                <a:gd name="T47" fmla="*/ 2147483647 h 401"/>
                <a:gd name="T48" fmla="*/ 2147483647 w 350"/>
                <a:gd name="T49" fmla="*/ 2147483647 h 401"/>
                <a:gd name="T50" fmla="*/ 2147483647 w 350"/>
                <a:gd name="T51" fmla="*/ 2147483647 h 401"/>
                <a:gd name="T52" fmla="*/ 2147483647 w 350"/>
                <a:gd name="T53" fmla="*/ 2147483647 h 401"/>
                <a:gd name="T54" fmla="*/ 2147483647 w 350"/>
                <a:gd name="T55" fmla="*/ 2147483647 h 401"/>
                <a:gd name="T56" fmla="*/ 2147483647 w 350"/>
                <a:gd name="T57" fmla="*/ 2147483647 h 401"/>
                <a:gd name="T58" fmla="*/ 2147483647 w 350"/>
                <a:gd name="T59" fmla="*/ 2147483647 h 401"/>
                <a:gd name="T60" fmla="*/ 2147483647 w 350"/>
                <a:gd name="T61" fmla="*/ 2147483647 h 401"/>
                <a:gd name="T62" fmla="*/ 2147483647 w 350"/>
                <a:gd name="T63" fmla="*/ 2147483647 h 401"/>
                <a:gd name="T64" fmla="*/ 2147483647 w 350"/>
                <a:gd name="T65" fmla="*/ 2147483647 h 401"/>
                <a:gd name="T66" fmla="*/ 2147483647 w 350"/>
                <a:gd name="T67" fmla="*/ 2147483647 h 401"/>
                <a:gd name="T68" fmla="*/ 2147483647 w 350"/>
                <a:gd name="T69" fmla="*/ 2147483647 h 401"/>
                <a:gd name="T70" fmla="*/ 2147483647 w 350"/>
                <a:gd name="T71" fmla="*/ 2147483647 h 401"/>
                <a:gd name="T72" fmla="*/ 2147483647 w 350"/>
                <a:gd name="T73" fmla="*/ 2147483647 h 401"/>
                <a:gd name="T74" fmla="*/ 2147483647 w 350"/>
                <a:gd name="T75" fmla="*/ 2147483647 h 401"/>
                <a:gd name="T76" fmla="*/ 2147483647 w 350"/>
                <a:gd name="T77" fmla="*/ 2147483647 h 401"/>
                <a:gd name="T78" fmla="*/ 2147483647 w 350"/>
                <a:gd name="T79" fmla="*/ 2147483647 h 401"/>
                <a:gd name="T80" fmla="*/ 2147483647 w 350"/>
                <a:gd name="T81" fmla="*/ 2147483647 h 401"/>
                <a:gd name="T82" fmla="*/ 2147483647 w 350"/>
                <a:gd name="T83" fmla="*/ 2147483647 h 401"/>
                <a:gd name="T84" fmla="*/ 2147483647 w 350"/>
                <a:gd name="T85" fmla="*/ 2147483647 h 4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50"/>
                <a:gd name="T130" fmla="*/ 0 h 401"/>
                <a:gd name="T131" fmla="*/ 350 w 350"/>
                <a:gd name="T132" fmla="*/ 401 h 4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50" h="401">
                  <a:moveTo>
                    <a:pt x="13" y="53"/>
                  </a:moveTo>
                  <a:cubicBezTo>
                    <a:pt x="14" y="56"/>
                    <a:pt x="16" y="60"/>
                    <a:pt x="20" y="74"/>
                  </a:cubicBezTo>
                  <a:cubicBezTo>
                    <a:pt x="24" y="88"/>
                    <a:pt x="31" y="122"/>
                    <a:pt x="34" y="135"/>
                  </a:cubicBezTo>
                  <a:cubicBezTo>
                    <a:pt x="37" y="148"/>
                    <a:pt x="39" y="145"/>
                    <a:pt x="40" y="150"/>
                  </a:cubicBezTo>
                  <a:cubicBezTo>
                    <a:pt x="41" y="155"/>
                    <a:pt x="49" y="162"/>
                    <a:pt x="43" y="167"/>
                  </a:cubicBezTo>
                  <a:cubicBezTo>
                    <a:pt x="37" y="172"/>
                    <a:pt x="8" y="179"/>
                    <a:pt x="4" y="183"/>
                  </a:cubicBezTo>
                  <a:cubicBezTo>
                    <a:pt x="0" y="187"/>
                    <a:pt x="13" y="190"/>
                    <a:pt x="19" y="192"/>
                  </a:cubicBezTo>
                  <a:cubicBezTo>
                    <a:pt x="25" y="194"/>
                    <a:pt x="35" y="190"/>
                    <a:pt x="40" y="196"/>
                  </a:cubicBezTo>
                  <a:cubicBezTo>
                    <a:pt x="45" y="202"/>
                    <a:pt x="51" y="221"/>
                    <a:pt x="52" y="230"/>
                  </a:cubicBezTo>
                  <a:cubicBezTo>
                    <a:pt x="53" y="239"/>
                    <a:pt x="47" y="243"/>
                    <a:pt x="48" y="250"/>
                  </a:cubicBezTo>
                  <a:cubicBezTo>
                    <a:pt x="49" y="257"/>
                    <a:pt x="51" y="267"/>
                    <a:pt x="58" y="274"/>
                  </a:cubicBezTo>
                  <a:cubicBezTo>
                    <a:pt x="65" y="281"/>
                    <a:pt x="81" y="287"/>
                    <a:pt x="88" y="292"/>
                  </a:cubicBezTo>
                  <a:cubicBezTo>
                    <a:pt x="95" y="297"/>
                    <a:pt x="96" y="301"/>
                    <a:pt x="98" y="306"/>
                  </a:cubicBezTo>
                  <a:cubicBezTo>
                    <a:pt x="100" y="311"/>
                    <a:pt x="99" y="321"/>
                    <a:pt x="102" y="326"/>
                  </a:cubicBezTo>
                  <a:cubicBezTo>
                    <a:pt x="105" y="331"/>
                    <a:pt x="114" y="329"/>
                    <a:pt x="118" y="334"/>
                  </a:cubicBezTo>
                  <a:cubicBezTo>
                    <a:pt x="122" y="339"/>
                    <a:pt x="124" y="346"/>
                    <a:pt x="128" y="356"/>
                  </a:cubicBezTo>
                  <a:cubicBezTo>
                    <a:pt x="132" y="366"/>
                    <a:pt x="138" y="387"/>
                    <a:pt x="144" y="394"/>
                  </a:cubicBezTo>
                  <a:cubicBezTo>
                    <a:pt x="150" y="401"/>
                    <a:pt x="152" y="400"/>
                    <a:pt x="164" y="400"/>
                  </a:cubicBezTo>
                  <a:cubicBezTo>
                    <a:pt x="176" y="400"/>
                    <a:pt x="201" y="399"/>
                    <a:pt x="218" y="396"/>
                  </a:cubicBezTo>
                  <a:cubicBezTo>
                    <a:pt x="235" y="393"/>
                    <a:pt x="251" y="386"/>
                    <a:pt x="266" y="380"/>
                  </a:cubicBezTo>
                  <a:cubicBezTo>
                    <a:pt x="281" y="374"/>
                    <a:pt x="314" y="378"/>
                    <a:pt x="310" y="360"/>
                  </a:cubicBezTo>
                  <a:cubicBezTo>
                    <a:pt x="306" y="342"/>
                    <a:pt x="248" y="288"/>
                    <a:pt x="240" y="270"/>
                  </a:cubicBezTo>
                  <a:cubicBezTo>
                    <a:pt x="232" y="252"/>
                    <a:pt x="254" y="259"/>
                    <a:pt x="260" y="254"/>
                  </a:cubicBezTo>
                  <a:cubicBezTo>
                    <a:pt x="266" y="249"/>
                    <a:pt x="273" y="249"/>
                    <a:pt x="277" y="242"/>
                  </a:cubicBezTo>
                  <a:cubicBezTo>
                    <a:pt x="281" y="235"/>
                    <a:pt x="279" y="214"/>
                    <a:pt x="282" y="208"/>
                  </a:cubicBezTo>
                  <a:cubicBezTo>
                    <a:pt x="285" y="202"/>
                    <a:pt x="295" y="212"/>
                    <a:pt x="298" y="208"/>
                  </a:cubicBezTo>
                  <a:cubicBezTo>
                    <a:pt x="301" y="204"/>
                    <a:pt x="294" y="190"/>
                    <a:pt x="298" y="182"/>
                  </a:cubicBezTo>
                  <a:cubicBezTo>
                    <a:pt x="302" y="174"/>
                    <a:pt x="316" y="161"/>
                    <a:pt x="322" y="158"/>
                  </a:cubicBezTo>
                  <a:cubicBezTo>
                    <a:pt x="328" y="155"/>
                    <a:pt x="331" y="160"/>
                    <a:pt x="336" y="162"/>
                  </a:cubicBezTo>
                  <a:cubicBezTo>
                    <a:pt x="341" y="164"/>
                    <a:pt x="350" y="175"/>
                    <a:pt x="350" y="170"/>
                  </a:cubicBezTo>
                  <a:cubicBezTo>
                    <a:pt x="350" y="165"/>
                    <a:pt x="343" y="139"/>
                    <a:pt x="338" y="130"/>
                  </a:cubicBezTo>
                  <a:cubicBezTo>
                    <a:pt x="333" y="121"/>
                    <a:pt x="323" y="120"/>
                    <a:pt x="318" y="116"/>
                  </a:cubicBezTo>
                  <a:cubicBezTo>
                    <a:pt x="313" y="112"/>
                    <a:pt x="313" y="105"/>
                    <a:pt x="306" y="106"/>
                  </a:cubicBezTo>
                  <a:cubicBezTo>
                    <a:pt x="299" y="107"/>
                    <a:pt x="284" y="118"/>
                    <a:pt x="276" y="120"/>
                  </a:cubicBezTo>
                  <a:cubicBezTo>
                    <a:pt x="268" y="122"/>
                    <a:pt x="292" y="135"/>
                    <a:pt x="256" y="118"/>
                  </a:cubicBezTo>
                  <a:cubicBezTo>
                    <a:pt x="220" y="101"/>
                    <a:pt x="96" y="36"/>
                    <a:pt x="58" y="18"/>
                  </a:cubicBezTo>
                  <a:cubicBezTo>
                    <a:pt x="20" y="0"/>
                    <a:pt x="36" y="8"/>
                    <a:pt x="30" y="8"/>
                  </a:cubicBezTo>
                  <a:cubicBezTo>
                    <a:pt x="24" y="8"/>
                    <a:pt x="27" y="13"/>
                    <a:pt x="24" y="18"/>
                  </a:cubicBezTo>
                  <a:cubicBezTo>
                    <a:pt x="21" y="23"/>
                    <a:pt x="14" y="31"/>
                    <a:pt x="12" y="38"/>
                  </a:cubicBezTo>
                  <a:cubicBezTo>
                    <a:pt x="10" y="45"/>
                    <a:pt x="13" y="55"/>
                    <a:pt x="14" y="62"/>
                  </a:cubicBezTo>
                  <a:cubicBezTo>
                    <a:pt x="15" y="69"/>
                    <a:pt x="17" y="76"/>
                    <a:pt x="20" y="83"/>
                  </a:cubicBezTo>
                  <a:cubicBezTo>
                    <a:pt x="23" y="90"/>
                    <a:pt x="29" y="98"/>
                    <a:pt x="31" y="104"/>
                  </a:cubicBezTo>
                  <a:cubicBezTo>
                    <a:pt x="33" y="110"/>
                    <a:pt x="31" y="116"/>
                    <a:pt x="31" y="119"/>
                  </a:cubicBezTo>
                </a:path>
              </a:pathLst>
            </a:custGeom>
            <a:solidFill>
              <a:srgbClr val="009900"/>
            </a:solidFill>
            <a:ln w="6350"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775" name="Freeform 2065"/>
            <p:cNvSpPr>
              <a:spLocks/>
            </p:cNvSpPr>
            <p:nvPr/>
          </p:nvSpPr>
          <p:spPr bwMode="auto">
            <a:xfrm>
              <a:off x="4832350" y="3489403"/>
              <a:ext cx="393700" cy="520700"/>
            </a:xfrm>
            <a:custGeom>
              <a:avLst/>
              <a:gdLst>
                <a:gd name="T0" fmla="*/ 2147483647 w 248"/>
                <a:gd name="T1" fmla="*/ 2147483647 h 328"/>
                <a:gd name="T2" fmla="*/ 2147483647 w 248"/>
                <a:gd name="T3" fmla="*/ 2147483647 h 328"/>
                <a:gd name="T4" fmla="*/ 2147483647 w 248"/>
                <a:gd name="T5" fmla="*/ 2147483647 h 328"/>
                <a:gd name="T6" fmla="*/ 2147483647 w 248"/>
                <a:gd name="T7" fmla="*/ 2147483647 h 328"/>
                <a:gd name="T8" fmla="*/ 2147483647 w 248"/>
                <a:gd name="T9" fmla="*/ 2147483647 h 328"/>
                <a:gd name="T10" fmla="*/ 2147483647 w 248"/>
                <a:gd name="T11" fmla="*/ 2147483647 h 328"/>
                <a:gd name="T12" fmla="*/ 2147483647 w 248"/>
                <a:gd name="T13" fmla="*/ 2147483647 h 328"/>
                <a:gd name="T14" fmla="*/ 2147483647 w 248"/>
                <a:gd name="T15" fmla="*/ 2147483647 h 328"/>
                <a:gd name="T16" fmla="*/ 2147483647 w 248"/>
                <a:gd name="T17" fmla="*/ 2147483647 h 328"/>
                <a:gd name="T18" fmla="*/ 2147483647 w 248"/>
                <a:gd name="T19" fmla="*/ 2147483647 h 328"/>
                <a:gd name="T20" fmla="*/ 2147483647 w 248"/>
                <a:gd name="T21" fmla="*/ 2147483647 h 328"/>
                <a:gd name="T22" fmla="*/ 2147483647 w 248"/>
                <a:gd name="T23" fmla="*/ 2147483647 h 328"/>
                <a:gd name="T24" fmla="*/ 2147483647 w 248"/>
                <a:gd name="T25" fmla="*/ 2147483647 h 328"/>
                <a:gd name="T26" fmla="*/ 2147483647 w 248"/>
                <a:gd name="T27" fmla="*/ 2147483647 h 328"/>
                <a:gd name="T28" fmla="*/ 2147483647 w 248"/>
                <a:gd name="T29" fmla="*/ 2147483647 h 328"/>
                <a:gd name="T30" fmla="*/ 2147483647 w 248"/>
                <a:gd name="T31" fmla="*/ 2147483647 h 328"/>
                <a:gd name="T32" fmla="*/ 2147483647 w 248"/>
                <a:gd name="T33" fmla="*/ 2147483647 h 328"/>
                <a:gd name="T34" fmla="*/ 2147483647 w 248"/>
                <a:gd name="T35" fmla="*/ 2147483647 h 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8"/>
                <a:gd name="T55" fmla="*/ 0 h 328"/>
                <a:gd name="T56" fmla="*/ 248 w 248"/>
                <a:gd name="T57" fmla="*/ 328 h 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8" h="328">
                  <a:moveTo>
                    <a:pt x="222" y="255"/>
                  </a:moveTo>
                  <a:cubicBezTo>
                    <a:pt x="248" y="294"/>
                    <a:pt x="198" y="262"/>
                    <a:pt x="190" y="269"/>
                  </a:cubicBezTo>
                  <a:cubicBezTo>
                    <a:pt x="182" y="276"/>
                    <a:pt x="175" y="289"/>
                    <a:pt x="172" y="297"/>
                  </a:cubicBezTo>
                  <a:cubicBezTo>
                    <a:pt x="169" y="305"/>
                    <a:pt x="176" y="316"/>
                    <a:pt x="172" y="319"/>
                  </a:cubicBezTo>
                  <a:cubicBezTo>
                    <a:pt x="168" y="322"/>
                    <a:pt x="156" y="328"/>
                    <a:pt x="146" y="317"/>
                  </a:cubicBezTo>
                  <a:cubicBezTo>
                    <a:pt x="136" y="306"/>
                    <a:pt x="114" y="265"/>
                    <a:pt x="108" y="249"/>
                  </a:cubicBezTo>
                  <a:cubicBezTo>
                    <a:pt x="102" y="233"/>
                    <a:pt x="114" y="231"/>
                    <a:pt x="112" y="221"/>
                  </a:cubicBezTo>
                  <a:cubicBezTo>
                    <a:pt x="110" y="211"/>
                    <a:pt x="102" y="195"/>
                    <a:pt x="94" y="189"/>
                  </a:cubicBezTo>
                  <a:cubicBezTo>
                    <a:pt x="86" y="183"/>
                    <a:pt x="69" y="186"/>
                    <a:pt x="62" y="187"/>
                  </a:cubicBezTo>
                  <a:cubicBezTo>
                    <a:pt x="55" y="188"/>
                    <a:pt x="56" y="195"/>
                    <a:pt x="52" y="193"/>
                  </a:cubicBezTo>
                  <a:cubicBezTo>
                    <a:pt x="48" y="191"/>
                    <a:pt x="40" y="178"/>
                    <a:pt x="38" y="173"/>
                  </a:cubicBezTo>
                  <a:cubicBezTo>
                    <a:pt x="36" y="168"/>
                    <a:pt x="44" y="167"/>
                    <a:pt x="42" y="161"/>
                  </a:cubicBezTo>
                  <a:cubicBezTo>
                    <a:pt x="40" y="155"/>
                    <a:pt x="28" y="146"/>
                    <a:pt x="28" y="139"/>
                  </a:cubicBezTo>
                  <a:cubicBezTo>
                    <a:pt x="28" y="132"/>
                    <a:pt x="43" y="131"/>
                    <a:pt x="42" y="121"/>
                  </a:cubicBezTo>
                  <a:cubicBezTo>
                    <a:pt x="41" y="111"/>
                    <a:pt x="25" y="89"/>
                    <a:pt x="22" y="77"/>
                  </a:cubicBezTo>
                  <a:cubicBezTo>
                    <a:pt x="19" y="65"/>
                    <a:pt x="19" y="53"/>
                    <a:pt x="21" y="46"/>
                  </a:cubicBezTo>
                  <a:cubicBezTo>
                    <a:pt x="23" y="39"/>
                    <a:pt x="0" y="0"/>
                    <a:pt x="34" y="35"/>
                  </a:cubicBezTo>
                  <a:cubicBezTo>
                    <a:pt x="68" y="70"/>
                    <a:pt x="196" y="216"/>
                    <a:pt x="222" y="255"/>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776" name="Freeform 2066"/>
            <p:cNvSpPr>
              <a:spLocks/>
            </p:cNvSpPr>
            <p:nvPr/>
          </p:nvSpPr>
          <p:spPr bwMode="auto">
            <a:xfrm>
              <a:off x="5149850" y="3586241"/>
              <a:ext cx="142875" cy="109538"/>
            </a:xfrm>
            <a:custGeom>
              <a:avLst/>
              <a:gdLst>
                <a:gd name="T0" fmla="*/ 2147483647 w 90"/>
                <a:gd name="T1" fmla="*/ 2147483647 h 69"/>
                <a:gd name="T2" fmla="*/ 2147483647 w 90"/>
                <a:gd name="T3" fmla="*/ 2147483647 h 69"/>
                <a:gd name="T4" fmla="*/ 0 w 90"/>
                <a:gd name="T5" fmla="*/ 2147483647 h 69"/>
                <a:gd name="T6" fmla="*/ 2147483647 w 90"/>
                <a:gd name="T7" fmla="*/ 2147483647 h 69"/>
                <a:gd name="T8" fmla="*/ 2147483647 w 90"/>
                <a:gd name="T9" fmla="*/ 2147483647 h 69"/>
                <a:gd name="T10" fmla="*/ 2147483647 w 90"/>
                <a:gd name="T11" fmla="*/ 2147483647 h 69"/>
                <a:gd name="T12" fmla="*/ 2147483647 w 90"/>
                <a:gd name="T13" fmla="*/ 2147483647 h 69"/>
                <a:gd name="T14" fmla="*/ 0 60000 65536"/>
                <a:gd name="T15" fmla="*/ 0 60000 65536"/>
                <a:gd name="T16" fmla="*/ 0 60000 65536"/>
                <a:gd name="T17" fmla="*/ 0 60000 65536"/>
                <a:gd name="T18" fmla="*/ 0 60000 65536"/>
                <a:gd name="T19" fmla="*/ 0 60000 65536"/>
                <a:gd name="T20" fmla="*/ 0 60000 65536"/>
                <a:gd name="T21" fmla="*/ 0 w 90"/>
                <a:gd name="T22" fmla="*/ 0 h 69"/>
                <a:gd name="T23" fmla="*/ 90 w 90"/>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0" h="69">
                  <a:moveTo>
                    <a:pt x="80" y="2"/>
                  </a:moveTo>
                  <a:cubicBezTo>
                    <a:pt x="70" y="4"/>
                    <a:pt x="33" y="24"/>
                    <a:pt x="20" y="34"/>
                  </a:cubicBezTo>
                  <a:cubicBezTo>
                    <a:pt x="7" y="44"/>
                    <a:pt x="0" y="59"/>
                    <a:pt x="0" y="64"/>
                  </a:cubicBezTo>
                  <a:cubicBezTo>
                    <a:pt x="0" y="69"/>
                    <a:pt x="12" y="66"/>
                    <a:pt x="22" y="62"/>
                  </a:cubicBezTo>
                  <a:cubicBezTo>
                    <a:pt x="32" y="58"/>
                    <a:pt x="52" y="45"/>
                    <a:pt x="62" y="38"/>
                  </a:cubicBezTo>
                  <a:cubicBezTo>
                    <a:pt x="72" y="31"/>
                    <a:pt x="78" y="25"/>
                    <a:pt x="82" y="20"/>
                  </a:cubicBezTo>
                  <a:cubicBezTo>
                    <a:pt x="86" y="15"/>
                    <a:pt x="90" y="0"/>
                    <a:pt x="80" y="2"/>
                  </a:cubicBez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777" name="Freeform 2067"/>
            <p:cNvSpPr>
              <a:spLocks/>
            </p:cNvSpPr>
            <p:nvPr/>
          </p:nvSpPr>
          <p:spPr bwMode="auto">
            <a:xfrm>
              <a:off x="4981575" y="3525916"/>
              <a:ext cx="187325" cy="152400"/>
            </a:xfrm>
            <a:custGeom>
              <a:avLst/>
              <a:gdLst>
                <a:gd name="T0" fmla="*/ 2147483647 w 118"/>
                <a:gd name="T1" fmla="*/ 2147483647 h 96"/>
                <a:gd name="T2" fmla="*/ 0 w 118"/>
                <a:gd name="T3" fmla="*/ 0 h 96"/>
                <a:gd name="T4" fmla="*/ 2147483647 w 118"/>
                <a:gd name="T5" fmla="*/ 2147483647 h 96"/>
                <a:gd name="T6" fmla="*/ 2147483647 w 118"/>
                <a:gd name="T7" fmla="*/ 2147483647 h 96"/>
                <a:gd name="T8" fmla="*/ 2147483647 w 118"/>
                <a:gd name="T9" fmla="*/ 2147483647 h 96"/>
                <a:gd name="T10" fmla="*/ 2147483647 w 118"/>
                <a:gd name="T11" fmla="*/ 2147483647 h 96"/>
                <a:gd name="T12" fmla="*/ 2147483647 w 118"/>
                <a:gd name="T13" fmla="*/ 2147483647 h 96"/>
                <a:gd name="T14" fmla="*/ 0 60000 65536"/>
                <a:gd name="T15" fmla="*/ 0 60000 65536"/>
                <a:gd name="T16" fmla="*/ 0 60000 65536"/>
                <a:gd name="T17" fmla="*/ 0 60000 65536"/>
                <a:gd name="T18" fmla="*/ 0 60000 65536"/>
                <a:gd name="T19" fmla="*/ 0 60000 65536"/>
                <a:gd name="T20" fmla="*/ 0 60000 65536"/>
                <a:gd name="T21" fmla="*/ 0 w 118"/>
                <a:gd name="T22" fmla="*/ 0 h 96"/>
                <a:gd name="T23" fmla="*/ 118 w 118"/>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96">
                  <a:moveTo>
                    <a:pt x="84" y="96"/>
                  </a:moveTo>
                  <a:lnTo>
                    <a:pt x="0" y="0"/>
                  </a:lnTo>
                  <a:lnTo>
                    <a:pt x="50" y="20"/>
                  </a:lnTo>
                  <a:lnTo>
                    <a:pt x="118" y="64"/>
                  </a:lnTo>
                  <a:lnTo>
                    <a:pt x="100" y="76"/>
                  </a:lnTo>
                  <a:lnTo>
                    <a:pt x="80" y="78"/>
                  </a:lnTo>
                  <a:lnTo>
                    <a:pt x="84" y="96"/>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778" name="Freeform 2068"/>
            <p:cNvSpPr>
              <a:spLocks/>
            </p:cNvSpPr>
            <p:nvPr/>
          </p:nvSpPr>
          <p:spPr bwMode="auto">
            <a:xfrm>
              <a:off x="5057775" y="3532266"/>
              <a:ext cx="133350" cy="66675"/>
            </a:xfrm>
            <a:custGeom>
              <a:avLst/>
              <a:gdLst>
                <a:gd name="T0" fmla="*/ 2147483647 w 84"/>
                <a:gd name="T1" fmla="*/ 0 h 42"/>
                <a:gd name="T2" fmla="*/ 2147483647 w 84"/>
                <a:gd name="T3" fmla="*/ 2147483647 h 42"/>
                <a:gd name="T4" fmla="*/ 2147483647 w 84"/>
                <a:gd name="T5" fmla="*/ 2147483647 h 42"/>
                <a:gd name="T6" fmla="*/ 0 w 84"/>
                <a:gd name="T7" fmla="*/ 2147483647 h 42"/>
                <a:gd name="T8" fmla="*/ 2147483647 w 84"/>
                <a:gd name="T9" fmla="*/ 0 h 42"/>
                <a:gd name="T10" fmla="*/ 0 60000 65536"/>
                <a:gd name="T11" fmla="*/ 0 60000 65536"/>
                <a:gd name="T12" fmla="*/ 0 60000 65536"/>
                <a:gd name="T13" fmla="*/ 0 60000 65536"/>
                <a:gd name="T14" fmla="*/ 0 60000 65536"/>
                <a:gd name="T15" fmla="*/ 0 w 84"/>
                <a:gd name="T16" fmla="*/ 0 h 42"/>
                <a:gd name="T17" fmla="*/ 84 w 84"/>
                <a:gd name="T18" fmla="*/ 42 h 42"/>
              </a:gdLst>
              <a:ahLst/>
              <a:cxnLst>
                <a:cxn ang="T10">
                  <a:pos x="T0" y="T1"/>
                </a:cxn>
                <a:cxn ang="T11">
                  <a:pos x="T2" y="T3"/>
                </a:cxn>
                <a:cxn ang="T12">
                  <a:pos x="T4" y="T5"/>
                </a:cxn>
                <a:cxn ang="T13">
                  <a:pos x="T6" y="T7"/>
                </a:cxn>
                <a:cxn ang="T14">
                  <a:pos x="T8" y="T9"/>
                </a:cxn>
              </a:cxnLst>
              <a:rect l="T15" t="T16" r="T17" b="T18"/>
              <a:pathLst>
                <a:path w="84" h="42">
                  <a:moveTo>
                    <a:pt x="12" y="0"/>
                  </a:moveTo>
                  <a:lnTo>
                    <a:pt x="84" y="36"/>
                  </a:lnTo>
                  <a:lnTo>
                    <a:pt x="72" y="42"/>
                  </a:lnTo>
                  <a:lnTo>
                    <a:pt x="0" y="8"/>
                  </a:lnTo>
                  <a:lnTo>
                    <a:pt x="12" y="0"/>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779" name="Freeform 2069"/>
            <p:cNvSpPr>
              <a:spLocks/>
            </p:cNvSpPr>
            <p:nvPr/>
          </p:nvSpPr>
          <p:spPr bwMode="auto">
            <a:xfrm>
              <a:off x="4972050" y="3891041"/>
              <a:ext cx="63500" cy="117475"/>
            </a:xfrm>
            <a:custGeom>
              <a:avLst/>
              <a:gdLst>
                <a:gd name="T0" fmla="*/ 2147483647 w 40"/>
                <a:gd name="T1" fmla="*/ 2147483647 h 74"/>
                <a:gd name="T2" fmla="*/ 2147483647 w 40"/>
                <a:gd name="T3" fmla="*/ 0 h 74"/>
                <a:gd name="T4" fmla="*/ 0 w 40"/>
                <a:gd name="T5" fmla="*/ 2147483647 h 74"/>
                <a:gd name="T6" fmla="*/ 2147483647 w 40"/>
                <a:gd name="T7" fmla="*/ 2147483647 h 74"/>
                <a:gd name="T8" fmla="*/ 2147483647 w 40"/>
                <a:gd name="T9" fmla="*/ 2147483647 h 74"/>
                <a:gd name="T10" fmla="*/ 0 60000 65536"/>
                <a:gd name="T11" fmla="*/ 0 60000 65536"/>
                <a:gd name="T12" fmla="*/ 0 60000 65536"/>
                <a:gd name="T13" fmla="*/ 0 60000 65536"/>
                <a:gd name="T14" fmla="*/ 0 60000 65536"/>
                <a:gd name="T15" fmla="*/ 0 w 40"/>
                <a:gd name="T16" fmla="*/ 0 h 74"/>
                <a:gd name="T17" fmla="*/ 40 w 40"/>
                <a:gd name="T18" fmla="*/ 74 h 74"/>
              </a:gdLst>
              <a:ahLst/>
              <a:cxnLst>
                <a:cxn ang="T10">
                  <a:pos x="T0" y="T1"/>
                </a:cxn>
                <a:cxn ang="T11">
                  <a:pos x="T2" y="T3"/>
                </a:cxn>
                <a:cxn ang="T12">
                  <a:pos x="T4" y="T5"/>
                </a:cxn>
                <a:cxn ang="T13">
                  <a:pos x="T6" y="T7"/>
                </a:cxn>
                <a:cxn ang="T14">
                  <a:pos x="T8" y="T9"/>
                </a:cxn>
              </a:cxnLst>
              <a:rect l="T15" t="T16" r="T17" b="T18"/>
              <a:pathLst>
                <a:path w="40" h="74">
                  <a:moveTo>
                    <a:pt x="40" y="68"/>
                  </a:moveTo>
                  <a:lnTo>
                    <a:pt x="8" y="0"/>
                  </a:lnTo>
                  <a:lnTo>
                    <a:pt x="0" y="16"/>
                  </a:lnTo>
                  <a:lnTo>
                    <a:pt x="30" y="74"/>
                  </a:lnTo>
                  <a:lnTo>
                    <a:pt x="40" y="68"/>
                  </a:lnTo>
                  <a:close/>
                </a:path>
              </a:pathLst>
            </a:custGeom>
            <a:solidFill>
              <a:srgbClr val="FFFF00"/>
            </a:solidFill>
            <a:ln w="9525" cap="flat" cmpd="sng">
              <a:solidFill>
                <a:srgbClr val="FFFF00"/>
              </a:solidFill>
              <a:prstDash val="solid"/>
              <a:round/>
              <a:headEnd type="none" w="med" len="med"/>
              <a:tailEnd type="none" w="med" len="med"/>
            </a:ln>
          </p:spPr>
          <p:txBody>
            <a:bodyPr wrap="none" lIns="0" tIns="0" rIns="0" bIns="0">
              <a:spAutoFit/>
            </a:bodyPr>
            <a:lstStyle/>
            <a:p>
              <a:endParaRPr lang="de-DE"/>
            </a:p>
          </p:txBody>
        </p:sp>
        <p:sp>
          <p:nvSpPr>
            <p:cNvPr id="780" name="Freeform 2070"/>
            <p:cNvSpPr>
              <a:spLocks/>
            </p:cNvSpPr>
            <p:nvPr/>
          </p:nvSpPr>
          <p:spPr bwMode="auto">
            <a:xfrm>
              <a:off x="4470400" y="3390187"/>
              <a:ext cx="123825" cy="162717"/>
            </a:xfrm>
            <a:custGeom>
              <a:avLst/>
              <a:gdLst>
                <a:gd name="T0" fmla="*/ 679504899 w 13000"/>
                <a:gd name="T1" fmla="*/ 456713553 h 18636"/>
                <a:gd name="T2" fmla="*/ 1019220653 w 13000"/>
                <a:gd name="T3" fmla="*/ 27658747 h 18636"/>
                <a:gd name="T4" fmla="*/ 705614734 w 13000"/>
                <a:gd name="T5" fmla="*/ 641225560 h 18636"/>
                <a:gd name="T6" fmla="*/ 588007473 w 13000"/>
                <a:gd name="T7" fmla="*/ 899571810 h 18636"/>
                <a:gd name="T8" fmla="*/ 326702337 w 13000"/>
                <a:gd name="T9" fmla="*/ 890336721 h 18636"/>
                <a:gd name="T10" fmla="*/ 0 w 13000"/>
                <a:gd name="T11" fmla="*/ 705824715 h 18636"/>
                <a:gd name="T12" fmla="*/ 313606825 w 13000"/>
                <a:gd name="T13" fmla="*/ 650460640 h 18636"/>
                <a:gd name="T14" fmla="*/ 679504899 w 13000"/>
                <a:gd name="T15" fmla="*/ 456713553 h 186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000" h="18636">
                  <a:moveTo>
                    <a:pt x="8667" y="9000"/>
                  </a:moveTo>
                  <a:cubicBezTo>
                    <a:pt x="10167" y="6954"/>
                    <a:pt x="13000" y="0"/>
                    <a:pt x="13000" y="545"/>
                  </a:cubicBezTo>
                  <a:cubicBezTo>
                    <a:pt x="13000" y="1090"/>
                    <a:pt x="9917" y="9772"/>
                    <a:pt x="9000" y="12636"/>
                  </a:cubicBezTo>
                  <a:cubicBezTo>
                    <a:pt x="8083" y="15500"/>
                    <a:pt x="8333" y="16818"/>
                    <a:pt x="7500" y="17727"/>
                  </a:cubicBezTo>
                  <a:cubicBezTo>
                    <a:pt x="6667" y="18636"/>
                    <a:pt x="5333" y="18091"/>
                    <a:pt x="4167" y="17545"/>
                  </a:cubicBezTo>
                  <a:cubicBezTo>
                    <a:pt x="3000" y="17000"/>
                    <a:pt x="0" y="14636"/>
                    <a:pt x="0" y="13909"/>
                  </a:cubicBezTo>
                  <a:cubicBezTo>
                    <a:pt x="0" y="13181"/>
                    <a:pt x="2500" y="13545"/>
                    <a:pt x="4000" y="12818"/>
                  </a:cubicBezTo>
                  <a:cubicBezTo>
                    <a:pt x="5500" y="12091"/>
                    <a:pt x="7167" y="11046"/>
                    <a:pt x="8667" y="9000"/>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781" name="Freeform 2071"/>
            <p:cNvSpPr>
              <a:spLocks/>
            </p:cNvSpPr>
            <p:nvPr/>
          </p:nvSpPr>
          <p:spPr bwMode="auto">
            <a:xfrm>
              <a:off x="4543425" y="3524328"/>
              <a:ext cx="179388" cy="85725"/>
            </a:xfrm>
            <a:custGeom>
              <a:avLst/>
              <a:gdLst>
                <a:gd name="T0" fmla="*/ 0 w 113"/>
                <a:gd name="T1" fmla="*/ 2147483647 h 54"/>
                <a:gd name="T2" fmla="*/ 2147483647 w 113"/>
                <a:gd name="T3" fmla="*/ 2147483647 h 54"/>
                <a:gd name="T4" fmla="*/ 2147483647 w 113"/>
                <a:gd name="T5" fmla="*/ 2147483647 h 54"/>
                <a:gd name="T6" fmla="*/ 2147483647 w 113"/>
                <a:gd name="T7" fmla="*/ 2147483647 h 54"/>
                <a:gd name="T8" fmla="*/ 2147483647 w 113"/>
                <a:gd name="T9" fmla="*/ 0 h 54"/>
                <a:gd name="T10" fmla="*/ 0 w 113"/>
                <a:gd name="T11" fmla="*/ 2147483647 h 54"/>
                <a:gd name="T12" fmla="*/ 0 60000 65536"/>
                <a:gd name="T13" fmla="*/ 0 60000 65536"/>
                <a:gd name="T14" fmla="*/ 0 60000 65536"/>
                <a:gd name="T15" fmla="*/ 0 60000 65536"/>
                <a:gd name="T16" fmla="*/ 0 60000 65536"/>
                <a:gd name="T17" fmla="*/ 0 60000 65536"/>
                <a:gd name="T18" fmla="*/ 0 w 113"/>
                <a:gd name="T19" fmla="*/ 0 h 54"/>
                <a:gd name="T20" fmla="*/ 113 w 113"/>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113" h="54">
                  <a:moveTo>
                    <a:pt x="0" y="16"/>
                  </a:moveTo>
                  <a:lnTo>
                    <a:pt x="23" y="25"/>
                  </a:lnTo>
                  <a:lnTo>
                    <a:pt x="102" y="54"/>
                  </a:lnTo>
                  <a:lnTo>
                    <a:pt x="113" y="34"/>
                  </a:lnTo>
                  <a:lnTo>
                    <a:pt x="6" y="0"/>
                  </a:lnTo>
                  <a:lnTo>
                    <a:pt x="0" y="16"/>
                  </a:ln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782" name="Freeform 2074"/>
            <p:cNvSpPr>
              <a:spLocks/>
            </p:cNvSpPr>
            <p:nvPr/>
          </p:nvSpPr>
          <p:spPr bwMode="auto">
            <a:xfrm>
              <a:off x="4695825" y="3616403"/>
              <a:ext cx="66675" cy="71438"/>
            </a:xfrm>
            <a:custGeom>
              <a:avLst/>
              <a:gdLst>
                <a:gd name="T0" fmla="*/ 2147483647 w 42"/>
                <a:gd name="T1" fmla="*/ 0 h 45"/>
                <a:gd name="T2" fmla="*/ 2147483647 w 42"/>
                <a:gd name="T3" fmla="*/ 2147483647 h 45"/>
                <a:gd name="T4" fmla="*/ 2147483647 w 42"/>
                <a:gd name="T5" fmla="*/ 2147483647 h 45"/>
                <a:gd name="T6" fmla="*/ 2147483647 w 42"/>
                <a:gd name="T7" fmla="*/ 2147483647 h 45"/>
                <a:gd name="T8" fmla="*/ 0 w 42"/>
                <a:gd name="T9" fmla="*/ 2147483647 h 45"/>
                <a:gd name="T10" fmla="*/ 2147483647 w 42"/>
                <a:gd name="T11" fmla="*/ 0 h 45"/>
                <a:gd name="T12" fmla="*/ 0 60000 65536"/>
                <a:gd name="T13" fmla="*/ 0 60000 65536"/>
                <a:gd name="T14" fmla="*/ 0 60000 65536"/>
                <a:gd name="T15" fmla="*/ 0 60000 65536"/>
                <a:gd name="T16" fmla="*/ 0 60000 65536"/>
                <a:gd name="T17" fmla="*/ 0 60000 65536"/>
                <a:gd name="T18" fmla="*/ 0 w 42"/>
                <a:gd name="T19" fmla="*/ 0 h 45"/>
                <a:gd name="T20" fmla="*/ 42 w 42"/>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42" h="45">
                  <a:moveTo>
                    <a:pt x="2" y="0"/>
                  </a:moveTo>
                  <a:lnTo>
                    <a:pt x="42" y="24"/>
                  </a:lnTo>
                  <a:lnTo>
                    <a:pt x="29" y="45"/>
                  </a:lnTo>
                  <a:lnTo>
                    <a:pt x="18" y="42"/>
                  </a:lnTo>
                  <a:lnTo>
                    <a:pt x="0" y="27"/>
                  </a:lnTo>
                  <a:lnTo>
                    <a:pt x="2" y="0"/>
                  </a:ln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783" name="Freeform 2075"/>
            <p:cNvSpPr>
              <a:spLocks/>
            </p:cNvSpPr>
            <p:nvPr/>
          </p:nvSpPr>
          <p:spPr bwMode="auto">
            <a:xfrm>
              <a:off x="3905250" y="2381328"/>
              <a:ext cx="1444625" cy="1646238"/>
            </a:xfrm>
            <a:custGeom>
              <a:avLst/>
              <a:gdLst>
                <a:gd name="T0" fmla="*/ 2147483647 w 910"/>
                <a:gd name="T1" fmla="*/ 2147483647 h 1037"/>
                <a:gd name="T2" fmla="*/ 2147483647 w 910"/>
                <a:gd name="T3" fmla="*/ 2147483647 h 1037"/>
                <a:gd name="T4" fmla="*/ 2147483647 w 910"/>
                <a:gd name="T5" fmla="*/ 2147483647 h 1037"/>
                <a:gd name="T6" fmla="*/ 2147483647 w 910"/>
                <a:gd name="T7" fmla="*/ 2147483647 h 1037"/>
                <a:gd name="T8" fmla="*/ 2147483647 w 910"/>
                <a:gd name="T9" fmla="*/ 2147483647 h 1037"/>
                <a:gd name="T10" fmla="*/ 2147483647 w 910"/>
                <a:gd name="T11" fmla="*/ 2147483647 h 1037"/>
                <a:gd name="T12" fmla="*/ 2147483647 w 910"/>
                <a:gd name="T13" fmla="*/ 2147483647 h 1037"/>
                <a:gd name="T14" fmla="*/ 2147483647 w 910"/>
                <a:gd name="T15" fmla="*/ 2147483647 h 1037"/>
                <a:gd name="T16" fmla="*/ 2147483647 w 910"/>
                <a:gd name="T17" fmla="*/ 2147483647 h 1037"/>
                <a:gd name="T18" fmla="*/ 2147483647 w 910"/>
                <a:gd name="T19" fmla="*/ 2147483647 h 1037"/>
                <a:gd name="T20" fmla="*/ 2147483647 w 910"/>
                <a:gd name="T21" fmla="*/ 2147483647 h 1037"/>
                <a:gd name="T22" fmla="*/ 2147483647 w 910"/>
                <a:gd name="T23" fmla="*/ 2147483647 h 1037"/>
                <a:gd name="T24" fmla="*/ 2147483647 w 910"/>
                <a:gd name="T25" fmla="*/ 2147483647 h 1037"/>
                <a:gd name="T26" fmla="*/ 2147483647 w 910"/>
                <a:gd name="T27" fmla="*/ 2147483647 h 1037"/>
                <a:gd name="T28" fmla="*/ 2147483647 w 910"/>
                <a:gd name="T29" fmla="*/ 2147483647 h 1037"/>
                <a:gd name="T30" fmla="*/ 2147483647 w 910"/>
                <a:gd name="T31" fmla="*/ 2147483647 h 1037"/>
                <a:gd name="T32" fmla="*/ 2147483647 w 910"/>
                <a:gd name="T33" fmla="*/ 2147483647 h 1037"/>
                <a:gd name="T34" fmla="*/ 2147483647 w 910"/>
                <a:gd name="T35" fmla="*/ 2147483647 h 1037"/>
                <a:gd name="T36" fmla="*/ 2147483647 w 910"/>
                <a:gd name="T37" fmla="*/ 2147483647 h 1037"/>
                <a:gd name="T38" fmla="*/ 2147483647 w 910"/>
                <a:gd name="T39" fmla="*/ 2147483647 h 1037"/>
                <a:gd name="T40" fmla="*/ 2147483647 w 910"/>
                <a:gd name="T41" fmla="*/ 2147483647 h 1037"/>
                <a:gd name="T42" fmla="*/ 2147483647 w 910"/>
                <a:gd name="T43" fmla="*/ 2147483647 h 1037"/>
                <a:gd name="T44" fmla="*/ 2147483647 w 910"/>
                <a:gd name="T45" fmla="*/ 2147483647 h 1037"/>
                <a:gd name="T46" fmla="*/ 2147483647 w 910"/>
                <a:gd name="T47" fmla="*/ 2147483647 h 1037"/>
                <a:gd name="T48" fmla="*/ 2147483647 w 910"/>
                <a:gd name="T49" fmla="*/ 2147483647 h 1037"/>
                <a:gd name="T50" fmla="*/ 2147483647 w 910"/>
                <a:gd name="T51" fmla="*/ 2147483647 h 1037"/>
                <a:gd name="T52" fmla="*/ 2147483647 w 910"/>
                <a:gd name="T53" fmla="*/ 2147483647 h 1037"/>
                <a:gd name="T54" fmla="*/ 2147483647 w 910"/>
                <a:gd name="T55" fmla="*/ 2147483647 h 1037"/>
                <a:gd name="T56" fmla="*/ 2147483647 w 910"/>
                <a:gd name="T57" fmla="*/ 2147483647 h 1037"/>
                <a:gd name="T58" fmla="*/ 2147483647 w 910"/>
                <a:gd name="T59" fmla="*/ 2147483647 h 1037"/>
                <a:gd name="T60" fmla="*/ 2147483647 w 910"/>
                <a:gd name="T61" fmla="*/ 2147483647 h 1037"/>
                <a:gd name="T62" fmla="*/ 2147483647 w 910"/>
                <a:gd name="T63" fmla="*/ 2147483647 h 1037"/>
                <a:gd name="T64" fmla="*/ 2147483647 w 910"/>
                <a:gd name="T65" fmla="*/ 2147483647 h 1037"/>
                <a:gd name="T66" fmla="*/ 2147483647 w 910"/>
                <a:gd name="T67" fmla="*/ 2147483647 h 1037"/>
                <a:gd name="T68" fmla="*/ 2147483647 w 910"/>
                <a:gd name="T69" fmla="*/ 2147483647 h 1037"/>
                <a:gd name="T70" fmla="*/ 2147483647 w 910"/>
                <a:gd name="T71" fmla="*/ 2147483647 h 1037"/>
                <a:gd name="T72" fmla="*/ 2147483647 w 910"/>
                <a:gd name="T73" fmla="*/ 2147483647 h 1037"/>
                <a:gd name="T74" fmla="*/ 2147483647 w 910"/>
                <a:gd name="T75" fmla="*/ 2147483647 h 1037"/>
                <a:gd name="T76" fmla="*/ 2147483647 w 910"/>
                <a:gd name="T77" fmla="*/ 2147483647 h 1037"/>
                <a:gd name="T78" fmla="*/ 2147483647 w 910"/>
                <a:gd name="T79" fmla="*/ 2147483647 h 1037"/>
                <a:gd name="T80" fmla="*/ 2147483647 w 910"/>
                <a:gd name="T81" fmla="*/ 2147483647 h 1037"/>
                <a:gd name="T82" fmla="*/ 2147483647 w 910"/>
                <a:gd name="T83" fmla="*/ 2147483647 h 1037"/>
                <a:gd name="T84" fmla="*/ 2147483647 w 910"/>
                <a:gd name="T85" fmla="*/ 2147483647 h 1037"/>
                <a:gd name="T86" fmla="*/ 2147483647 w 910"/>
                <a:gd name="T87" fmla="*/ 2147483647 h 1037"/>
                <a:gd name="T88" fmla="*/ 2147483647 w 910"/>
                <a:gd name="T89" fmla="*/ 2147483647 h 1037"/>
                <a:gd name="T90" fmla="*/ 2147483647 w 910"/>
                <a:gd name="T91" fmla="*/ 2147483647 h 1037"/>
                <a:gd name="T92" fmla="*/ 2147483647 w 910"/>
                <a:gd name="T93" fmla="*/ 2147483647 h 1037"/>
                <a:gd name="T94" fmla="*/ 2147483647 w 910"/>
                <a:gd name="T95" fmla="*/ 2147483647 h 1037"/>
                <a:gd name="T96" fmla="*/ 2147483647 w 910"/>
                <a:gd name="T97" fmla="*/ 2147483647 h 1037"/>
                <a:gd name="T98" fmla="*/ 2147483647 w 910"/>
                <a:gd name="T99" fmla="*/ 2147483647 h 10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10"/>
                <a:gd name="T151" fmla="*/ 0 h 1037"/>
                <a:gd name="T152" fmla="*/ 910 w 910"/>
                <a:gd name="T153" fmla="*/ 1037 h 103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10" h="1037">
                  <a:moveTo>
                    <a:pt x="66" y="72"/>
                  </a:moveTo>
                  <a:cubicBezTo>
                    <a:pt x="70" y="75"/>
                    <a:pt x="82" y="83"/>
                    <a:pt x="87" y="90"/>
                  </a:cubicBezTo>
                  <a:cubicBezTo>
                    <a:pt x="92" y="97"/>
                    <a:pt x="95" y="114"/>
                    <a:pt x="98" y="114"/>
                  </a:cubicBezTo>
                  <a:cubicBezTo>
                    <a:pt x="101" y="114"/>
                    <a:pt x="107" y="98"/>
                    <a:pt x="107" y="88"/>
                  </a:cubicBezTo>
                  <a:cubicBezTo>
                    <a:pt x="107" y="78"/>
                    <a:pt x="98" y="61"/>
                    <a:pt x="99" y="51"/>
                  </a:cubicBezTo>
                  <a:cubicBezTo>
                    <a:pt x="100" y="41"/>
                    <a:pt x="109" y="38"/>
                    <a:pt x="110" y="30"/>
                  </a:cubicBezTo>
                  <a:cubicBezTo>
                    <a:pt x="111" y="22"/>
                    <a:pt x="105" y="6"/>
                    <a:pt x="107" y="3"/>
                  </a:cubicBezTo>
                  <a:cubicBezTo>
                    <a:pt x="109" y="0"/>
                    <a:pt x="118" y="9"/>
                    <a:pt x="123" y="12"/>
                  </a:cubicBezTo>
                  <a:cubicBezTo>
                    <a:pt x="128" y="15"/>
                    <a:pt x="136" y="19"/>
                    <a:pt x="138" y="24"/>
                  </a:cubicBezTo>
                  <a:cubicBezTo>
                    <a:pt x="140" y="29"/>
                    <a:pt x="139" y="38"/>
                    <a:pt x="135" y="45"/>
                  </a:cubicBezTo>
                  <a:cubicBezTo>
                    <a:pt x="131" y="52"/>
                    <a:pt x="118" y="57"/>
                    <a:pt x="117" y="64"/>
                  </a:cubicBezTo>
                  <a:cubicBezTo>
                    <a:pt x="116" y="71"/>
                    <a:pt x="121" y="88"/>
                    <a:pt x="126" y="88"/>
                  </a:cubicBezTo>
                  <a:cubicBezTo>
                    <a:pt x="131" y="88"/>
                    <a:pt x="143" y="67"/>
                    <a:pt x="150" y="67"/>
                  </a:cubicBezTo>
                  <a:cubicBezTo>
                    <a:pt x="157" y="67"/>
                    <a:pt x="162" y="76"/>
                    <a:pt x="171" y="90"/>
                  </a:cubicBezTo>
                  <a:cubicBezTo>
                    <a:pt x="180" y="104"/>
                    <a:pt x="199" y="131"/>
                    <a:pt x="203" y="151"/>
                  </a:cubicBezTo>
                  <a:cubicBezTo>
                    <a:pt x="207" y="171"/>
                    <a:pt x="190" y="182"/>
                    <a:pt x="198" y="208"/>
                  </a:cubicBezTo>
                  <a:cubicBezTo>
                    <a:pt x="206" y="234"/>
                    <a:pt x="239" y="284"/>
                    <a:pt x="248" y="307"/>
                  </a:cubicBezTo>
                  <a:cubicBezTo>
                    <a:pt x="257" y="330"/>
                    <a:pt x="244" y="334"/>
                    <a:pt x="251" y="346"/>
                  </a:cubicBezTo>
                  <a:cubicBezTo>
                    <a:pt x="258" y="358"/>
                    <a:pt x="285" y="377"/>
                    <a:pt x="290" y="378"/>
                  </a:cubicBezTo>
                  <a:cubicBezTo>
                    <a:pt x="295" y="379"/>
                    <a:pt x="281" y="361"/>
                    <a:pt x="281" y="354"/>
                  </a:cubicBezTo>
                  <a:cubicBezTo>
                    <a:pt x="281" y="347"/>
                    <a:pt x="285" y="339"/>
                    <a:pt x="290" y="334"/>
                  </a:cubicBezTo>
                  <a:cubicBezTo>
                    <a:pt x="295" y="329"/>
                    <a:pt x="299" y="323"/>
                    <a:pt x="309" y="322"/>
                  </a:cubicBezTo>
                  <a:cubicBezTo>
                    <a:pt x="319" y="321"/>
                    <a:pt x="341" y="320"/>
                    <a:pt x="351" y="328"/>
                  </a:cubicBezTo>
                  <a:cubicBezTo>
                    <a:pt x="361" y="336"/>
                    <a:pt x="368" y="361"/>
                    <a:pt x="371" y="370"/>
                  </a:cubicBezTo>
                  <a:cubicBezTo>
                    <a:pt x="374" y="379"/>
                    <a:pt x="371" y="382"/>
                    <a:pt x="368" y="385"/>
                  </a:cubicBezTo>
                  <a:cubicBezTo>
                    <a:pt x="365" y="388"/>
                    <a:pt x="357" y="394"/>
                    <a:pt x="351" y="388"/>
                  </a:cubicBezTo>
                  <a:cubicBezTo>
                    <a:pt x="345" y="382"/>
                    <a:pt x="339" y="355"/>
                    <a:pt x="333" y="349"/>
                  </a:cubicBezTo>
                  <a:cubicBezTo>
                    <a:pt x="327" y="343"/>
                    <a:pt x="318" y="347"/>
                    <a:pt x="314" y="349"/>
                  </a:cubicBezTo>
                  <a:cubicBezTo>
                    <a:pt x="310" y="351"/>
                    <a:pt x="306" y="354"/>
                    <a:pt x="309" y="361"/>
                  </a:cubicBezTo>
                  <a:cubicBezTo>
                    <a:pt x="312" y="368"/>
                    <a:pt x="321" y="375"/>
                    <a:pt x="335" y="394"/>
                  </a:cubicBezTo>
                  <a:cubicBezTo>
                    <a:pt x="349" y="413"/>
                    <a:pt x="381" y="459"/>
                    <a:pt x="395" y="478"/>
                  </a:cubicBezTo>
                  <a:cubicBezTo>
                    <a:pt x="409" y="497"/>
                    <a:pt x="412" y="500"/>
                    <a:pt x="417" y="510"/>
                  </a:cubicBezTo>
                  <a:cubicBezTo>
                    <a:pt x="422" y="520"/>
                    <a:pt x="423" y="532"/>
                    <a:pt x="426" y="539"/>
                  </a:cubicBezTo>
                  <a:lnTo>
                    <a:pt x="433" y="555"/>
                  </a:lnTo>
                  <a:lnTo>
                    <a:pt x="447" y="570"/>
                  </a:lnTo>
                  <a:lnTo>
                    <a:pt x="479" y="609"/>
                  </a:lnTo>
                  <a:lnTo>
                    <a:pt x="497" y="631"/>
                  </a:lnTo>
                  <a:lnTo>
                    <a:pt x="514" y="649"/>
                  </a:lnTo>
                  <a:cubicBezTo>
                    <a:pt x="522" y="657"/>
                    <a:pt x="541" y="667"/>
                    <a:pt x="549" y="673"/>
                  </a:cubicBezTo>
                  <a:cubicBezTo>
                    <a:pt x="557" y="679"/>
                    <a:pt x="560" y="686"/>
                    <a:pt x="564" y="685"/>
                  </a:cubicBezTo>
                  <a:lnTo>
                    <a:pt x="572" y="665"/>
                  </a:lnTo>
                  <a:lnTo>
                    <a:pt x="582" y="643"/>
                  </a:lnTo>
                  <a:lnTo>
                    <a:pt x="598" y="645"/>
                  </a:lnTo>
                  <a:lnTo>
                    <a:pt x="822" y="763"/>
                  </a:lnTo>
                  <a:lnTo>
                    <a:pt x="860" y="743"/>
                  </a:lnTo>
                  <a:lnTo>
                    <a:pt x="892" y="757"/>
                  </a:lnTo>
                  <a:lnTo>
                    <a:pt x="910" y="809"/>
                  </a:lnTo>
                  <a:lnTo>
                    <a:pt x="876" y="795"/>
                  </a:lnTo>
                  <a:lnTo>
                    <a:pt x="854" y="813"/>
                  </a:lnTo>
                  <a:lnTo>
                    <a:pt x="856" y="843"/>
                  </a:lnTo>
                  <a:lnTo>
                    <a:pt x="838" y="845"/>
                  </a:lnTo>
                  <a:lnTo>
                    <a:pt x="838" y="871"/>
                  </a:lnTo>
                  <a:lnTo>
                    <a:pt x="824" y="891"/>
                  </a:lnTo>
                  <a:lnTo>
                    <a:pt x="792" y="897"/>
                  </a:lnTo>
                  <a:lnTo>
                    <a:pt x="872" y="1001"/>
                  </a:lnTo>
                  <a:lnTo>
                    <a:pt x="770" y="1037"/>
                  </a:lnTo>
                  <a:lnTo>
                    <a:pt x="700" y="1037"/>
                  </a:lnTo>
                  <a:lnTo>
                    <a:pt x="696" y="1021"/>
                  </a:lnTo>
                  <a:cubicBezTo>
                    <a:pt x="694" y="1015"/>
                    <a:pt x="689" y="1004"/>
                    <a:pt x="686" y="999"/>
                  </a:cubicBezTo>
                  <a:cubicBezTo>
                    <a:pt x="683" y="994"/>
                    <a:pt x="680" y="993"/>
                    <a:pt x="678" y="989"/>
                  </a:cubicBezTo>
                  <a:cubicBezTo>
                    <a:pt x="676" y="985"/>
                    <a:pt x="676" y="978"/>
                    <a:pt x="672" y="973"/>
                  </a:cubicBezTo>
                  <a:cubicBezTo>
                    <a:pt x="668" y="968"/>
                    <a:pt x="660" y="964"/>
                    <a:pt x="656" y="959"/>
                  </a:cubicBezTo>
                  <a:cubicBezTo>
                    <a:pt x="652" y="954"/>
                    <a:pt x="653" y="948"/>
                    <a:pt x="650" y="943"/>
                  </a:cubicBezTo>
                  <a:lnTo>
                    <a:pt x="636" y="927"/>
                  </a:lnTo>
                  <a:lnTo>
                    <a:pt x="608" y="905"/>
                  </a:lnTo>
                  <a:cubicBezTo>
                    <a:pt x="603" y="898"/>
                    <a:pt x="604" y="890"/>
                    <a:pt x="604" y="883"/>
                  </a:cubicBezTo>
                  <a:lnTo>
                    <a:pt x="608" y="865"/>
                  </a:lnTo>
                  <a:lnTo>
                    <a:pt x="602" y="849"/>
                  </a:lnTo>
                  <a:cubicBezTo>
                    <a:pt x="600" y="843"/>
                    <a:pt x="598" y="833"/>
                    <a:pt x="594" y="830"/>
                  </a:cubicBezTo>
                  <a:cubicBezTo>
                    <a:pt x="590" y="827"/>
                    <a:pt x="580" y="832"/>
                    <a:pt x="576" y="832"/>
                  </a:cubicBezTo>
                  <a:cubicBezTo>
                    <a:pt x="571" y="832"/>
                    <a:pt x="571" y="831"/>
                    <a:pt x="567" y="830"/>
                  </a:cubicBezTo>
                  <a:lnTo>
                    <a:pt x="557" y="822"/>
                  </a:lnTo>
                  <a:cubicBezTo>
                    <a:pt x="552" y="821"/>
                    <a:pt x="545" y="822"/>
                    <a:pt x="538" y="822"/>
                  </a:cubicBezTo>
                  <a:cubicBezTo>
                    <a:pt x="531" y="823"/>
                    <a:pt x="524" y="825"/>
                    <a:pt x="515" y="824"/>
                  </a:cubicBezTo>
                  <a:lnTo>
                    <a:pt x="482" y="819"/>
                  </a:lnTo>
                  <a:cubicBezTo>
                    <a:pt x="470" y="816"/>
                    <a:pt x="455" y="809"/>
                    <a:pt x="444" y="802"/>
                  </a:cubicBezTo>
                  <a:cubicBezTo>
                    <a:pt x="434" y="796"/>
                    <a:pt x="426" y="789"/>
                    <a:pt x="416" y="779"/>
                  </a:cubicBezTo>
                  <a:cubicBezTo>
                    <a:pt x="406" y="769"/>
                    <a:pt x="393" y="754"/>
                    <a:pt x="384" y="744"/>
                  </a:cubicBezTo>
                  <a:cubicBezTo>
                    <a:pt x="375" y="733"/>
                    <a:pt x="367" y="724"/>
                    <a:pt x="362" y="718"/>
                  </a:cubicBezTo>
                  <a:cubicBezTo>
                    <a:pt x="357" y="712"/>
                    <a:pt x="356" y="714"/>
                    <a:pt x="352" y="708"/>
                  </a:cubicBezTo>
                  <a:cubicBezTo>
                    <a:pt x="348" y="702"/>
                    <a:pt x="343" y="688"/>
                    <a:pt x="340" y="682"/>
                  </a:cubicBezTo>
                  <a:lnTo>
                    <a:pt x="338" y="674"/>
                  </a:lnTo>
                  <a:lnTo>
                    <a:pt x="334" y="662"/>
                  </a:lnTo>
                  <a:cubicBezTo>
                    <a:pt x="331" y="658"/>
                    <a:pt x="328" y="655"/>
                    <a:pt x="323" y="652"/>
                  </a:cubicBezTo>
                  <a:cubicBezTo>
                    <a:pt x="317" y="649"/>
                    <a:pt x="311" y="646"/>
                    <a:pt x="301" y="645"/>
                  </a:cubicBezTo>
                  <a:lnTo>
                    <a:pt x="262" y="643"/>
                  </a:lnTo>
                  <a:cubicBezTo>
                    <a:pt x="252" y="643"/>
                    <a:pt x="246" y="645"/>
                    <a:pt x="236" y="642"/>
                  </a:cubicBezTo>
                  <a:cubicBezTo>
                    <a:pt x="225" y="640"/>
                    <a:pt x="211" y="633"/>
                    <a:pt x="201" y="629"/>
                  </a:cubicBezTo>
                  <a:lnTo>
                    <a:pt x="174" y="620"/>
                  </a:lnTo>
                  <a:lnTo>
                    <a:pt x="151" y="615"/>
                  </a:lnTo>
                  <a:lnTo>
                    <a:pt x="125" y="601"/>
                  </a:lnTo>
                  <a:lnTo>
                    <a:pt x="104" y="586"/>
                  </a:lnTo>
                  <a:lnTo>
                    <a:pt x="92" y="579"/>
                  </a:lnTo>
                  <a:lnTo>
                    <a:pt x="83" y="571"/>
                  </a:lnTo>
                  <a:lnTo>
                    <a:pt x="68" y="560"/>
                  </a:lnTo>
                  <a:cubicBezTo>
                    <a:pt x="61" y="544"/>
                    <a:pt x="65" y="548"/>
                    <a:pt x="60" y="543"/>
                  </a:cubicBezTo>
                  <a:lnTo>
                    <a:pt x="49" y="530"/>
                  </a:lnTo>
                  <a:lnTo>
                    <a:pt x="34" y="517"/>
                  </a:lnTo>
                  <a:lnTo>
                    <a:pt x="14" y="473"/>
                  </a:lnTo>
                  <a:lnTo>
                    <a:pt x="2" y="373"/>
                  </a:lnTo>
                  <a:lnTo>
                    <a:pt x="0" y="329"/>
                  </a:lnTo>
                </a:path>
              </a:pathLst>
            </a:custGeom>
            <a:noFill/>
            <a:ln w="9525" cap="flat" cmpd="sng">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84" name="Freeform 2078"/>
            <p:cNvSpPr>
              <a:spLocks/>
            </p:cNvSpPr>
            <p:nvPr/>
          </p:nvSpPr>
          <p:spPr bwMode="auto">
            <a:xfrm>
              <a:off x="4560888" y="4738766"/>
              <a:ext cx="157163" cy="84138"/>
            </a:xfrm>
            <a:custGeom>
              <a:avLst/>
              <a:gdLst>
                <a:gd name="T0" fmla="*/ 2147483647 w 434"/>
                <a:gd name="T1" fmla="*/ 2147483647 h 231"/>
                <a:gd name="T2" fmla="*/ 2147483647 w 434"/>
                <a:gd name="T3" fmla="*/ 2147483647 h 231"/>
                <a:gd name="T4" fmla="*/ 2147483647 w 434"/>
                <a:gd name="T5" fmla="*/ 2147483647 h 231"/>
                <a:gd name="T6" fmla="*/ 2147483647 w 434"/>
                <a:gd name="T7" fmla="*/ 2147483647 h 231"/>
                <a:gd name="T8" fmla="*/ 2147483647 w 434"/>
                <a:gd name="T9" fmla="*/ 0 h 231"/>
                <a:gd name="T10" fmla="*/ 2147483647 w 434"/>
                <a:gd name="T11" fmla="*/ 2147483647 h 231"/>
                <a:gd name="T12" fmla="*/ 2147483647 w 434"/>
                <a:gd name="T13" fmla="*/ 0 h 231"/>
                <a:gd name="T14" fmla="*/ 0 w 434"/>
                <a:gd name="T15" fmla="*/ 2147483647 h 231"/>
                <a:gd name="T16" fmla="*/ 2147483647 w 434"/>
                <a:gd name="T17" fmla="*/ 2147483647 h 2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4"/>
                <a:gd name="T28" fmla="*/ 0 h 231"/>
                <a:gd name="T29" fmla="*/ 434 w 434"/>
                <a:gd name="T30" fmla="*/ 231 h 2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4" h="231">
                  <a:moveTo>
                    <a:pt x="60" y="231"/>
                  </a:moveTo>
                  <a:lnTo>
                    <a:pt x="335" y="173"/>
                  </a:lnTo>
                  <a:lnTo>
                    <a:pt x="333" y="144"/>
                  </a:lnTo>
                  <a:lnTo>
                    <a:pt x="434" y="93"/>
                  </a:lnTo>
                  <a:lnTo>
                    <a:pt x="275" y="0"/>
                  </a:lnTo>
                  <a:lnTo>
                    <a:pt x="227" y="63"/>
                  </a:lnTo>
                  <a:lnTo>
                    <a:pt x="137" y="0"/>
                  </a:lnTo>
                  <a:lnTo>
                    <a:pt x="0" y="27"/>
                  </a:lnTo>
                  <a:lnTo>
                    <a:pt x="60" y="231"/>
                  </a:lnTo>
                  <a:close/>
                </a:path>
              </a:pathLst>
            </a:custGeom>
            <a:solidFill>
              <a:srgbClr val="E10033"/>
            </a:solidFill>
            <a:ln w="3175" cap="flat" cmpd="sng">
              <a:solidFill>
                <a:srgbClr val="000000"/>
              </a:solidFill>
              <a:prstDash val="solid"/>
              <a:round/>
              <a:headEnd type="none" w="med" len="med"/>
              <a:tailEnd type="none" w="med" len="med"/>
            </a:ln>
          </p:spPr>
          <p:txBody>
            <a:bodyPr wrap="none" lIns="0" tIns="0" rIns="0" bIns="0">
              <a:spAutoFit/>
            </a:bodyPr>
            <a:lstStyle/>
            <a:p>
              <a:endParaRPr lang="de-DE"/>
            </a:p>
          </p:txBody>
        </p:sp>
        <p:sp>
          <p:nvSpPr>
            <p:cNvPr id="785" name="Freeform 2079"/>
            <p:cNvSpPr>
              <a:spLocks/>
            </p:cNvSpPr>
            <p:nvPr/>
          </p:nvSpPr>
          <p:spPr bwMode="auto">
            <a:xfrm>
              <a:off x="2940050" y="1301828"/>
              <a:ext cx="57150" cy="360363"/>
            </a:xfrm>
            <a:custGeom>
              <a:avLst/>
              <a:gdLst>
                <a:gd name="T0" fmla="*/ 2147483647 w 36"/>
                <a:gd name="T1" fmla="*/ 2147483647 h 227"/>
                <a:gd name="T2" fmla="*/ 2147483647 w 36"/>
                <a:gd name="T3" fmla="*/ 2147483647 h 227"/>
                <a:gd name="T4" fmla="*/ 2147483647 w 36"/>
                <a:gd name="T5" fmla="*/ 2147483647 h 227"/>
                <a:gd name="T6" fmla="*/ 2147483647 w 36"/>
                <a:gd name="T7" fmla="*/ 2147483647 h 227"/>
                <a:gd name="T8" fmla="*/ 0 w 36"/>
                <a:gd name="T9" fmla="*/ 0 h 227"/>
                <a:gd name="T10" fmla="*/ 0 60000 65536"/>
                <a:gd name="T11" fmla="*/ 0 60000 65536"/>
                <a:gd name="T12" fmla="*/ 0 60000 65536"/>
                <a:gd name="T13" fmla="*/ 0 60000 65536"/>
                <a:gd name="T14" fmla="*/ 0 60000 65536"/>
                <a:gd name="T15" fmla="*/ 0 w 36"/>
                <a:gd name="T16" fmla="*/ 0 h 227"/>
                <a:gd name="T17" fmla="*/ 36 w 36"/>
                <a:gd name="T18" fmla="*/ 227 h 227"/>
              </a:gdLst>
              <a:ahLst/>
              <a:cxnLst>
                <a:cxn ang="T10">
                  <a:pos x="T0" y="T1"/>
                </a:cxn>
                <a:cxn ang="T11">
                  <a:pos x="T2" y="T3"/>
                </a:cxn>
                <a:cxn ang="T12">
                  <a:pos x="T4" y="T5"/>
                </a:cxn>
                <a:cxn ang="T13">
                  <a:pos x="T6" y="T7"/>
                </a:cxn>
                <a:cxn ang="T14">
                  <a:pos x="T8" y="T9"/>
                </a:cxn>
              </a:cxnLst>
              <a:rect l="T15" t="T16" r="T17" b="T18"/>
              <a:pathLst>
                <a:path w="36" h="227">
                  <a:moveTo>
                    <a:pt x="36" y="227"/>
                  </a:moveTo>
                  <a:lnTo>
                    <a:pt x="34" y="180"/>
                  </a:lnTo>
                  <a:lnTo>
                    <a:pt x="24" y="117"/>
                  </a:lnTo>
                  <a:lnTo>
                    <a:pt x="13" y="63"/>
                  </a:lnTo>
                  <a:lnTo>
                    <a:pt x="0" y="0"/>
                  </a:ln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86" name="Text Box 2080"/>
            <p:cNvSpPr txBox="1">
              <a:spLocks noChangeArrowheads="1"/>
            </p:cNvSpPr>
            <p:nvPr/>
          </p:nvSpPr>
          <p:spPr bwMode="auto">
            <a:xfrm>
              <a:off x="2882105" y="1724120"/>
              <a:ext cx="6032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buClr>
                  <a:schemeClr val="accent1"/>
                </a:buClr>
                <a:buSzPct val="105000"/>
                <a:buFont typeface="Wingdings" pitchFamily="2" charset="2"/>
                <a:buNone/>
              </a:pPr>
              <a:r>
                <a:rPr lang="de-DE" altLang="de-DE" sz="700" b="1">
                  <a:solidFill>
                    <a:srgbClr val="FFFFFF"/>
                  </a:solidFill>
                </a:rPr>
                <a:t>Tagebau</a:t>
              </a:r>
            </a:p>
            <a:p>
              <a:pPr algn="ctr">
                <a:buClr>
                  <a:schemeClr val="accent1"/>
                </a:buClr>
                <a:buSzPct val="105000"/>
                <a:buFont typeface="Wingdings" pitchFamily="2" charset="2"/>
                <a:buNone/>
              </a:pPr>
              <a:r>
                <a:rPr lang="de-DE" altLang="de-DE" sz="700" b="1">
                  <a:solidFill>
                    <a:srgbClr val="FFFFFF"/>
                  </a:solidFill>
                </a:rPr>
                <a:t>Garzweiler</a:t>
              </a:r>
            </a:p>
          </p:txBody>
        </p:sp>
        <p:sp>
          <p:nvSpPr>
            <p:cNvPr id="787" name="Freeform 2085"/>
            <p:cNvSpPr>
              <a:spLocks/>
            </p:cNvSpPr>
            <p:nvPr/>
          </p:nvSpPr>
          <p:spPr bwMode="auto">
            <a:xfrm rot="-510474">
              <a:off x="3863975" y="4068841"/>
              <a:ext cx="146050" cy="104775"/>
            </a:xfrm>
            <a:custGeom>
              <a:avLst/>
              <a:gdLst>
                <a:gd name="T0" fmla="*/ 2147483647 w 196"/>
                <a:gd name="T1" fmla="*/ 2147483647 h 138"/>
                <a:gd name="T2" fmla="*/ 2147483647 w 196"/>
                <a:gd name="T3" fmla="*/ 2147483647 h 138"/>
                <a:gd name="T4" fmla="*/ 2147483647 w 196"/>
                <a:gd name="T5" fmla="*/ 2147483647 h 138"/>
                <a:gd name="T6" fmla="*/ 2147483647 w 196"/>
                <a:gd name="T7" fmla="*/ 2147483647 h 138"/>
                <a:gd name="T8" fmla="*/ 2147483647 w 196"/>
                <a:gd name="T9" fmla="*/ 2147483647 h 138"/>
                <a:gd name="T10" fmla="*/ 2147483647 w 196"/>
                <a:gd name="T11" fmla="*/ 2147483647 h 138"/>
                <a:gd name="T12" fmla="*/ 2147483647 w 196"/>
                <a:gd name="T13" fmla="*/ 2147483647 h 138"/>
                <a:gd name="T14" fmla="*/ 2147483647 w 196"/>
                <a:gd name="T15" fmla="*/ 2147483647 h 138"/>
                <a:gd name="T16" fmla="*/ 2147483647 w 196"/>
                <a:gd name="T17" fmla="*/ 2147483647 h 1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38"/>
                <a:gd name="T29" fmla="*/ 196 w 196"/>
                <a:gd name="T30" fmla="*/ 138 h 1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38">
                  <a:moveTo>
                    <a:pt x="179" y="133"/>
                  </a:moveTo>
                  <a:cubicBezTo>
                    <a:pt x="163" y="128"/>
                    <a:pt x="109" y="90"/>
                    <a:pt x="81" y="72"/>
                  </a:cubicBezTo>
                  <a:cubicBezTo>
                    <a:pt x="53" y="54"/>
                    <a:pt x="27" y="37"/>
                    <a:pt x="14" y="26"/>
                  </a:cubicBezTo>
                  <a:cubicBezTo>
                    <a:pt x="1" y="15"/>
                    <a:pt x="0" y="9"/>
                    <a:pt x="1" y="5"/>
                  </a:cubicBezTo>
                  <a:cubicBezTo>
                    <a:pt x="2" y="1"/>
                    <a:pt x="11" y="0"/>
                    <a:pt x="19" y="3"/>
                  </a:cubicBezTo>
                  <a:cubicBezTo>
                    <a:pt x="27" y="6"/>
                    <a:pt x="31" y="9"/>
                    <a:pt x="52" y="23"/>
                  </a:cubicBezTo>
                  <a:cubicBezTo>
                    <a:pt x="73" y="37"/>
                    <a:pt x="123" y="71"/>
                    <a:pt x="144" y="85"/>
                  </a:cubicBezTo>
                  <a:cubicBezTo>
                    <a:pt x="165" y="99"/>
                    <a:pt x="171" y="98"/>
                    <a:pt x="179" y="105"/>
                  </a:cubicBezTo>
                  <a:cubicBezTo>
                    <a:pt x="187" y="112"/>
                    <a:pt x="196" y="138"/>
                    <a:pt x="179" y="133"/>
                  </a:cubicBez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788" name="Freeform 2086"/>
            <p:cNvSpPr>
              <a:spLocks/>
            </p:cNvSpPr>
            <p:nvPr/>
          </p:nvSpPr>
          <p:spPr bwMode="auto">
            <a:xfrm>
              <a:off x="4697413" y="3462416"/>
              <a:ext cx="115888" cy="169863"/>
            </a:xfrm>
            <a:custGeom>
              <a:avLst/>
              <a:gdLst>
                <a:gd name="T0" fmla="*/ 2147483647 w 73"/>
                <a:gd name="T1" fmla="*/ 0 h 107"/>
                <a:gd name="T2" fmla="*/ 2147483647 w 73"/>
                <a:gd name="T3" fmla="*/ 2147483647 h 107"/>
                <a:gd name="T4" fmla="*/ 2147483647 w 73"/>
                <a:gd name="T5" fmla="*/ 2147483647 h 107"/>
                <a:gd name="T6" fmla="*/ 2147483647 w 73"/>
                <a:gd name="T7" fmla="*/ 2147483647 h 107"/>
                <a:gd name="T8" fmla="*/ 2147483647 w 73"/>
                <a:gd name="T9" fmla="*/ 2147483647 h 107"/>
                <a:gd name="T10" fmla="*/ 0 w 73"/>
                <a:gd name="T11" fmla="*/ 2147483647 h 107"/>
                <a:gd name="T12" fmla="*/ 2147483647 w 73"/>
                <a:gd name="T13" fmla="*/ 0 h 107"/>
                <a:gd name="T14" fmla="*/ 0 60000 65536"/>
                <a:gd name="T15" fmla="*/ 0 60000 65536"/>
                <a:gd name="T16" fmla="*/ 0 60000 65536"/>
                <a:gd name="T17" fmla="*/ 0 60000 65536"/>
                <a:gd name="T18" fmla="*/ 0 60000 65536"/>
                <a:gd name="T19" fmla="*/ 0 60000 65536"/>
                <a:gd name="T20" fmla="*/ 0 60000 65536"/>
                <a:gd name="T21" fmla="*/ 0 w 73"/>
                <a:gd name="T22" fmla="*/ 0 h 107"/>
                <a:gd name="T23" fmla="*/ 73 w 73"/>
                <a:gd name="T24" fmla="*/ 107 h 1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107">
                  <a:moveTo>
                    <a:pt x="52" y="0"/>
                  </a:moveTo>
                  <a:lnTo>
                    <a:pt x="73" y="13"/>
                  </a:lnTo>
                  <a:lnTo>
                    <a:pt x="22" y="78"/>
                  </a:lnTo>
                  <a:lnTo>
                    <a:pt x="29" y="107"/>
                  </a:lnTo>
                  <a:lnTo>
                    <a:pt x="18" y="104"/>
                  </a:lnTo>
                  <a:lnTo>
                    <a:pt x="0" y="89"/>
                  </a:lnTo>
                  <a:lnTo>
                    <a:pt x="52" y="0"/>
                  </a:lnTo>
                  <a:close/>
                </a:path>
              </a:pathLst>
            </a:custGeom>
            <a:solidFill>
              <a:srgbClr val="009900"/>
            </a:solidFill>
            <a:ln w="9525" cap="flat" cmpd="sng">
              <a:solidFill>
                <a:srgbClr val="009900"/>
              </a:solidFill>
              <a:prstDash val="solid"/>
              <a:round/>
              <a:headEnd type="none" w="med" len="med"/>
              <a:tailEnd type="none" w="med" len="med"/>
            </a:ln>
          </p:spPr>
          <p:txBody>
            <a:bodyPr wrap="none" lIns="0" tIns="0" rIns="0" bIns="0">
              <a:spAutoFit/>
            </a:bodyPr>
            <a:lstStyle/>
            <a:p>
              <a:endParaRPr lang="de-DE"/>
            </a:p>
          </p:txBody>
        </p:sp>
        <p:sp>
          <p:nvSpPr>
            <p:cNvPr id="789" name="Text Box 1903"/>
            <p:cNvSpPr txBox="1">
              <a:spLocks noChangeArrowheads="1"/>
            </p:cNvSpPr>
            <p:nvPr/>
          </p:nvSpPr>
          <p:spPr bwMode="auto">
            <a:xfrm>
              <a:off x="4146550" y="2486103"/>
              <a:ext cx="323850" cy="101600"/>
            </a:xfrm>
            <a:prstGeom prst="rect">
              <a:avLst/>
            </a:prstGeom>
            <a:solidFill>
              <a:srgbClr val="FFFF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 Neurath </a:t>
              </a:r>
            </a:p>
          </p:txBody>
        </p:sp>
        <p:sp>
          <p:nvSpPr>
            <p:cNvPr id="790" name="Freeform 2090"/>
            <p:cNvSpPr>
              <a:spLocks/>
            </p:cNvSpPr>
            <p:nvPr/>
          </p:nvSpPr>
          <p:spPr bwMode="auto">
            <a:xfrm>
              <a:off x="3784600" y="3695778"/>
              <a:ext cx="415925" cy="201613"/>
            </a:xfrm>
            <a:custGeom>
              <a:avLst/>
              <a:gdLst>
                <a:gd name="T0" fmla="*/ 2147483647 w 262"/>
                <a:gd name="T1" fmla="*/ 0 h 127"/>
                <a:gd name="T2" fmla="*/ 2147483647 w 262"/>
                <a:gd name="T3" fmla="*/ 2147483647 h 127"/>
                <a:gd name="T4" fmla="*/ 2147483647 w 262"/>
                <a:gd name="T5" fmla="*/ 2147483647 h 127"/>
                <a:gd name="T6" fmla="*/ 2147483647 w 262"/>
                <a:gd name="T7" fmla="*/ 2147483647 h 127"/>
                <a:gd name="T8" fmla="*/ 2147483647 w 262"/>
                <a:gd name="T9" fmla="*/ 2147483647 h 127"/>
                <a:gd name="T10" fmla="*/ 0 w 262"/>
                <a:gd name="T11" fmla="*/ 2147483647 h 127"/>
                <a:gd name="T12" fmla="*/ 0 60000 65536"/>
                <a:gd name="T13" fmla="*/ 0 60000 65536"/>
                <a:gd name="T14" fmla="*/ 0 60000 65536"/>
                <a:gd name="T15" fmla="*/ 0 60000 65536"/>
                <a:gd name="T16" fmla="*/ 0 60000 65536"/>
                <a:gd name="T17" fmla="*/ 0 60000 65536"/>
                <a:gd name="T18" fmla="*/ 0 w 262"/>
                <a:gd name="T19" fmla="*/ 0 h 127"/>
                <a:gd name="T20" fmla="*/ 262 w 262"/>
                <a:gd name="T21" fmla="*/ 127 h 127"/>
              </a:gdLst>
              <a:ahLst/>
              <a:cxnLst>
                <a:cxn ang="T12">
                  <a:pos x="T0" y="T1"/>
                </a:cxn>
                <a:cxn ang="T13">
                  <a:pos x="T2" y="T3"/>
                </a:cxn>
                <a:cxn ang="T14">
                  <a:pos x="T4" y="T5"/>
                </a:cxn>
                <a:cxn ang="T15">
                  <a:pos x="T6" y="T7"/>
                </a:cxn>
                <a:cxn ang="T16">
                  <a:pos x="T8" y="T9"/>
                </a:cxn>
                <a:cxn ang="T17">
                  <a:pos x="T10" y="T11"/>
                </a:cxn>
              </a:cxnLst>
              <a:rect l="T18" t="T19" r="T20" b="T21"/>
              <a:pathLst>
                <a:path w="262" h="127">
                  <a:moveTo>
                    <a:pt x="262" y="0"/>
                  </a:moveTo>
                  <a:lnTo>
                    <a:pt x="208" y="25"/>
                  </a:lnTo>
                  <a:lnTo>
                    <a:pt x="139" y="63"/>
                  </a:lnTo>
                  <a:lnTo>
                    <a:pt x="84" y="93"/>
                  </a:lnTo>
                  <a:lnTo>
                    <a:pt x="46" y="115"/>
                  </a:lnTo>
                  <a:lnTo>
                    <a:pt x="0" y="127"/>
                  </a:lnTo>
                </a:path>
              </a:pathLst>
            </a:custGeom>
            <a:noFill/>
            <a:ln w="9525" cap="flat" cmpd="sng">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91" name="Freihandform 790"/>
            <p:cNvSpPr/>
            <p:nvPr/>
          </p:nvSpPr>
          <p:spPr>
            <a:xfrm>
              <a:off x="1549808" y="4706417"/>
              <a:ext cx="184179" cy="257644"/>
            </a:xfrm>
            <a:custGeom>
              <a:avLst/>
              <a:gdLst>
                <a:gd name="connsiteX0" fmla="*/ 97631 w 97631"/>
                <a:gd name="connsiteY0" fmla="*/ 204788 h 204788"/>
                <a:gd name="connsiteX1" fmla="*/ 66675 w 97631"/>
                <a:gd name="connsiteY1" fmla="*/ 164306 h 204788"/>
                <a:gd name="connsiteX2" fmla="*/ 30956 w 97631"/>
                <a:gd name="connsiteY2" fmla="*/ 80963 h 204788"/>
                <a:gd name="connsiteX3" fmla="*/ 0 w 97631"/>
                <a:gd name="connsiteY3" fmla="*/ 16669 h 204788"/>
                <a:gd name="connsiteX4" fmla="*/ 11906 w 97631"/>
                <a:gd name="connsiteY4" fmla="*/ 0 h 204788"/>
                <a:gd name="connsiteX5" fmla="*/ 50006 w 97631"/>
                <a:gd name="connsiteY5" fmla="*/ 90488 h 204788"/>
                <a:gd name="connsiteX6" fmla="*/ 78581 w 97631"/>
                <a:gd name="connsiteY6" fmla="*/ 157163 h 204788"/>
                <a:gd name="connsiteX7" fmla="*/ 97631 w 97631"/>
                <a:gd name="connsiteY7" fmla="*/ 204788 h 204788"/>
                <a:gd name="connsiteX0" fmla="*/ 97631 w 116681"/>
                <a:gd name="connsiteY0" fmla="*/ 204788 h 207170"/>
                <a:gd name="connsiteX1" fmla="*/ 66675 w 116681"/>
                <a:gd name="connsiteY1" fmla="*/ 164306 h 207170"/>
                <a:gd name="connsiteX2" fmla="*/ 30956 w 116681"/>
                <a:gd name="connsiteY2" fmla="*/ 80963 h 207170"/>
                <a:gd name="connsiteX3" fmla="*/ 0 w 116681"/>
                <a:gd name="connsiteY3" fmla="*/ 16669 h 207170"/>
                <a:gd name="connsiteX4" fmla="*/ 11906 w 116681"/>
                <a:gd name="connsiteY4" fmla="*/ 0 h 207170"/>
                <a:gd name="connsiteX5" fmla="*/ 50006 w 116681"/>
                <a:gd name="connsiteY5" fmla="*/ 90488 h 207170"/>
                <a:gd name="connsiteX6" fmla="*/ 116681 w 116681"/>
                <a:gd name="connsiteY6" fmla="*/ 207170 h 207170"/>
                <a:gd name="connsiteX7" fmla="*/ 97631 w 116681"/>
                <a:gd name="connsiteY7" fmla="*/ 204788 h 207170"/>
                <a:gd name="connsiteX0" fmla="*/ 97631 w 104775"/>
                <a:gd name="connsiteY0" fmla="*/ 204788 h 204788"/>
                <a:gd name="connsiteX1" fmla="*/ 66675 w 104775"/>
                <a:gd name="connsiteY1" fmla="*/ 164306 h 204788"/>
                <a:gd name="connsiteX2" fmla="*/ 30956 w 104775"/>
                <a:gd name="connsiteY2" fmla="*/ 80963 h 204788"/>
                <a:gd name="connsiteX3" fmla="*/ 0 w 104775"/>
                <a:gd name="connsiteY3" fmla="*/ 16669 h 204788"/>
                <a:gd name="connsiteX4" fmla="*/ 11906 w 104775"/>
                <a:gd name="connsiteY4" fmla="*/ 0 h 204788"/>
                <a:gd name="connsiteX5" fmla="*/ 50006 w 104775"/>
                <a:gd name="connsiteY5" fmla="*/ 90488 h 204788"/>
                <a:gd name="connsiteX6" fmla="*/ 104775 w 104775"/>
                <a:gd name="connsiteY6" fmla="*/ 192883 h 204788"/>
                <a:gd name="connsiteX7" fmla="*/ 97631 w 104775"/>
                <a:gd name="connsiteY7" fmla="*/ 204788 h 204788"/>
                <a:gd name="connsiteX0" fmla="*/ 97631 w 104775"/>
                <a:gd name="connsiteY0" fmla="*/ 204788 h 204788"/>
                <a:gd name="connsiteX1" fmla="*/ 66675 w 104775"/>
                <a:gd name="connsiteY1" fmla="*/ 164306 h 204788"/>
                <a:gd name="connsiteX2" fmla="*/ 30956 w 104775"/>
                <a:gd name="connsiteY2" fmla="*/ 80963 h 204788"/>
                <a:gd name="connsiteX3" fmla="*/ 0 w 104775"/>
                <a:gd name="connsiteY3" fmla="*/ 16669 h 204788"/>
                <a:gd name="connsiteX4" fmla="*/ 11906 w 104775"/>
                <a:gd name="connsiteY4" fmla="*/ 0 h 204788"/>
                <a:gd name="connsiteX5" fmla="*/ 50006 w 104775"/>
                <a:gd name="connsiteY5" fmla="*/ 90488 h 204788"/>
                <a:gd name="connsiteX6" fmla="*/ 104775 w 104775"/>
                <a:gd name="connsiteY6" fmla="*/ 192883 h 204788"/>
                <a:gd name="connsiteX7" fmla="*/ 97631 w 104775"/>
                <a:gd name="connsiteY7" fmla="*/ 204788 h 204788"/>
                <a:gd name="connsiteX0" fmla="*/ 97631 w 104775"/>
                <a:gd name="connsiteY0" fmla="*/ 204788 h 204788"/>
                <a:gd name="connsiteX1" fmla="*/ 66675 w 104775"/>
                <a:gd name="connsiteY1" fmla="*/ 164306 h 204788"/>
                <a:gd name="connsiteX2" fmla="*/ 19050 w 104775"/>
                <a:gd name="connsiteY2" fmla="*/ 78581 h 204788"/>
                <a:gd name="connsiteX3" fmla="*/ 0 w 104775"/>
                <a:gd name="connsiteY3" fmla="*/ 16669 h 204788"/>
                <a:gd name="connsiteX4" fmla="*/ 11906 w 104775"/>
                <a:gd name="connsiteY4" fmla="*/ 0 h 204788"/>
                <a:gd name="connsiteX5" fmla="*/ 50006 w 104775"/>
                <a:gd name="connsiteY5" fmla="*/ 90488 h 204788"/>
                <a:gd name="connsiteX6" fmla="*/ 104775 w 104775"/>
                <a:gd name="connsiteY6" fmla="*/ 192883 h 204788"/>
                <a:gd name="connsiteX7" fmla="*/ 97631 w 104775"/>
                <a:gd name="connsiteY7" fmla="*/ 204788 h 204788"/>
                <a:gd name="connsiteX0" fmla="*/ 97631 w 104775"/>
                <a:gd name="connsiteY0" fmla="*/ 204788 h 204788"/>
                <a:gd name="connsiteX1" fmla="*/ 66675 w 104775"/>
                <a:gd name="connsiteY1" fmla="*/ 164306 h 204788"/>
                <a:gd name="connsiteX2" fmla="*/ 19050 w 104775"/>
                <a:gd name="connsiteY2" fmla="*/ 78581 h 204788"/>
                <a:gd name="connsiteX3" fmla="*/ 0 w 104775"/>
                <a:gd name="connsiteY3" fmla="*/ 16669 h 204788"/>
                <a:gd name="connsiteX4" fmla="*/ 11906 w 104775"/>
                <a:gd name="connsiteY4" fmla="*/ 0 h 204788"/>
                <a:gd name="connsiteX5" fmla="*/ 38100 w 104775"/>
                <a:gd name="connsiteY5" fmla="*/ 92869 h 204788"/>
                <a:gd name="connsiteX6" fmla="*/ 104775 w 104775"/>
                <a:gd name="connsiteY6" fmla="*/ 192883 h 204788"/>
                <a:gd name="connsiteX7" fmla="*/ 97631 w 104775"/>
                <a:gd name="connsiteY7" fmla="*/ 204788 h 204788"/>
                <a:gd name="connsiteX0" fmla="*/ 97631 w 104775"/>
                <a:gd name="connsiteY0" fmla="*/ 188119 h 188119"/>
                <a:gd name="connsiteX1" fmla="*/ 66675 w 104775"/>
                <a:gd name="connsiteY1" fmla="*/ 147637 h 188119"/>
                <a:gd name="connsiteX2" fmla="*/ 19050 w 104775"/>
                <a:gd name="connsiteY2" fmla="*/ 61912 h 188119"/>
                <a:gd name="connsiteX3" fmla="*/ 0 w 104775"/>
                <a:gd name="connsiteY3" fmla="*/ 0 h 188119"/>
                <a:gd name="connsiteX4" fmla="*/ 4762 w 104775"/>
                <a:gd name="connsiteY4" fmla="*/ 0 h 188119"/>
                <a:gd name="connsiteX5" fmla="*/ 38100 w 104775"/>
                <a:gd name="connsiteY5" fmla="*/ 76200 h 188119"/>
                <a:gd name="connsiteX6" fmla="*/ 104775 w 104775"/>
                <a:gd name="connsiteY6" fmla="*/ 176214 h 188119"/>
                <a:gd name="connsiteX7" fmla="*/ 97631 w 104775"/>
                <a:gd name="connsiteY7" fmla="*/ 188119 h 188119"/>
                <a:gd name="connsiteX0" fmla="*/ 97631 w 151606"/>
                <a:gd name="connsiteY0" fmla="*/ 188119 h 188119"/>
                <a:gd name="connsiteX1" fmla="*/ 66675 w 151606"/>
                <a:gd name="connsiteY1" fmla="*/ 147637 h 188119"/>
                <a:gd name="connsiteX2" fmla="*/ 19050 w 151606"/>
                <a:gd name="connsiteY2" fmla="*/ 61912 h 188119"/>
                <a:gd name="connsiteX3" fmla="*/ 0 w 151606"/>
                <a:gd name="connsiteY3" fmla="*/ 0 h 188119"/>
                <a:gd name="connsiteX4" fmla="*/ 4762 w 151606"/>
                <a:gd name="connsiteY4" fmla="*/ 0 h 188119"/>
                <a:gd name="connsiteX5" fmla="*/ 133350 w 151606"/>
                <a:gd name="connsiteY5" fmla="*/ 145257 h 188119"/>
                <a:gd name="connsiteX6" fmla="*/ 104775 w 151606"/>
                <a:gd name="connsiteY6" fmla="*/ 176214 h 188119"/>
                <a:gd name="connsiteX7" fmla="*/ 97631 w 151606"/>
                <a:gd name="connsiteY7" fmla="*/ 188119 h 188119"/>
                <a:gd name="connsiteX0" fmla="*/ 97631 w 151606"/>
                <a:gd name="connsiteY0" fmla="*/ 188119 h 188119"/>
                <a:gd name="connsiteX1" fmla="*/ 66675 w 151606"/>
                <a:gd name="connsiteY1" fmla="*/ 147637 h 188119"/>
                <a:gd name="connsiteX2" fmla="*/ 19050 w 151606"/>
                <a:gd name="connsiteY2" fmla="*/ 61912 h 188119"/>
                <a:gd name="connsiteX3" fmla="*/ 0 w 151606"/>
                <a:gd name="connsiteY3" fmla="*/ 0 h 188119"/>
                <a:gd name="connsiteX4" fmla="*/ 4762 w 151606"/>
                <a:gd name="connsiteY4" fmla="*/ 0 h 188119"/>
                <a:gd name="connsiteX5" fmla="*/ 133350 w 151606"/>
                <a:gd name="connsiteY5" fmla="*/ 145257 h 188119"/>
                <a:gd name="connsiteX6" fmla="*/ 104775 w 151606"/>
                <a:gd name="connsiteY6" fmla="*/ 176214 h 188119"/>
                <a:gd name="connsiteX7" fmla="*/ 111918 w 151606"/>
                <a:gd name="connsiteY7" fmla="*/ 165022 h 188119"/>
                <a:gd name="connsiteX8" fmla="*/ 97631 w 151606"/>
                <a:gd name="connsiteY8" fmla="*/ 188119 h 188119"/>
                <a:gd name="connsiteX0" fmla="*/ 97631 w 151606"/>
                <a:gd name="connsiteY0" fmla="*/ 188119 h 188119"/>
                <a:gd name="connsiteX1" fmla="*/ 66675 w 151606"/>
                <a:gd name="connsiteY1" fmla="*/ 147637 h 188119"/>
                <a:gd name="connsiteX2" fmla="*/ 19050 w 151606"/>
                <a:gd name="connsiteY2" fmla="*/ 61912 h 188119"/>
                <a:gd name="connsiteX3" fmla="*/ 0 w 151606"/>
                <a:gd name="connsiteY3" fmla="*/ 0 h 188119"/>
                <a:gd name="connsiteX4" fmla="*/ 4762 w 151606"/>
                <a:gd name="connsiteY4" fmla="*/ 0 h 188119"/>
                <a:gd name="connsiteX5" fmla="*/ 133350 w 151606"/>
                <a:gd name="connsiteY5" fmla="*/ 145257 h 188119"/>
                <a:gd name="connsiteX6" fmla="*/ 104775 w 151606"/>
                <a:gd name="connsiteY6" fmla="*/ 176214 h 188119"/>
                <a:gd name="connsiteX7" fmla="*/ 140493 w 151606"/>
                <a:gd name="connsiteY7" fmla="*/ 179309 h 188119"/>
                <a:gd name="connsiteX8" fmla="*/ 97631 w 151606"/>
                <a:gd name="connsiteY8" fmla="*/ 188119 h 188119"/>
                <a:gd name="connsiteX0" fmla="*/ 97631 w 151606"/>
                <a:gd name="connsiteY0" fmla="*/ 188119 h 188119"/>
                <a:gd name="connsiteX1" fmla="*/ 66675 w 151606"/>
                <a:gd name="connsiteY1" fmla="*/ 147637 h 188119"/>
                <a:gd name="connsiteX2" fmla="*/ 19050 w 151606"/>
                <a:gd name="connsiteY2" fmla="*/ 61912 h 188119"/>
                <a:gd name="connsiteX3" fmla="*/ 0 w 151606"/>
                <a:gd name="connsiteY3" fmla="*/ 0 h 188119"/>
                <a:gd name="connsiteX4" fmla="*/ 4762 w 151606"/>
                <a:gd name="connsiteY4" fmla="*/ 0 h 188119"/>
                <a:gd name="connsiteX5" fmla="*/ 69055 w 151606"/>
                <a:gd name="connsiteY5" fmla="*/ 65009 h 188119"/>
                <a:gd name="connsiteX6" fmla="*/ 133350 w 151606"/>
                <a:gd name="connsiteY6" fmla="*/ 145257 h 188119"/>
                <a:gd name="connsiteX7" fmla="*/ 104775 w 151606"/>
                <a:gd name="connsiteY7" fmla="*/ 176214 h 188119"/>
                <a:gd name="connsiteX8" fmla="*/ 140493 w 151606"/>
                <a:gd name="connsiteY8" fmla="*/ 179309 h 188119"/>
                <a:gd name="connsiteX9" fmla="*/ 97631 w 151606"/>
                <a:gd name="connsiteY9" fmla="*/ 188119 h 188119"/>
                <a:gd name="connsiteX0" fmla="*/ 97631 w 151606"/>
                <a:gd name="connsiteY0" fmla="*/ 188119 h 188119"/>
                <a:gd name="connsiteX1" fmla="*/ 66675 w 151606"/>
                <a:gd name="connsiteY1" fmla="*/ 147637 h 188119"/>
                <a:gd name="connsiteX2" fmla="*/ 19050 w 151606"/>
                <a:gd name="connsiteY2" fmla="*/ 61912 h 188119"/>
                <a:gd name="connsiteX3" fmla="*/ 0 w 151606"/>
                <a:gd name="connsiteY3" fmla="*/ 0 h 188119"/>
                <a:gd name="connsiteX4" fmla="*/ 4762 w 151606"/>
                <a:gd name="connsiteY4" fmla="*/ 0 h 188119"/>
                <a:gd name="connsiteX5" fmla="*/ 150018 w 151606"/>
                <a:gd name="connsiteY5" fmla="*/ 112634 h 188119"/>
                <a:gd name="connsiteX6" fmla="*/ 133350 w 151606"/>
                <a:gd name="connsiteY6" fmla="*/ 145257 h 188119"/>
                <a:gd name="connsiteX7" fmla="*/ 104775 w 151606"/>
                <a:gd name="connsiteY7" fmla="*/ 176214 h 188119"/>
                <a:gd name="connsiteX8" fmla="*/ 140493 w 151606"/>
                <a:gd name="connsiteY8" fmla="*/ 179309 h 188119"/>
                <a:gd name="connsiteX9" fmla="*/ 97631 w 151606"/>
                <a:gd name="connsiteY9" fmla="*/ 188119 h 188119"/>
                <a:gd name="connsiteX0" fmla="*/ 97631 w 150018"/>
                <a:gd name="connsiteY0" fmla="*/ 188119 h 188119"/>
                <a:gd name="connsiteX1" fmla="*/ 66675 w 150018"/>
                <a:gd name="connsiteY1" fmla="*/ 147637 h 188119"/>
                <a:gd name="connsiteX2" fmla="*/ 19050 w 150018"/>
                <a:gd name="connsiteY2" fmla="*/ 61912 h 188119"/>
                <a:gd name="connsiteX3" fmla="*/ 0 w 150018"/>
                <a:gd name="connsiteY3" fmla="*/ 0 h 188119"/>
                <a:gd name="connsiteX4" fmla="*/ 4762 w 150018"/>
                <a:gd name="connsiteY4" fmla="*/ 0 h 188119"/>
                <a:gd name="connsiteX5" fmla="*/ 150018 w 150018"/>
                <a:gd name="connsiteY5" fmla="*/ 112634 h 188119"/>
                <a:gd name="connsiteX6" fmla="*/ 133350 w 150018"/>
                <a:gd name="connsiteY6" fmla="*/ 145257 h 188119"/>
                <a:gd name="connsiteX7" fmla="*/ 145255 w 150018"/>
                <a:gd name="connsiteY7" fmla="*/ 162641 h 188119"/>
                <a:gd name="connsiteX8" fmla="*/ 104775 w 150018"/>
                <a:gd name="connsiteY8" fmla="*/ 176214 h 188119"/>
                <a:gd name="connsiteX9" fmla="*/ 140493 w 150018"/>
                <a:gd name="connsiteY9" fmla="*/ 179309 h 188119"/>
                <a:gd name="connsiteX10" fmla="*/ 97631 w 150018"/>
                <a:gd name="connsiteY10" fmla="*/ 188119 h 188119"/>
                <a:gd name="connsiteX0" fmla="*/ 97631 w 150018"/>
                <a:gd name="connsiteY0" fmla="*/ 188119 h 188119"/>
                <a:gd name="connsiteX1" fmla="*/ 66675 w 150018"/>
                <a:gd name="connsiteY1" fmla="*/ 147637 h 188119"/>
                <a:gd name="connsiteX2" fmla="*/ 19050 w 150018"/>
                <a:gd name="connsiteY2" fmla="*/ 61912 h 188119"/>
                <a:gd name="connsiteX3" fmla="*/ 0 w 150018"/>
                <a:gd name="connsiteY3" fmla="*/ 0 h 188119"/>
                <a:gd name="connsiteX4" fmla="*/ 4762 w 150018"/>
                <a:gd name="connsiteY4" fmla="*/ 0 h 188119"/>
                <a:gd name="connsiteX5" fmla="*/ 150018 w 150018"/>
                <a:gd name="connsiteY5" fmla="*/ 112634 h 188119"/>
                <a:gd name="connsiteX6" fmla="*/ 145255 w 150018"/>
                <a:gd name="connsiteY6" fmla="*/ 162641 h 188119"/>
                <a:gd name="connsiteX7" fmla="*/ 104775 w 150018"/>
                <a:gd name="connsiteY7" fmla="*/ 176214 h 188119"/>
                <a:gd name="connsiteX8" fmla="*/ 140493 w 150018"/>
                <a:gd name="connsiteY8" fmla="*/ 179309 h 188119"/>
                <a:gd name="connsiteX9" fmla="*/ 97631 w 150018"/>
                <a:gd name="connsiteY9" fmla="*/ 188119 h 188119"/>
                <a:gd name="connsiteX0" fmla="*/ 97631 w 150018"/>
                <a:gd name="connsiteY0" fmla="*/ 188119 h 188119"/>
                <a:gd name="connsiteX1" fmla="*/ 66675 w 150018"/>
                <a:gd name="connsiteY1" fmla="*/ 147637 h 188119"/>
                <a:gd name="connsiteX2" fmla="*/ 19050 w 150018"/>
                <a:gd name="connsiteY2" fmla="*/ 61912 h 188119"/>
                <a:gd name="connsiteX3" fmla="*/ 0 w 150018"/>
                <a:gd name="connsiteY3" fmla="*/ 0 h 188119"/>
                <a:gd name="connsiteX4" fmla="*/ 4762 w 150018"/>
                <a:gd name="connsiteY4" fmla="*/ 0 h 188119"/>
                <a:gd name="connsiteX5" fmla="*/ 150018 w 150018"/>
                <a:gd name="connsiteY5" fmla="*/ 112634 h 188119"/>
                <a:gd name="connsiteX6" fmla="*/ 145255 w 150018"/>
                <a:gd name="connsiteY6" fmla="*/ 162641 h 188119"/>
                <a:gd name="connsiteX7" fmla="*/ 140493 w 150018"/>
                <a:gd name="connsiteY7" fmla="*/ 179309 h 188119"/>
                <a:gd name="connsiteX8" fmla="*/ 97631 w 150018"/>
                <a:gd name="connsiteY8" fmla="*/ 188119 h 188119"/>
                <a:gd name="connsiteX0" fmla="*/ 104775 w 150018"/>
                <a:gd name="connsiteY0" fmla="*/ 195263 h 195263"/>
                <a:gd name="connsiteX1" fmla="*/ 66675 w 150018"/>
                <a:gd name="connsiteY1" fmla="*/ 147637 h 195263"/>
                <a:gd name="connsiteX2" fmla="*/ 19050 w 150018"/>
                <a:gd name="connsiteY2" fmla="*/ 61912 h 195263"/>
                <a:gd name="connsiteX3" fmla="*/ 0 w 150018"/>
                <a:gd name="connsiteY3" fmla="*/ 0 h 195263"/>
                <a:gd name="connsiteX4" fmla="*/ 4762 w 150018"/>
                <a:gd name="connsiteY4" fmla="*/ 0 h 195263"/>
                <a:gd name="connsiteX5" fmla="*/ 150018 w 150018"/>
                <a:gd name="connsiteY5" fmla="*/ 112634 h 195263"/>
                <a:gd name="connsiteX6" fmla="*/ 145255 w 150018"/>
                <a:gd name="connsiteY6" fmla="*/ 162641 h 195263"/>
                <a:gd name="connsiteX7" fmla="*/ 140493 w 150018"/>
                <a:gd name="connsiteY7" fmla="*/ 179309 h 195263"/>
                <a:gd name="connsiteX8" fmla="*/ 104775 w 150018"/>
                <a:gd name="connsiteY8" fmla="*/ 195263 h 195263"/>
                <a:gd name="connsiteX0" fmla="*/ 104775 w 165099"/>
                <a:gd name="connsiteY0" fmla="*/ 195263 h 195263"/>
                <a:gd name="connsiteX1" fmla="*/ 66675 w 165099"/>
                <a:gd name="connsiteY1" fmla="*/ 147637 h 195263"/>
                <a:gd name="connsiteX2" fmla="*/ 19050 w 165099"/>
                <a:gd name="connsiteY2" fmla="*/ 61912 h 195263"/>
                <a:gd name="connsiteX3" fmla="*/ 0 w 165099"/>
                <a:gd name="connsiteY3" fmla="*/ 0 h 195263"/>
                <a:gd name="connsiteX4" fmla="*/ 4762 w 165099"/>
                <a:gd name="connsiteY4" fmla="*/ 0 h 195263"/>
                <a:gd name="connsiteX5" fmla="*/ 150018 w 165099"/>
                <a:gd name="connsiteY5" fmla="*/ 112634 h 195263"/>
                <a:gd name="connsiteX6" fmla="*/ 145255 w 165099"/>
                <a:gd name="connsiteY6" fmla="*/ 162641 h 195263"/>
                <a:gd name="connsiteX7" fmla="*/ 157162 w 165099"/>
                <a:gd name="connsiteY7" fmla="*/ 191215 h 195263"/>
                <a:gd name="connsiteX8" fmla="*/ 104775 w 165099"/>
                <a:gd name="connsiteY8" fmla="*/ 195263 h 195263"/>
                <a:gd name="connsiteX0" fmla="*/ 121444 w 165099"/>
                <a:gd name="connsiteY0" fmla="*/ 214313 h 214313"/>
                <a:gd name="connsiteX1" fmla="*/ 66675 w 165099"/>
                <a:gd name="connsiteY1" fmla="*/ 147637 h 214313"/>
                <a:gd name="connsiteX2" fmla="*/ 19050 w 165099"/>
                <a:gd name="connsiteY2" fmla="*/ 61912 h 214313"/>
                <a:gd name="connsiteX3" fmla="*/ 0 w 165099"/>
                <a:gd name="connsiteY3" fmla="*/ 0 h 214313"/>
                <a:gd name="connsiteX4" fmla="*/ 4762 w 165099"/>
                <a:gd name="connsiteY4" fmla="*/ 0 h 214313"/>
                <a:gd name="connsiteX5" fmla="*/ 150018 w 165099"/>
                <a:gd name="connsiteY5" fmla="*/ 112634 h 214313"/>
                <a:gd name="connsiteX6" fmla="*/ 145255 w 165099"/>
                <a:gd name="connsiteY6" fmla="*/ 162641 h 214313"/>
                <a:gd name="connsiteX7" fmla="*/ 157162 w 165099"/>
                <a:gd name="connsiteY7" fmla="*/ 191215 h 214313"/>
                <a:gd name="connsiteX8" fmla="*/ 121444 w 165099"/>
                <a:gd name="connsiteY8" fmla="*/ 214313 h 214313"/>
                <a:gd name="connsiteX0" fmla="*/ 116682 w 165099"/>
                <a:gd name="connsiteY0" fmla="*/ 228601 h 228601"/>
                <a:gd name="connsiteX1" fmla="*/ 66675 w 165099"/>
                <a:gd name="connsiteY1" fmla="*/ 147637 h 228601"/>
                <a:gd name="connsiteX2" fmla="*/ 19050 w 165099"/>
                <a:gd name="connsiteY2" fmla="*/ 61912 h 228601"/>
                <a:gd name="connsiteX3" fmla="*/ 0 w 165099"/>
                <a:gd name="connsiteY3" fmla="*/ 0 h 228601"/>
                <a:gd name="connsiteX4" fmla="*/ 4762 w 165099"/>
                <a:gd name="connsiteY4" fmla="*/ 0 h 228601"/>
                <a:gd name="connsiteX5" fmla="*/ 150018 w 165099"/>
                <a:gd name="connsiteY5" fmla="*/ 112634 h 228601"/>
                <a:gd name="connsiteX6" fmla="*/ 145255 w 165099"/>
                <a:gd name="connsiteY6" fmla="*/ 162641 h 228601"/>
                <a:gd name="connsiteX7" fmla="*/ 157162 w 165099"/>
                <a:gd name="connsiteY7" fmla="*/ 191215 h 228601"/>
                <a:gd name="connsiteX8" fmla="*/ 116682 w 165099"/>
                <a:gd name="connsiteY8" fmla="*/ 228601 h 228601"/>
                <a:gd name="connsiteX0" fmla="*/ 123826 w 165099"/>
                <a:gd name="connsiteY0" fmla="*/ 216695 h 216695"/>
                <a:gd name="connsiteX1" fmla="*/ 66675 w 165099"/>
                <a:gd name="connsiteY1" fmla="*/ 147637 h 216695"/>
                <a:gd name="connsiteX2" fmla="*/ 19050 w 165099"/>
                <a:gd name="connsiteY2" fmla="*/ 61912 h 216695"/>
                <a:gd name="connsiteX3" fmla="*/ 0 w 165099"/>
                <a:gd name="connsiteY3" fmla="*/ 0 h 216695"/>
                <a:gd name="connsiteX4" fmla="*/ 4762 w 165099"/>
                <a:gd name="connsiteY4" fmla="*/ 0 h 216695"/>
                <a:gd name="connsiteX5" fmla="*/ 150018 w 165099"/>
                <a:gd name="connsiteY5" fmla="*/ 112634 h 216695"/>
                <a:gd name="connsiteX6" fmla="*/ 145255 w 165099"/>
                <a:gd name="connsiteY6" fmla="*/ 162641 h 216695"/>
                <a:gd name="connsiteX7" fmla="*/ 157162 w 165099"/>
                <a:gd name="connsiteY7" fmla="*/ 191215 h 216695"/>
                <a:gd name="connsiteX8" fmla="*/ 123826 w 165099"/>
                <a:gd name="connsiteY8" fmla="*/ 216695 h 216695"/>
                <a:gd name="connsiteX0" fmla="*/ 123826 w 165099"/>
                <a:gd name="connsiteY0" fmla="*/ 216695 h 216695"/>
                <a:gd name="connsiteX1" fmla="*/ 92868 w 165099"/>
                <a:gd name="connsiteY1" fmla="*/ 184072 h 216695"/>
                <a:gd name="connsiteX2" fmla="*/ 66675 w 165099"/>
                <a:gd name="connsiteY2" fmla="*/ 147637 h 216695"/>
                <a:gd name="connsiteX3" fmla="*/ 19050 w 165099"/>
                <a:gd name="connsiteY3" fmla="*/ 61912 h 216695"/>
                <a:gd name="connsiteX4" fmla="*/ 0 w 165099"/>
                <a:gd name="connsiteY4" fmla="*/ 0 h 216695"/>
                <a:gd name="connsiteX5" fmla="*/ 4762 w 165099"/>
                <a:gd name="connsiteY5" fmla="*/ 0 h 216695"/>
                <a:gd name="connsiteX6" fmla="*/ 150018 w 165099"/>
                <a:gd name="connsiteY6" fmla="*/ 112634 h 216695"/>
                <a:gd name="connsiteX7" fmla="*/ 145255 w 165099"/>
                <a:gd name="connsiteY7" fmla="*/ 162641 h 216695"/>
                <a:gd name="connsiteX8" fmla="*/ 157162 w 165099"/>
                <a:gd name="connsiteY8" fmla="*/ 191215 h 216695"/>
                <a:gd name="connsiteX9" fmla="*/ 123826 w 165099"/>
                <a:gd name="connsiteY9" fmla="*/ 216695 h 216695"/>
                <a:gd name="connsiteX0" fmla="*/ 123826 w 181768"/>
                <a:gd name="connsiteY0" fmla="*/ 216695 h 216695"/>
                <a:gd name="connsiteX1" fmla="*/ 92868 w 181768"/>
                <a:gd name="connsiteY1" fmla="*/ 184072 h 216695"/>
                <a:gd name="connsiteX2" fmla="*/ 66675 w 181768"/>
                <a:gd name="connsiteY2" fmla="*/ 147637 h 216695"/>
                <a:gd name="connsiteX3" fmla="*/ 19050 w 181768"/>
                <a:gd name="connsiteY3" fmla="*/ 61912 h 216695"/>
                <a:gd name="connsiteX4" fmla="*/ 0 w 181768"/>
                <a:gd name="connsiteY4" fmla="*/ 0 h 216695"/>
                <a:gd name="connsiteX5" fmla="*/ 4762 w 181768"/>
                <a:gd name="connsiteY5" fmla="*/ 0 h 216695"/>
                <a:gd name="connsiteX6" fmla="*/ 150018 w 181768"/>
                <a:gd name="connsiteY6" fmla="*/ 112634 h 216695"/>
                <a:gd name="connsiteX7" fmla="*/ 145255 w 181768"/>
                <a:gd name="connsiteY7" fmla="*/ 162641 h 216695"/>
                <a:gd name="connsiteX8" fmla="*/ 173831 w 181768"/>
                <a:gd name="connsiteY8" fmla="*/ 195977 h 216695"/>
                <a:gd name="connsiteX9" fmla="*/ 123826 w 181768"/>
                <a:gd name="connsiteY9" fmla="*/ 216695 h 216695"/>
                <a:gd name="connsiteX0" fmla="*/ 123826 w 181768"/>
                <a:gd name="connsiteY0" fmla="*/ 216695 h 216695"/>
                <a:gd name="connsiteX1" fmla="*/ 92868 w 181768"/>
                <a:gd name="connsiteY1" fmla="*/ 184072 h 216695"/>
                <a:gd name="connsiteX2" fmla="*/ 66675 w 181768"/>
                <a:gd name="connsiteY2" fmla="*/ 147637 h 216695"/>
                <a:gd name="connsiteX3" fmla="*/ 19050 w 181768"/>
                <a:gd name="connsiteY3" fmla="*/ 61912 h 216695"/>
                <a:gd name="connsiteX4" fmla="*/ 0 w 181768"/>
                <a:gd name="connsiteY4" fmla="*/ 0 h 216695"/>
                <a:gd name="connsiteX5" fmla="*/ 4762 w 181768"/>
                <a:gd name="connsiteY5" fmla="*/ 0 h 216695"/>
                <a:gd name="connsiteX6" fmla="*/ 150018 w 181768"/>
                <a:gd name="connsiteY6" fmla="*/ 112634 h 216695"/>
                <a:gd name="connsiteX7" fmla="*/ 145255 w 181768"/>
                <a:gd name="connsiteY7" fmla="*/ 162641 h 216695"/>
                <a:gd name="connsiteX8" fmla="*/ 173831 w 181768"/>
                <a:gd name="connsiteY8" fmla="*/ 195977 h 216695"/>
                <a:gd name="connsiteX9" fmla="*/ 142873 w 181768"/>
                <a:gd name="connsiteY9" fmla="*/ 205503 h 216695"/>
                <a:gd name="connsiteX10" fmla="*/ 123826 w 181768"/>
                <a:gd name="connsiteY10" fmla="*/ 216695 h 216695"/>
                <a:gd name="connsiteX0" fmla="*/ 123826 w 181768"/>
                <a:gd name="connsiteY0" fmla="*/ 216695 h 216695"/>
                <a:gd name="connsiteX1" fmla="*/ 92868 w 181768"/>
                <a:gd name="connsiteY1" fmla="*/ 184072 h 216695"/>
                <a:gd name="connsiteX2" fmla="*/ 66675 w 181768"/>
                <a:gd name="connsiteY2" fmla="*/ 147637 h 216695"/>
                <a:gd name="connsiteX3" fmla="*/ 19050 w 181768"/>
                <a:gd name="connsiteY3" fmla="*/ 61912 h 216695"/>
                <a:gd name="connsiteX4" fmla="*/ 0 w 181768"/>
                <a:gd name="connsiteY4" fmla="*/ 0 h 216695"/>
                <a:gd name="connsiteX5" fmla="*/ 4762 w 181768"/>
                <a:gd name="connsiteY5" fmla="*/ 0 h 216695"/>
                <a:gd name="connsiteX6" fmla="*/ 150018 w 181768"/>
                <a:gd name="connsiteY6" fmla="*/ 112634 h 216695"/>
                <a:gd name="connsiteX7" fmla="*/ 145255 w 181768"/>
                <a:gd name="connsiteY7" fmla="*/ 162641 h 216695"/>
                <a:gd name="connsiteX8" fmla="*/ 173831 w 181768"/>
                <a:gd name="connsiteY8" fmla="*/ 195977 h 216695"/>
                <a:gd name="connsiteX9" fmla="*/ 133348 w 181768"/>
                <a:gd name="connsiteY9" fmla="*/ 200741 h 216695"/>
                <a:gd name="connsiteX10" fmla="*/ 123826 w 181768"/>
                <a:gd name="connsiteY10" fmla="*/ 216695 h 216695"/>
                <a:gd name="connsiteX0" fmla="*/ 123826 w 181768"/>
                <a:gd name="connsiteY0" fmla="*/ 216695 h 216695"/>
                <a:gd name="connsiteX1" fmla="*/ 92868 w 181768"/>
                <a:gd name="connsiteY1" fmla="*/ 184072 h 216695"/>
                <a:gd name="connsiteX2" fmla="*/ 66675 w 181768"/>
                <a:gd name="connsiteY2" fmla="*/ 147637 h 216695"/>
                <a:gd name="connsiteX3" fmla="*/ 19050 w 181768"/>
                <a:gd name="connsiteY3" fmla="*/ 61912 h 216695"/>
                <a:gd name="connsiteX4" fmla="*/ 0 w 181768"/>
                <a:gd name="connsiteY4" fmla="*/ 0 h 216695"/>
                <a:gd name="connsiteX5" fmla="*/ 4762 w 181768"/>
                <a:gd name="connsiteY5" fmla="*/ 0 h 216695"/>
                <a:gd name="connsiteX6" fmla="*/ 150018 w 181768"/>
                <a:gd name="connsiteY6" fmla="*/ 112634 h 216695"/>
                <a:gd name="connsiteX7" fmla="*/ 173830 w 181768"/>
                <a:gd name="connsiteY7" fmla="*/ 153116 h 216695"/>
                <a:gd name="connsiteX8" fmla="*/ 173831 w 181768"/>
                <a:gd name="connsiteY8" fmla="*/ 195977 h 216695"/>
                <a:gd name="connsiteX9" fmla="*/ 133348 w 181768"/>
                <a:gd name="connsiteY9" fmla="*/ 200741 h 216695"/>
                <a:gd name="connsiteX10" fmla="*/ 123826 w 181768"/>
                <a:gd name="connsiteY10" fmla="*/ 216695 h 216695"/>
                <a:gd name="connsiteX0" fmla="*/ 123826 w 181768"/>
                <a:gd name="connsiteY0" fmla="*/ 216695 h 216695"/>
                <a:gd name="connsiteX1" fmla="*/ 92868 w 181768"/>
                <a:gd name="connsiteY1" fmla="*/ 184072 h 216695"/>
                <a:gd name="connsiteX2" fmla="*/ 66675 w 181768"/>
                <a:gd name="connsiteY2" fmla="*/ 147637 h 216695"/>
                <a:gd name="connsiteX3" fmla="*/ 19050 w 181768"/>
                <a:gd name="connsiteY3" fmla="*/ 61912 h 216695"/>
                <a:gd name="connsiteX4" fmla="*/ 0 w 181768"/>
                <a:gd name="connsiteY4" fmla="*/ 0 h 216695"/>
                <a:gd name="connsiteX5" fmla="*/ 4762 w 181768"/>
                <a:gd name="connsiteY5" fmla="*/ 0 h 216695"/>
                <a:gd name="connsiteX6" fmla="*/ 138112 w 181768"/>
                <a:gd name="connsiteY6" fmla="*/ 115016 h 216695"/>
                <a:gd name="connsiteX7" fmla="*/ 173830 w 181768"/>
                <a:gd name="connsiteY7" fmla="*/ 153116 h 216695"/>
                <a:gd name="connsiteX8" fmla="*/ 173831 w 181768"/>
                <a:gd name="connsiteY8" fmla="*/ 195977 h 216695"/>
                <a:gd name="connsiteX9" fmla="*/ 133348 w 181768"/>
                <a:gd name="connsiteY9" fmla="*/ 200741 h 216695"/>
                <a:gd name="connsiteX10" fmla="*/ 123826 w 181768"/>
                <a:gd name="connsiteY10" fmla="*/ 216695 h 216695"/>
                <a:gd name="connsiteX0" fmla="*/ 123826 w 183355"/>
                <a:gd name="connsiteY0" fmla="*/ 216695 h 216695"/>
                <a:gd name="connsiteX1" fmla="*/ 92868 w 183355"/>
                <a:gd name="connsiteY1" fmla="*/ 184072 h 216695"/>
                <a:gd name="connsiteX2" fmla="*/ 66675 w 183355"/>
                <a:gd name="connsiteY2" fmla="*/ 147637 h 216695"/>
                <a:gd name="connsiteX3" fmla="*/ 19050 w 183355"/>
                <a:gd name="connsiteY3" fmla="*/ 61912 h 216695"/>
                <a:gd name="connsiteX4" fmla="*/ 0 w 183355"/>
                <a:gd name="connsiteY4" fmla="*/ 0 h 216695"/>
                <a:gd name="connsiteX5" fmla="*/ 4762 w 183355"/>
                <a:gd name="connsiteY5" fmla="*/ 0 h 216695"/>
                <a:gd name="connsiteX6" fmla="*/ 138112 w 183355"/>
                <a:gd name="connsiteY6" fmla="*/ 115016 h 216695"/>
                <a:gd name="connsiteX7" fmla="*/ 183355 w 183355"/>
                <a:gd name="connsiteY7" fmla="*/ 136448 h 216695"/>
                <a:gd name="connsiteX8" fmla="*/ 173831 w 183355"/>
                <a:gd name="connsiteY8" fmla="*/ 195977 h 216695"/>
                <a:gd name="connsiteX9" fmla="*/ 133348 w 183355"/>
                <a:gd name="connsiteY9" fmla="*/ 200741 h 216695"/>
                <a:gd name="connsiteX10" fmla="*/ 123826 w 183355"/>
                <a:gd name="connsiteY10" fmla="*/ 216695 h 216695"/>
                <a:gd name="connsiteX0" fmla="*/ 123826 w 183355"/>
                <a:gd name="connsiteY0" fmla="*/ 216695 h 216695"/>
                <a:gd name="connsiteX1" fmla="*/ 92868 w 183355"/>
                <a:gd name="connsiteY1" fmla="*/ 184072 h 216695"/>
                <a:gd name="connsiteX2" fmla="*/ 66675 w 183355"/>
                <a:gd name="connsiteY2" fmla="*/ 147637 h 216695"/>
                <a:gd name="connsiteX3" fmla="*/ 19050 w 183355"/>
                <a:gd name="connsiteY3" fmla="*/ 61912 h 216695"/>
                <a:gd name="connsiteX4" fmla="*/ 0 w 183355"/>
                <a:gd name="connsiteY4" fmla="*/ 0 h 216695"/>
                <a:gd name="connsiteX5" fmla="*/ 4762 w 183355"/>
                <a:gd name="connsiteY5" fmla="*/ 0 h 216695"/>
                <a:gd name="connsiteX6" fmla="*/ 111918 w 183355"/>
                <a:gd name="connsiteY6" fmla="*/ 81678 h 216695"/>
                <a:gd name="connsiteX7" fmla="*/ 183355 w 183355"/>
                <a:gd name="connsiteY7" fmla="*/ 136448 h 216695"/>
                <a:gd name="connsiteX8" fmla="*/ 173831 w 183355"/>
                <a:gd name="connsiteY8" fmla="*/ 195977 h 216695"/>
                <a:gd name="connsiteX9" fmla="*/ 133348 w 183355"/>
                <a:gd name="connsiteY9" fmla="*/ 200741 h 216695"/>
                <a:gd name="connsiteX10" fmla="*/ 123826 w 183355"/>
                <a:gd name="connsiteY10" fmla="*/ 216695 h 216695"/>
                <a:gd name="connsiteX0" fmla="*/ 123826 w 183355"/>
                <a:gd name="connsiteY0" fmla="*/ 216695 h 216695"/>
                <a:gd name="connsiteX1" fmla="*/ 92868 w 183355"/>
                <a:gd name="connsiteY1" fmla="*/ 184072 h 216695"/>
                <a:gd name="connsiteX2" fmla="*/ 66675 w 183355"/>
                <a:gd name="connsiteY2" fmla="*/ 147637 h 216695"/>
                <a:gd name="connsiteX3" fmla="*/ 19050 w 183355"/>
                <a:gd name="connsiteY3" fmla="*/ 61912 h 216695"/>
                <a:gd name="connsiteX4" fmla="*/ 0 w 183355"/>
                <a:gd name="connsiteY4" fmla="*/ 0 h 216695"/>
                <a:gd name="connsiteX5" fmla="*/ 4762 w 183355"/>
                <a:gd name="connsiteY5" fmla="*/ 0 h 216695"/>
                <a:gd name="connsiteX6" fmla="*/ 111918 w 183355"/>
                <a:gd name="connsiteY6" fmla="*/ 81678 h 216695"/>
                <a:gd name="connsiteX7" fmla="*/ 183355 w 183355"/>
                <a:gd name="connsiteY7" fmla="*/ 136448 h 216695"/>
                <a:gd name="connsiteX8" fmla="*/ 173831 w 183355"/>
                <a:gd name="connsiteY8" fmla="*/ 195977 h 216695"/>
                <a:gd name="connsiteX9" fmla="*/ 135730 w 183355"/>
                <a:gd name="connsiteY9" fmla="*/ 195979 h 216695"/>
                <a:gd name="connsiteX10" fmla="*/ 123826 w 183355"/>
                <a:gd name="connsiteY10" fmla="*/ 216695 h 216695"/>
                <a:gd name="connsiteX0" fmla="*/ 123826 w 183355"/>
                <a:gd name="connsiteY0" fmla="*/ 216695 h 216695"/>
                <a:gd name="connsiteX1" fmla="*/ 92868 w 183355"/>
                <a:gd name="connsiteY1" fmla="*/ 184072 h 216695"/>
                <a:gd name="connsiteX2" fmla="*/ 66675 w 183355"/>
                <a:gd name="connsiteY2" fmla="*/ 147637 h 216695"/>
                <a:gd name="connsiteX3" fmla="*/ 19050 w 183355"/>
                <a:gd name="connsiteY3" fmla="*/ 61912 h 216695"/>
                <a:gd name="connsiteX4" fmla="*/ 0 w 183355"/>
                <a:gd name="connsiteY4" fmla="*/ 0 h 216695"/>
                <a:gd name="connsiteX5" fmla="*/ 4762 w 183355"/>
                <a:gd name="connsiteY5" fmla="*/ 0 h 216695"/>
                <a:gd name="connsiteX6" fmla="*/ 111918 w 183355"/>
                <a:gd name="connsiteY6" fmla="*/ 81678 h 216695"/>
                <a:gd name="connsiteX7" fmla="*/ 147635 w 183355"/>
                <a:gd name="connsiteY7" fmla="*/ 110253 h 216695"/>
                <a:gd name="connsiteX8" fmla="*/ 183355 w 183355"/>
                <a:gd name="connsiteY8" fmla="*/ 136448 h 216695"/>
                <a:gd name="connsiteX9" fmla="*/ 173831 w 183355"/>
                <a:gd name="connsiteY9" fmla="*/ 195977 h 216695"/>
                <a:gd name="connsiteX10" fmla="*/ 135730 w 183355"/>
                <a:gd name="connsiteY10" fmla="*/ 195979 h 216695"/>
                <a:gd name="connsiteX11" fmla="*/ 123826 w 183355"/>
                <a:gd name="connsiteY11" fmla="*/ 216695 h 216695"/>
                <a:gd name="connsiteX0" fmla="*/ 123826 w 183355"/>
                <a:gd name="connsiteY0" fmla="*/ 216695 h 216695"/>
                <a:gd name="connsiteX1" fmla="*/ 92868 w 183355"/>
                <a:gd name="connsiteY1" fmla="*/ 184072 h 216695"/>
                <a:gd name="connsiteX2" fmla="*/ 66675 w 183355"/>
                <a:gd name="connsiteY2" fmla="*/ 147637 h 216695"/>
                <a:gd name="connsiteX3" fmla="*/ 19050 w 183355"/>
                <a:gd name="connsiteY3" fmla="*/ 61912 h 216695"/>
                <a:gd name="connsiteX4" fmla="*/ 0 w 183355"/>
                <a:gd name="connsiteY4" fmla="*/ 0 h 216695"/>
                <a:gd name="connsiteX5" fmla="*/ 4762 w 183355"/>
                <a:gd name="connsiteY5" fmla="*/ 0 h 216695"/>
                <a:gd name="connsiteX6" fmla="*/ 161925 w 183355"/>
                <a:gd name="connsiteY6" fmla="*/ 55485 h 216695"/>
                <a:gd name="connsiteX7" fmla="*/ 147635 w 183355"/>
                <a:gd name="connsiteY7" fmla="*/ 110253 h 216695"/>
                <a:gd name="connsiteX8" fmla="*/ 183355 w 183355"/>
                <a:gd name="connsiteY8" fmla="*/ 136448 h 216695"/>
                <a:gd name="connsiteX9" fmla="*/ 173831 w 183355"/>
                <a:gd name="connsiteY9" fmla="*/ 195977 h 216695"/>
                <a:gd name="connsiteX10" fmla="*/ 135730 w 183355"/>
                <a:gd name="connsiteY10" fmla="*/ 195979 h 216695"/>
                <a:gd name="connsiteX11" fmla="*/ 123826 w 183355"/>
                <a:gd name="connsiteY11" fmla="*/ 216695 h 216695"/>
                <a:gd name="connsiteX0" fmla="*/ 123826 w 183355"/>
                <a:gd name="connsiteY0" fmla="*/ 247651 h 247651"/>
                <a:gd name="connsiteX1" fmla="*/ 92868 w 183355"/>
                <a:gd name="connsiteY1" fmla="*/ 215028 h 247651"/>
                <a:gd name="connsiteX2" fmla="*/ 66675 w 183355"/>
                <a:gd name="connsiteY2" fmla="*/ 178593 h 247651"/>
                <a:gd name="connsiteX3" fmla="*/ 19050 w 183355"/>
                <a:gd name="connsiteY3" fmla="*/ 92868 h 247651"/>
                <a:gd name="connsiteX4" fmla="*/ 0 w 183355"/>
                <a:gd name="connsiteY4" fmla="*/ 30956 h 247651"/>
                <a:gd name="connsiteX5" fmla="*/ 30955 w 183355"/>
                <a:gd name="connsiteY5" fmla="*/ 0 h 247651"/>
                <a:gd name="connsiteX6" fmla="*/ 161925 w 183355"/>
                <a:gd name="connsiteY6" fmla="*/ 86441 h 247651"/>
                <a:gd name="connsiteX7" fmla="*/ 147635 w 183355"/>
                <a:gd name="connsiteY7" fmla="*/ 141209 h 247651"/>
                <a:gd name="connsiteX8" fmla="*/ 183355 w 183355"/>
                <a:gd name="connsiteY8" fmla="*/ 167404 h 247651"/>
                <a:gd name="connsiteX9" fmla="*/ 173831 w 183355"/>
                <a:gd name="connsiteY9" fmla="*/ 226933 h 247651"/>
                <a:gd name="connsiteX10" fmla="*/ 135730 w 183355"/>
                <a:gd name="connsiteY10" fmla="*/ 226935 h 247651"/>
                <a:gd name="connsiteX11" fmla="*/ 123826 w 183355"/>
                <a:gd name="connsiteY11" fmla="*/ 247651 h 247651"/>
                <a:gd name="connsiteX0" fmla="*/ 123826 w 183355"/>
                <a:gd name="connsiteY0" fmla="*/ 257176 h 257176"/>
                <a:gd name="connsiteX1" fmla="*/ 92868 w 183355"/>
                <a:gd name="connsiteY1" fmla="*/ 224553 h 257176"/>
                <a:gd name="connsiteX2" fmla="*/ 66675 w 183355"/>
                <a:gd name="connsiteY2" fmla="*/ 188118 h 257176"/>
                <a:gd name="connsiteX3" fmla="*/ 19050 w 183355"/>
                <a:gd name="connsiteY3" fmla="*/ 102393 h 257176"/>
                <a:gd name="connsiteX4" fmla="*/ 0 w 183355"/>
                <a:gd name="connsiteY4" fmla="*/ 40481 h 257176"/>
                <a:gd name="connsiteX5" fmla="*/ 23811 w 183355"/>
                <a:gd name="connsiteY5" fmla="*/ 0 h 257176"/>
                <a:gd name="connsiteX6" fmla="*/ 161925 w 183355"/>
                <a:gd name="connsiteY6" fmla="*/ 95966 h 257176"/>
                <a:gd name="connsiteX7" fmla="*/ 147635 w 183355"/>
                <a:gd name="connsiteY7" fmla="*/ 150734 h 257176"/>
                <a:gd name="connsiteX8" fmla="*/ 183355 w 183355"/>
                <a:gd name="connsiteY8" fmla="*/ 176929 h 257176"/>
                <a:gd name="connsiteX9" fmla="*/ 173831 w 183355"/>
                <a:gd name="connsiteY9" fmla="*/ 236458 h 257176"/>
                <a:gd name="connsiteX10" fmla="*/ 135730 w 183355"/>
                <a:gd name="connsiteY10" fmla="*/ 236460 h 257176"/>
                <a:gd name="connsiteX11" fmla="*/ 123826 w 183355"/>
                <a:gd name="connsiteY11" fmla="*/ 257176 h 25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3355" h="257176">
                  <a:moveTo>
                    <a:pt x="123826" y="257176"/>
                  </a:moveTo>
                  <a:lnTo>
                    <a:pt x="92868" y="224553"/>
                  </a:lnTo>
                  <a:lnTo>
                    <a:pt x="66675" y="188118"/>
                  </a:lnTo>
                  <a:lnTo>
                    <a:pt x="19050" y="102393"/>
                  </a:lnTo>
                  <a:lnTo>
                    <a:pt x="0" y="40481"/>
                  </a:lnTo>
                  <a:lnTo>
                    <a:pt x="23811" y="0"/>
                  </a:lnTo>
                  <a:lnTo>
                    <a:pt x="161925" y="95966"/>
                  </a:lnTo>
                  <a:lnTo>
                    <a:pt x="147635" y="150734"/>
                  </a:lnTo>
                  <a:lnTo>
                    <a:pt x="183355" y="176929"/>
                  </a:lnTo>
                  <a:cubicBezTo>
                    <a:pt x="181768" y="188041"/>
                    <a:pt x="181768" y="232212"/>
                    <a:pt x="173831" y="236458"/>
                  </a:cubicBezTo>
                  <a:lnTo>
                    <a:pt x="135730" y="236460"/>
                  </a:lnTo>
                  <a:lnTo>
                    <a:pt x="123826" y="257176"/>
                  </a:lnTo>
                  <a:close/>
                </a:path>
              </a:pathLst>
            </a:cu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792" name="Freeform 6088"/>
            <p:cNvSpPr>
              <a:spLocks/>
            </p:cNvSpPr>
            <p:nvPr/>
          </p:nvSpPr>
          <p:spPr bwMode="auto">
            <a:xfrm>
              <a:off x="1562100" y="1649491"/>
              <a:ext cx="111125" cy="106363"/>
            </a:xfrm>
            <a:custGeom>
              <a:avLst/>
              <a:gdLst>
                <a:gd name="T0" fmla="*/ 0 w 417"/>
                <a:gd name="T1" fmla="*/ 2147483647 h 389"/>
                <a:gd name="T2" fmla="*/ 2147483647 w 417"/>
                <a:gd name="T3" fmla="*/ 2147483647 h 389"/>
                <a:gd name="T4" fmla="*/ 2147483647 w 417"/>
                <a:gd name="T5" fmla="*/ 2147483647 h 389"/>
                <a:gd name="T6" fmla="*/ 2147483647 w 417"/>
                <a:gd name="T7" fmla="*/ 0 h 389"/>
                <a:gd name="T8" fmla="*/ 2147483647 w 417"/>
                <a:gd name="T9" fmla="*/ 2147483647 h 389"/>
                <a:gd name="T10" fmla="*/ 2147483647 w 417"/>
                <a:gd name="T11" fmla="*/ 2147483647 h 389"/>
                <a:gd name="T12" fmla="*/ 2147483647 w 417"/>
                <a:gd name="T13" fmla="*/ 2147483647 h 389"/>
                <a:gd name="T14" fmla="*/ 2147483647 w 417"/>
                <a:gd name="T15" fmla="*/ 2147483647 h 389"/>
                <a:gd name="T16" fmla="*/ 2147483647 w 417"/>
                <a:gd name="T17" fmla="*/ 2147483647 h 389"/>
                <a:gd name="T18" fmla="*/ 2147483647 w 417"/>
                <a:gd name="T19" fmla="*/ 2147483647 h 389"/>
                <a:gd name="T20" fmla="*/ 2147483647 w 417"/>
                <a:gd name="T21" fmla="*/ 2147483647 h 389"/>
                <a:gd name="T22" fmla="*/ 2147483647 w 417"/>
                <a:gd name="T23" fmla="*/ 2147483647 h 389"/>
                <a:gd name="T24" fmla="*/ 2147483647 w 417"/>
                <a:gd name="T25" fmla="*/ 2147483647 h 389"/>
                <a:gd name="T26" fmla="*/ 2147483647 w 417"/>
                <a:gd name="T27" fmla="*/ 2147483647 h 389"/>
                <a:gd name="T28" fmla="*/ 0 w 417"/>
                <a:gd name="T29" fmla="*/ 2147483647 h 3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7"/>
                <a:gd name="T46" fmla="*/ 0 h 389"/>
                <a:gd name="T47" fmla="*/ 417 w 417"/>
                <a:gd name="T48" fmla="*/ 389 h 3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7" h="389">
                  <a:moveTo>
                    <a:pt x="0" y="241"/>
                  </a:moveTo>
                  <a:lnTo>
                    <a:pt x="72" y="49"/>
                  </a:lnTo>
                  <a:lnTo>
                    <a:pt x="176" y="66"/>
                  </a:lnTo>
                  <a:lnTo>
                    <a:pt x="187" y="0"/>
                  </a:lnTo>
                  <a:lnTo>
                    <a:pt x="313" y="27"/>
                  </a:lnTo>
                  <a:lnTo>
                    <a:pt x="297" y="87"/>
                  </a:lnTo>
                  <a:lnTo>
                    <a:pt x="357" y="109"/>
                  </a:lnTo>
                  <a:lnTo>
                    <a:pt x="357" y="175"/>
                  </a:lnTo>
                  <a:lnTo>
                    <a:pt x="417" y="192"/>
                  </a:lnTo>
                  <a:lnTo>
                    <a:pt x="379" y="389"/>
                  </a:lnTo>
                  <a:lnTo>
                    <a:pt x="324" y="318"/>
                  </a:lnTo>
                  <a:lnTo>
                    <a:pt x="231" y="285"/>
                  </a:lnTo>
                  <a:lnTo>
                    <a:pt x="137" y="247"/>
                  </a:lnTo>
                  <a:lnTo>
                    <a:pt x="66" y="247"/>
                  </a:lnTo>
                  <a:lnTo>
                    <a:pt x="0" y="241"/>
                  </a:lnTo>
                  <a:close/>
                </a:path>
              </a:pathLst>
            </a:custGeom>
            <a:solidFill>
              <a:srgbClr val="E10033"/>
            </a:solidFill>
            <a:ln w="3175" cap="flat" cmpd="sng">
              <a:solidFill>
                <a:srgbClr val="000000"/>
              </a:solidFill>
              <a:prstDash val="solid"/>
              <a:round/>
              <a:headEnd type="none" w="med" len="med"/>
              <a:tailEnd type="none" w="med" len="med"/>
            </a:ln>
          </p:spPr>
          <p:txBody>
            <a:bodyPr lIns="0" tIns="0" rIns="0" bIns="0">
              <a:spAutoFit/>
            </a:bodyPr>
            <a:lstStyle/>
            <a:p>
              <a:endParaRPr lang="de-DE"/>
            </a:p>
          </p:txBody>
        </p:sp>
        <p:sp>
          <p:nvSpPr>
            <p:cNvPr id="793" name="Freeform 6089"/>
            <p:cNvSpPr>
              <a:spLocks/>
            </p:cNvSpPr>
            <p:nvPr/>
          </p:nvSpPr>
          <p:spPr bwMode="auto">
            <a:xfrm>
              <a:off x="1679575" y="2082878"/>
              <a:ext cx="93663" cy="61913"/>
            </a:xfrm>
            <a:custGeom>
              <a:avLst/>
              <a:gdLst>
                <a:gd name="T0" fmla="*/ 2147483647 w 405"/>
                <a:gd name="T1" fmla="*/ 2147483647 h 270"/>
                <a:gd name="T2" fmla="*/ 2147483647 w 405"/>
                <a:gd name="T3" fmla="*/ 2147483647 h 270"/>
                <a:gd name="T4" fmla="*/ 2147483647 w 405"/>
                <a:gd name="T5" fmla="*/ 2147483647 h 270"/>
                <a:gd name="T6" fmla="*/ 2147483647 w 405"/>
                <a:gd name="T7" fmla="*/ 2147483647 h 270"/>
                <a:gd name="T8" fmla="*/ 2147483647 w 405"/>
                <a:gd name="T9" fmla="*/ 2147483647 h 270"/>
                <a:gd name="T10" fmla="*/ 0 w 405"/>
                <a:gd name="T11" fmla="*/ 2147483647 h 270"/>
                <a:gd name="T12" fmla="*/ 2147483647 w 405"/>
                <a:gd name="T13" fmla="*/ 2147483647 h 270"/>
                <a:gd name="T14" fmla="*/ 2147483647 w 405"/>
                <a:gd name="T15" fmla="*/ 2147483647 h 270"/>
                <a:gd name="T16" fmla="*/ 2147483647 w 405"/>
                <a:gd name="T17" fmla="*/ 0 h 270"/>
                <a:gd name="T18" fmla="*/ 2147483647 w 405"/>
                <a:gd name="T19" fmla="*/ 2147483647 h 270"/>
                <a:gd name="T20" fmla="*/ 2147483647 w 405"/>
                <a:gd name="T21" fmla="*/ 2147483647 h 270"/>
                <a:gd name="T22" fmla="*/ 2147483647 w 405"/>
                <a:gd name="T23" fmla="*/ 2147483647 h 2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5"/>
                <a:gd name="T37" fmla="*/ 0 h 270"/>
                <a:gd name="T38" fmla="*/ 405 w 405"/>
                <a:gd name="T39" fmla="*/ 270 h 27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5" h="270">
                  <a:moveTo>
                    <a:pt x="396" y="264"/>
                  </a:moveTo>
                  <a:lnTo>
                    <a:pt x="156" y="270"/>
                  </a:lnTo>
                  <a:lnTo>
                    <a:pt x="153" y="171"/>
                  </a:lnTo>
                  <a:lnTo>
                    <a:pt x="60" y="171"/>
                  </a:lnTo>
                  <a:lnTo>
                    <a:pt x="12" y="165"/>
                  </a:lnTo>
                  <a:lnTo>
                    <a:pt x="0" y="141"/>
                  </a:lnTo>
                  <a:lnTo>
                    <a:pt x="57" y="129"/>
                  </a:lnTo>
                  <a:lnTo>
                    <a:pt x="138" y="3"/>
                  </a:lnTo>
                  <a:lnTo>
                    <a:pt x="339" y="0"/>
                  </a:lnTo>
                  <a:lnTo>
                    <a:pt x="339" y="78"/>
                  </a:lnTo>
                  <a:lnTo>
                    <a:pt x="405" y="87"/>
                  </a:lnTo>
                  <a:lnTo>
                    <a:pt x="396" y="264"/>
                  </a:lnTo>
                  <a:close/>
                </a:path>
              </a:pathLst>
            </a:custGeom>
            <a:solidFill>
              <a:srgbClr val="E10033"/>
            </a:solidFill>
            <a:ln w="3175" cap="flat" cmpd="sng">
              <a:solidFill>
                <a:srgbClr val="000000"/>
              </a:solidFill>
              <a:prstDash val="solid"/>
              <a:round/>
              <a:headEnd type="none" w="med" len="med"/>
              <a:tailEnd type="none" w="med" len="med"/>
            </a:ln>
          </p:spPr>
          <p:txBody>
            <a:bodyPr lIns="0" tIns="0" rIns="0" bIns="0">
              <a:spAutoFit/>
            </a:bodyPr>
            <a:lstStyle/>
            <a:p>
              <a:endParaRPr lang="de-DE"/>
            </a:p>
          </p:txBody>
        </p:sp>
        <p:sp>
          <p:nvSpPr>
            <p:cNvPr id="794" name="Freihandform 793"/>
            <p:cNvSpPr/>
            <p:nvPr/>
          </p:nvSpPr>
          <p:spPr>
            <a:xfrm>
              <a:off x="1881330" y="5149194"/>
              <a:ext cx="126092" cy="141935"/>
            </a:xfrm>
            <a:custGeom>
              <a:avLst/>
              <a:gdLst>
                <a:gd name="connsiteX0" fmla="*/ 126206 w 126206"/>
                <a:gd name="connsiteY0" fmla="*/ 92869 h 140494"/>
                <a:gd name="connsiteX1" fmla="*/ 69056 w 126206"/>
                <a:gd name="connsiteY1" fmla="*/ 126206 h 140494"/>
                <a:gd name="connsiteX2" fmla="*/ 50006 w 126206"/>
                <a:gd name="connsiteY2" fmla="*/ 119063 h 140494"/>
                <a:gd name="connsiteX3" fmla="*/ 7143 w 126206"/>
                <a:gd name="connsiteY3" fmla="*/ 140494 h 140494"/>
                <a:gd name="connsiteX4" fmla="*/ 0 w 126206"/>
                <a:gd name="connsiteY4" fmla="*/ 130969 h 140494"/>
                <a:gd name="connsiteX5" fmla="*/ 16668 w 126206"/>
                <a:gd name="connsiteY5" fmla="*/ 109538 h 140494"/>
                <a:gd name="connsiteX6" fmla="*/ 9525 w 126206"/>
                <a:gd name="connsiteY6" fmla="*/ 88106 h 140494"/>
                <a:gd name="connsiteX7" fmla="*/ 4762 w 126206"/>
                <a:gd name="connsiteY7" fmla="*/ 78581 h 140494"/>
                <a:gd name="connsiteX8" fmla="*/ 11906 w 126206"/>
                <a:gd name="connsiteY8" fmla="*/ 66675 h 140494"/>
                <a:gd name="connsiteX9" fmla="*/ 0 w 126206"/>
                <a:gd name="connsiteY9" fmla="*/ 61913 h 140494"/>
                <a:gd name="connsiteX10" fmla="*/ 7143 w 126206"/>
                <a:gd name="connsiteY10" fmla="*/ 42863 h 140494"/>
                <a:gd name="connsiteX11" fmla="*/ 30956 w 126206"/>
                <a:gd name="connsiteY11" fmla="*/ 45244 h 140494"/>
                <a:gd name="connsiteX12" fmla="*/ 52387 w 126206"/>
                <a:gd name="connsiteY12" fmla="*/ 0 h 140494"/>
                <a:gd name="connsiteX13" fmla="*/ 61912 w 126206"/>
                <a:gd name="connsiteY13" fmla="*/ 21431 h 140494"/>
                <a:gd name="connsiteX14" fmla="*/ 76200 w 126206"/>
                <a:gd name="connsiteY14" fmla="*/ 28575 h 140494"/>
                <a:gd name="connsiteX15" fmla="*/ 78581 w 126206"/>
                <a:gd name="connsiteY15" fmla="*/ 57150 h 140494"/>
                <a:gd name="connsiteX16" fmla="*/ 126206 w 126206"/>
                <a:gd name="connsiteY16" fmla="*/ 92869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06" h="140494">
                  <a:moveTo>
                    <a:pt x="126206" y="92869"/>
                  </a:moveTo>
                  <a:lnTo>
                    <a:pt x="69056" y="126206"/>
                  </a:lnTo>
                  <a:lnTo>
                    <a:pt x="50006" y="119063"/>
                  </a:lnTo>
                  <a:lnTo>
                    <a:pt x="7143" y="140494"/>
                  </a:lnTo>
                  <a:lnTo>
                    <a:pt x="0" y="130969"/>
                  </a:lnTo>
                  <a:lnTo>
                    <a:pt x="16668" y="109538"/>
                  </a:lnTo>
                  <a:lnTo>
                    <a:pt x="9525" y="88106"/>
                  </a:lnTo>
                  <a:lnTo>
                    <a:pt x="4762" y="78581"/>
                  </a:lnTo>
                  <a:lnTo>
                    <a:pt x="11906" y="66675"/>
                  </a:lnTo>
                  <a:lnTo>
                    <a:pt x="0" y="61913"/>
                  </a:lnTo>
                  <a:lnTo>
                    <a:pt x="7143" y="42863"/>
                  </a:lnTo>
                  <a:lnTo>
                    <a:pt x="30956" y="45244"/>
                  </a:lnTo>
                  <a:lnTo>
                    <a:pt x="52387" y="0"/>
                  </a:lnTo>
                  <a:lnTo>
                    <a:pt x="61912" y="21431"/>
                  </a:lnTo>
                  <a:lnTo>
                    <a:pt x="76200" y="28575"/>
                  </a:lnTo>
                  <a:lnTo>
                    <a:pt x="78581" y="57150"/>
                  </a:lnTo>
                  <a:lnTo>
                    <a:pt x="126206" y="92869"/>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795" name="Freeform 242"/>
            <p:cNvSpPr>
              <a:spLocks/>
            </p:cNvSpPr>
            <p:nvPr/>
          </p:nvSpPr>
          <p:spPr bwMode="auto">
            <a:xfrm>
              <a:off x="3013156" y="4463226"/>
              <a:ext cx="1527395" cy="671525"/>
            </a:xfrm>
            <a:custGeom>
              <a:avLst/>
              <a:gdLst>
                <a:gd name="T0" fmla="*/ 0 w 10031"/>
                <a:gd name="T1" fmla="*/ 2147483647 h 10304"/>
                <a:gd name="T2" fmla="*/ 2147483647 w 10031"/>
                <a:gd name="T3" fmla="*/ 2147483647 h 10304"/>
                <a:gd name="T4" fmla="*/ 2147483647 w 10031"/>
                <a:gd name="T5" fmla="*/ 2147483647 h 10304"/>
                <a:gd name="T6" fmla="*/ 2147483647 w 10031"/>
                <a:gd name="T7" fmla="*/ 2147483647 h 10304"/>
                <a:gd name="T8" fmla="*/ 2147483647 w 10031"/>
                <a:gd name="T9" fmla="*/ 2147483647 h 10304"/>
                <a:gd name="T10" fmla="*/ 2147483647 w 10031"/>
                <a:gd name="T11" fmla="*/ 2147483647 h 10304"/>
                <a:gd name="T12" fmla="*/ 2147483647 w 10031"/>
                <a:gd name="T13" fmla="*/ 2147483647 h 10304"/>
                <a:gd name="T14" fmla="*/ 2147483647 w 10031"/>
                <a:gd name="T15" fmla="*/ 2147483647 h 10304"/>
                <a:gd name="T16" fmla="*/ 2147483647 w 10031"/>
                <a:gd name="T17" fmla="*/ 2147483647 h 10304"/>
                <a:gd name="T18" fmla="*/ 2147483647 w 10031"/>
                <a:gd name="T19" fmla="*/ 2147483647 h 10304"/>
                <a:gd name="T20" fmla="*/ 2147483647 w 10031"/>
                <a:gd name="T21" fmla="*/ 2147483647 h 10304"/>
                <a:gd name="T22" fmla="*/ 2147483647 w 10031"/>
                <a:gd name="T23" fmla="*/ 2147483647 h 10304"/>
                <a:gd name="T24" fmla="*/ 2147483647 w 10031"/>
                <a:gd name="T25" fmla="*/ 2147483647 h 10304"/>
                <a:gd name="T26" fmla="*/ 2147483647 w 10031"/>
                <a:gd name="T27" fmla="*/ 2147483647 h 10304"/>
                <a:gd name="T28" fmla="*/ 2147483647 w 10031"/>
                <a:gd name="T29" fmla="*/ 2147483647 h 10304"/>
                <a:gd name="T30" fmla="*/ 2147483647 w 10031"/>
                <a:gd name="T31" fmla="*/ 2147483647 h 10304"/>
                <a:gd name="T32" fmla="*/ 2147483647 w 10031"/>
                <a:gd name="T33" fmla="*/ 2147483647 h 10304"/>
                <a:gd name="T34" fmla="*/ 2147483647 w 10031"/>
                <a:gd name="T35" fmla="*/ 2147483647 h 103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31" h="10304">
                  <a:moveTo>
                    <a:pt x="0" y="10180"/>
                  </a:moveTo>
                  <a:cubicBezTo>
                    <a:pt x="1" y="10173"/>
                    <a:pt x="6" y="10304"/>
                    <a:pt x="88" y="10245"/>
                  </a:cubicBezTo>
                  <a:cubicBezTo>
                    <a:pt x="169" y="10185"/>
                    <a:pt x="332" y="9989"/>
                    <a:pt x="482" y="9824"/>
                  </a:cubicBezTo>
                  <a:cubicBezTo>
                    <a:pt x="629" y="9660"/>
                    <a:pt x="805" y="9380"/>
                    <a:pt x="982" y="9263"/>
                  </a:cubicBezTo>
                  <a:cubicBezTo>
                    <a:pt x="1160" y="9143"/>
                    <a:pt x="1352" y="9011"/>
                    <a:pt x="1555" y="9110"/>
                  </a:cubicBezTo>
                  <a:cubicBezTo>
                    <a:pt x="1757" y="9210"/>
                    <a:pt x="1947" y="9722"/>
                    <a:pt x="2202" y="9864"/>
                  </a:cubicBezTo>
                  <a:cubicBezTo>
                    <a:pt x="2452" y="10004"/>
                    <a:pt x="2764" y="10142"/>
                    <a:pt x="3064" y="9947"/>
                  </a:cubicBezTo>
                  <a:lnTo>
                    <a:pt x="3993" y="8705"/>
                  </a:lnTo>
                  <a:lnTo>
                    <a:pt x="4818" y="7477"/>
                  </a:lnTo>
                  <a:lnTo>
                    <a:pt x="5684" y="6212"/>
                  </a:lnTo>
                  <a:lnTo>
                    <a:pt x="6292" y="5351"/>
                  </a:lnTo>
                  <a:lnTo>
                    <a:pt x="6804" y="4435"/>
                  </a:lnTo>
                  <a:lnTo>
                    <a:pt x="7664" y="3115"/>
                  </a:lnTo>
                  <a:cubicBezTo>
                    <a:pt x="7886" y="2695"/>
                    <a:pt x="8003" y="2404"/>
                    <a:pt x="8141" y="2085"/>
                  </a:cubicBezTo>
                  <a:cubicBezTo>
                    <a:pt x="8279" y="1766"/>
                    <a:pt x="8356" y="1463"/>
                    <a:pt x="8499" y="1203"/>
                  </a:cubicBezTo>
                  <a:cubicBezTo>
                    <a:pt x="8637" y="947"/>
                    <a:pt x="8826" y="687"/>
                    <a:pt x="8985" y="538"/>
                  </a:cubicBezTo>
                  <a:cubicBezTo>
                    <a:pt x="9146" y="388"/>
                    <a:pt x="9268" y="212"/>
                    <a:pt x="9442" y="140"/>
                  </a:cubicBezTo>
                  <a:cubicBezTo>
                    <a:pt x="9616" y="68"/>
                    <a:pt x="9831" y="0"/>
                    <a:pt x="10031" y="108"/>
                  </a:cubicBezTo>
                </a:path>
              </a:pathLst>
            </a:custGeom>
            <a:noFill/>
            <a:ln w="19050" cap="flat" cmpd="sng">
              <a:solidFill>
                <a:srgbClr val="CC9900"/>
              </a:solidFill>
              <a:prstDash val="dash"/>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96" name="Freeform 486"/>
            <p:cNvSpPr>
              <a:spLocks/>
            </p:cNvSpPr>
            <p:nvPr/>
          </p:nvSpPr>
          <p:spPr bwMode="auto">
            <a:xfrm>
              <a:off x="3282950" y="4059601"/>
              <a:ext cx="1124891" cy="1050215"/>
            </a:xfrm>
            <a:custGeom>
              <a:avLst/>
              <a:gdLst>
                <a:gd name="T0" fmla="*/ 0 w 10000"/>
                <a:gd name="T1" fmla="*/ 2147483647 h 9910"/>
                <a:gd name="T2" fmla="*/ 2147483647 w 10000"/>
                <a:gd name="T3" fmla="*/ 2147483647 h 9910"/>
                <a:gd name="T4" fmla="*/ 2147483647 w 10000"/>
                <a:gd name="T5" fmla="*/ 2147483647 h 9910"/>
                <a:gd name="T6" fmla="*/ 2147483647 w 10000"/>
                <a:gd name="T7" fmla="*/ 2147483647 h 9910"/>
                <a:gd name="T8" fmla="*/ 2147483647 w 10000"/>
                <a:gd name="T9" fmla="*/ 2147483647 h 9910"/>
                <a:gd name="T10" fmla="*/ 2147483647 w 10000"/>
                <a:gd name="T11" fmla="*/ 2147483647 h 9910"/>
                <a:gd name="T12" fmla="*/ 2147483647 w 10000"/>
                <a:gd name="T13" fmla="*/ 2147483647 h 9910"/>
                <a:gd name="T14" fmla="*/ 2147483647 w 10000"/>
                <a:gd name="T15" fmla="*/ 2147483647 h 9910"/>
                <a:gd name="T16" fmla="*/ 2147483647 w 10000"/>
                <a:gd name="T17" fmla="*/ 2147483647 h 9910"/>
                <a:gd name="T18" fmla="*/ 2147483647 w 10000"/>
                <a:gd name="T19" fmla="*/ 2147483647 h 9910"/>
                <a:gd name="T20" fmla="*/ 2147483647 w 10000"/>
                <a:gd name="T21" fmla="*/ 2147483647 h 9910"/>
                <a:gd name="T22" fmla="*/ 2147483647 w 10000"/>
                <a:gd name="T23" fmla="*/ 2147483647 h 9910"/>
                <a:gd name="T24" fmla="*/ 2147483647 w 10000"/>
                <a:gd name="T25" fmla="*/ 2147483647 h 9910"/>
                <a:gd name="T26" fmla="*/ 2147483647 w 10000"/>
                <a:gd name="T27" fmla="*/ 2147483647 h 9910"/>
                <a:gd name="T28" fmla="*/ 2147483647 w 10000"/>
                <a:gd name="T29" fmla="*/ 2147483647 h 9910"/>
                <a:gd name="T30" fmla="*/ 2147483647 w 10000"/>
                <a:gd name="T31" fmla="*/ 2147483647 h 9910"/>
                <a:gd name="T32" fmla="*/ 2147483647 w 10000"/>
                <a:gd name="T33" fmla="*/ 0 h 99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00" h="9910">
                  <a:moveTo>
                    <a:pt x="0" y="6984"/>
                  </a:moveTo>
                  <a:cubicBezTo>
                    <a:pt x="63" y="7041"/>
                    <a:pt x="277" y="7187"/>
                    <a:pt x="373" y="7334"/>
                  </a:cubicBezTo>
                  <a:cubicBezTo>
                    <a:pt x="471" y="7479"/>
                    <a:pt x="547" y="7693"/>
                    <a:pt x="595" y="7849"/>
                  </a:cubicBezTo>
                  <a:cubicBezTo>
                    <a:pt x="613" y="7983"/>
                    <a:pt x="632" y="8120"/>
                    <a:pt x="649" y="8261"/>
                  </a:cubicBezTo>
                  <a:cubicBezTo>
                    <a:pt x="604" y="8501"/>
                    <a:pt x="558" y="8751"/>
                    <a:pt x="511" y="8990"/>
                  </a:cubicBezTo>
                  <a:cubicBezTo>
                    <a:pt x="535" y="9250"/>
                    <a:pt x="622" y="9330"/>
                    <a:pt x="645" y="9588"/>
                  </a:cubicBezTo>
                  <a:cubicBezTo>
                    <a:pt x="791" y="9781"/>
                    <a:pt x="1258" y="9910"/>
                    <a:pt x="1709" y="9760"/>
                  </a:cubicBezTo>
                  <a:lnTo>
                    <a:pt x="3291" y="8878"/>
                  </a:lnTo>
                  <a:lnTo>
                    <a:pt x="6379" y="6806"/>
                  </a:lnTo>
                  <a:lnTo>
                    <a:pt x="8157" y="5357"/>
                  </a:lnTo>
                  <a:lnTo>
                    <a:pt x="9141" y="5074"/>
                  </a:lnTo>
                  <a:lnTo>
                    <a:pt x="9459" y="4718"/>
                  </a:lnTo>
                  <a:cubicBezTo>
                    <a:pt x="9597" y="4505"/>
                    <a:pt x="9945" y="4083"/>
                    <a:pt x="9971" y="3785"/>
                  </a:cubicBezTo>
                  <a:cubicBezTo>
                    <a:pt x="10000" y="3480"/>
                    <a:pt x="9799" y="3143"/>
                    <a:pt x="9626" y="2929"/>
                  </a:cubicBezTo>
                  <a:cubicBezTo>
                    <a:pt x="9453" y="2716"/>
                    <a:pt x="9150" y="2701"/>
                    <a:pt x="8921" y="2490"/>
                  </a:cubicBezTo>
                  <a:cubicBezTo>
                    <a:pt x="8692" y="2274"/>
                    <a:pt x="8386" y="2049"/>
                    <a:pt x="8257" y="1639"/>
                  </a:cubicBezTo>
                  <a:cubicBezTo>
                    <a:pt x="8124" y="1225"/>
                    <a:pt x="8019" y="588"/>
                    <a:pt x="7997" y="0"/>
                  </a:cubicBezTo>
                </a:path>
              </a:pathLst>
            </a:custGeom>
            <a:noFill/>
            <a:ln w="9525" cap="flat" cmpd="sng">
              <a:solidFill>
                <a:srgbClr val="CC00FF"/>
              </a:solidFill>
              <a:prstDash val="dash"/>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797" name="Text Box 1363"/>
            <p:cNvSpPr txBox="1">
              <a:spLocks noChangeArrowheads="1"/>
            </p:cNvSpPr>
            <p:nvPr/>
          </p:nvSpPr>
          <p:spPr bwMode="auto">
            <a:xfrm>
              <a:off x="4588669" y="4459365"/>
              <a:ext cx="165100"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4 </a:t>
              </a:r>
            </a:p>
          </p:txBody>
        </p:sp>
        <p:sp>
          <p:nvSpPr>
            <p:cNvPr id="798" name="Freihandform 797"/>
            <p:cNvSpPr/>
            <p:nvPr/>
          </p:nvSpPr>
          <p:spPr>
            <a:xfrm>
              <a:off x="4207649" y="4144847"/>
              <a:ext cx="284769" cy="700420"/>
            </a:xfrm>
            <a:custGeom>
              <a:avLst/>
              <a:gdLst>
                <a:gd name="connsiteX0" fmla="*/ 0 w 278606"/>
                <a:gd name="connsiteY0" fmla="*/ 0 h 700087"/>
                <a:gd name="connsiteX1" fmla="*/ 21431 w 278606"/>
                <a:gd name="connsiteY1" fmla="*/ 85725 h 700087"/>
                <a:gd name="connsiteX2" fmla="*/ 57150 w 278606"/>
                <a:gd name="connsiteY2" fmla="*/ 135731 h 700087"/>
                <a:gd name="connsiteX3" fmla="*/ 97631 w 278606"/>
                <a:gd name="connsiteY3" fmla="*/ 169068 h 700087"/>
                <a:gd name="connsiteX4" fmla="*/ 147637 w 278606"/>
                <a:gd name="connsiteY4" fmla="*/ 190500 h 700087"/>
                <a:gd name="connsiteX5" fmla="*/ 180975 w 278606"/>
                <a:gd name="connsiteY5" fmla="*/ 228600 h 700087"/>
                <a:gd name="connsiteX6" fmla="*/ 278606 w 278606"/>
                <a:gd name="connsiteY6" fmla="*/ 340518 h 700087"/>
                <a:gd name="connsiteX7" fmla="*/ 219075 w 278606"/>
                <a:gd name="connsiteY7" fmla="*/ 511968 h 700087"/>
                <a:gd name="connsiteX8" fmla="*/ 16669 w 278606"/>
                <a:gd name="connsiteY8" fmla="*/ 700087 h 700087"/>
                <a:gd name="connsiteX9" fmla="*/ 19050 w 278606"/>
                <a:gd name="connsiteY9" fmla="*/ 700087 h 700087"/>
                <a:gd name="connsiteX0" fmla="*/ 0 w 284956"/>
                <a:gd name="connsiteY0" fmla="*/ 0 h 700087"/>
                <a:gd name="connsiteX1" fmla="*/ 21431 w 284956"/>
                <a:gd name="connsiteY1" fmla="*/ 85725 h 700087"/>
                <a:gd name="connsiteX2" fmla="*/ 57150 w 284956"/>
                <a:gd name="connsiteY2" fmla="*/ 135731 h 700087"/>
                <a:gd name="connsiteX3" fmla="*/ 97631 w 284956"/>
                <a:gd name="connsiteY3" fmla="*/ 169068 h 700087"/>
                <a:gd name="connsiteX4" fmla="*/ 147637 w 284956"/>
                <a:gd name="connsiteY4" fmla="*/ 190500 h 700087"/>
                <a:gd name="connsiteX5" fmla="*/ 180975 w 284956"/>
                <a:gd name="connsiteY5" fmla="*/ 228600 h 700087"/>
                <a:gd name="connsiteX6" fmla="*/ 278606 w 284956"/>
                <a:gd name="connsiteY6" fmla="*/ 340518 h 700087"/>
                <a:gd name="connsiteX7" fmla="*/ 219075 w 284956"/>
                <a:gd name="connsiteY7" fmla="*/ 511968 h 700087"/>
                <a:gd name="connsiteX8" fmla="*/ 16669 w 284956"/>
                <a:gd name="connsiteY8" fmla="*/ 700087 h 700087"/>
                <a:gd name="connsiteX9" fmla="*/ 19050 w 284956"/>
                <a:gd name="connsiteY9" fmla="*/ 700087 h 700087"/>
                <a:gd name="connsiteX0" fmla="*/ 0 w 284956"/>
                <a:gd name="connsiteY0" fmla="*/ 0 h 700087"/>
                <a:gd name="connsiteX1" fmla="*/ 21431 w 284956"/>
                <a:gd name="connsiteY1" fmla="*/ 85725 h 700087"/>
                <a:gd name="connsiteX2" fmla="*/ 57150 w 284956"/>
                <a:gd name="connsiteY2" fmla="*/ 135731 h 700087"/>
                <a:gd name="connsiteX3" fmla="*/ 97631 w 284956"/>
                <a:gd name="connsiteY3" fmla="*/ 169068 h 700087"/>
                <a:gd name="connsiteX4" fmla="*/ 147637 w 284956"/>
                <a:gd name="connsiteY4" fmla="*/ 190500 h 700087"/>
                <a:gd name="connsiteX5" fmla="*/ 180975 w 284956"/>
                <a:gd name="connsiteY5" fmla="*/ 228600 h 700087"/>
                <a:gd name="connsiteX6" fmla="*/ 278606 w 284956"/>
                <a:gd name="connsiteY6" fmla="*/ 340518 h 700087"/>
                <a:gd name="connsiteX7" fmla="*/ 219075 w 284956"/>
                <a:gd name="connsiteY7" fmla="*/ 511968 h 700087"/>
                <a:gd name="connsiteX8" fmla="*/ 16669 w 284956"/>
                <a:gd name="connsiteY8" fmla="*/ 700087 h 700087"/>
                <a:gd name="connsiteX9" fmla="*/ 19050 w 284956"/>
                <a:gd name="connsiteY9" fmla="*/ 700087 h 70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956" h="700087">
                  <a:moveTo>
                    <a:pt x="0" y="0"/>
                  </a:moveTo>
                  <a:lnTo>
                    <a:pt x="21431" y="85725"/>
                  </a:lnTo>
                  <a:lnTo>
                    <a:pt x="57150" y="135731"/>
                  </a:lnTo>
                  <a:lnTo>
                    <a:pt x="97631" y="169068"/>
                  </a:lnTo>
                  <a:lnTo>
                    <a:pt x="147637" y="190500"/>
                  </a:lnTo>
                  <a:lnTo>
                    <a:pt x="180975" y="228600"/>
                  </a:lnTo>
                  <a:lnTo>
                    <a:pt x="278606" y="340518"/>
                  </a:lnTo>
                  <a:cubicBezTo>
                    <a:pt x="284956" y="387746"/>
                    <a:pt x="262731" y="452040"/>
                    <a:pt x="219075" y="511968"/>
                  </a:cubicBezTo>
                  <a:cubicBezTo>
                    <a:pt x="175419" y="571896"/>
                    <a:pt x="50006" y="668734"/>
                    <a:pt x="16669" y="700087"/>
                  </a:cubicBezTo>
                  <a:lnTo>
                    <a:pt x="19050" y="700087"/>
                  </a:lnTo>
                </a:path>
              </a:pathLst>
            </a:custGeom>
            <a:ln>
              <a:solidFill>
                <a:schemeClr val="tx1"/>
              </a:solidFill>
              <a:prstDash val="dash"/>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de-DE" dirty="0"/>
            </a:p>
          </p:txBody>
        </p:sp>
        <p:sp>
          <p:nvSpPr>
            <p:cNvPr id="799" name="Text Box 1472"/>
            <p:cNvSpPr txBox="1">
              <a:spLocks noChangeArrowheads="1"/>
            </p:cNvSpPr>
            <p:nvPr/>
          </p:nvSpPr>
          <p:spPr bwMode="auto">
            <a:xfrm rot="-2396525">
              <a:off x="4270957" y="4735593"/>
              <a:ext cx="245260"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B 477n</a:t>
              </a:r>
            </a:p>
          </p:txBody>
        </p:sp>
        <p:sp>
          <p:nvSpPr>
            <p:cNvPr id="800" name="Text Box 1358"/>
            <p:cNvSpPr txBox="1">
              <a:spLocks noChangeArrowheads="1"/>
            </p:cNvSpPr>
            <p:nvPr/>
          </p:nvSpPr>
          <p:spPr bwMode="auto">
            <a:xfrm>
              <a:off x="765193" y="4374434"/>
              <a:ext cx="41036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Aldenhoven</a:t>
              </a:r>
            </a:p>
          </p:txBody>
        </p:sp>
        <p:sp>
          <p:nvSpPr>
            <p:cNvPr id="801" name="Freihandform 800"/>
            <p:cNvSpPr/>
            <p:nvPr/>
          </p:nvSpPr>
          <p:spPr>
            <a:xfrm>
              <a:off x="1854412" y="743026"/>
              <a:ext cx="218181" cy="228331"/>
            </a:xfrm>
            <a:custGeom>
              <a:avLst/>
              <a:gdLst>
                <a:gd name="connsiteX0" fmla="*/ 14990 w 217357"/>
                <a:gd name="connsiteY0" fmla="*/ 228600 h 228600"/>
                <a:gd name="connsiteX1" fmla="*/ 26233 w 217357"/>
                <a:gd name="connsiteY1" fmla="*/ 164892 h 228600"/>
                <a:gd name="connsiteX2" fmla="*/ 0 w 217357"/>
                <a:gd name="connsiteY2" fmla="*/ 89941 h 228600"/>
                <a:gd name="connsiteX3" fmla="*/ 26233 w 217357"/>
                <a:gd name="connsiteY3" fmla="*/ 29981 h 228600"/>
                <a:gd name="connsiteX4" fmla="*/ 89941 w 217357"/>
                <a:gd name="connsiteY4" fmla="*/ 0 h 228600"/>
                <a:gd name="connsiteX5" fmla="*/ 164892 w 217357"/>
                <a:gd name="connsiteY5" fmla="*/ 3748 h 228600"/>
                <a:gd name="connsiteX6" fmla="*/ 202367 w 217357"/>
                <a:gd name="connsiteY6" fmla="*/ 56213 h 228600"/>
                <a:gd name="connsiteX7" fmla="*/ 217357 w 217357"/>
                <a:gd name="connsiteY7" fmla="*/ 146154 h 228600"/>
                <a:gd name="connsiteX8" fmla="*/ 157397 w 217357"/>
                <a:gd name="connsiteY8" fmla="*/ 198620 h 228600"/>
                <a:gd name="connsiteX9" fmla="*/ 89941 w 217357"/>
                <a:gd name="connsiteY9" fmla="*/ 213610 h 228600"/>
                <a:gd name="connsiteX10" fmla="*/ 14990 w 217357"/>
                <a:gd name="connsiteY10" fmla="*/ 22860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7357" h="228600">
                  <a:moveTo>
                    <a:pt x="14990" y="228600"/>
                  </a:moveTo>
                  <a:lnTo>
                    <a:pt x="26233" y="164892"/>
                  </a:lnTo>
                  <a:lnTo>
                    <a:pt x="0" y="89941"/>
                  </a:lnTo>
                  <a:lnTo>
                    <a:pt x="26233" y="29981"/>
                  </a:lnTo>
                  <a:lnTo>
                    <a:pt x="89941" y="0"/>
                  </a:lnTo>
                  <a:lnTo>
                    <a:pt x="164892" y="3748"/>
                  </a:lnTo>
                  <a:lnTo>
                    <a:pt x="202367" y="56213"/>
                  </a:lnTo>
                  <a:lnTo>
                    <a:pt x="217357" y="146154"/>
                  </a:lnTo>
                  <a:lnTo>
                    <a:pt x="157397" y="198620"/>
                  </a:lnTo>
                  <a:lnTo>
                    <a:pt x="89941" y="213610"/>
                  </a:lnTo>
                  <a:lnTo>
                    <a:pt x="14990" y="228600"/>
                  </a:lnTo>
                  <a:close/>
                </a:path>
              </a:pathLst>
            </a:custGeom>
            <a:solidFill>
              <a:srgbClr val="FF8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802" name="Freeform 1484"/>
            <p:cNvSpPr>
              <a:spLocks/>
            </p:cNvSpPr>
            <p:nvPr/>
          </p:nvSpPr>
          <p:spPr bwMode="auto">
            <a:xfrm>
              <a:off x="847725" y="693657"/>
              <a:ext cx="3582759" cy="1346359"/>
            </a:xfrm>
            <a:custGeom>
              <a:avLst/>
              <a:gdLst>
                <a:gd name="T0" fmla="*/ 0 w 11816"/>
                <a:gd name="T1" fmla="*/ 2147483647 h 15420"/>
                <a:gd name="T2" fmla="*/ 2147483647 w 11816"/>
                <a:gd name="T3" fmla="*/ 2147483647 h 15420"/>
                <a:gd name="T4" fmla="*/ 2147483647 w 11816"/>
                <a:gd name="T5" fmla="*/ 2147483647 h 15420"/>
                <a:gd name="T6" fmla="*/ 2147483647 w 11816"/>
                <a:gd name="T7" fmla="*/ 2147483647 h 15420"/>
                <a:gd name="T8" fmla="*/ 2147483647 w 11816"/>
                <a:gd name="T9" fmla="*/ 2147483647 h 15420"/>
                <a:gd name="T10" fmla="*/ 2147483647 w 11816"/>
                <a:gd name="T11" fmla="*/ 2147483647 h 15420"/>
                <a:gd name="T12" fmla="*/ 2147483647 w 11816"/>
                <a:gd name="T13" fmla="*/ 2147483647 h 15420"/>
                <a:gd name="T14" fmla="*/ 2147483647 w 11816"/>
                <a:gd name="T15" fmla="*/ 2147483647 h 15420"/>
                <a:gd name="T16" fmla="*/ 2147483647 w 11816"/>
                <a:gd name="T17" fmla="*/ 2147483647 h 15420"/>
                <a:gd name="T18" fmla="*/ 2147483647 w 11816"/>
                <a:gd name="T19" fmla="*/ 2147483647 h 15420"/>
                <a:gd name="T20" fmla="*/ 2147483647 w 11816"/>
                <a:gd name="T21" fmla="*/ 2147483647 h 15420"/>
                <a:gd name="T22" fmla="*/ 2147483647 w 11816"/>
                <a:gd name="T23" fmla="*/ 2147483647 h 15420"/>
                <a:gd name="T24" fmla="*/ 2147483647 w 11816"/>
                <a:gd name="T25" fmla="*/ 2147483647 h 15420"/>
                <a:gd name="T26" fmla="*/ 2147483647 w 11816"/>
                <a:gd name="T27" fmla="*/ 2147483647 h 15420"/>
                <a:gd name="T28" fmla="*/ 2147483647 w 11816"/>
                <a:gd name="T29" fmla="*/ 2147483647 h 15420"/>
                <a:gd name="T30" fmla="*/ 2147483647 w 11816"/>
                <a:gd name="T31" fmla="*/ 2147483647 h 15420"/>
                <a:gd name="T32" fmla="*/ 2147483647 w 11816"/>
                <a:gd name="T33" fmla="*/ 2147483647 h 15420"/>
                <a:gd name="T34" fmla="*/ 2147483647 w 11816"/>
                <a:gd name="T35" fmla="*/ 2147483647 h 15420"/>
                <a:gd name="T36" fmla="*/ 2147483647 w 11816"/>
                <a:gd name="T37" fmla="*/ 2147483647 h 15420"/>
                <a:gd name="T38" fmla="*/ 2147483647 w 11816"/>
                <a:gd name="T39" fmla="*/ 2147483647 h 15420"/>
                <a:gd name="T40" fmla="*/ 2147483647 w 11816"/>
                <a:gd name="T41" fmla="*/ 2147483647 h 15420"/>
                <a:gd name="T42" fmla="*/ 2147483647 w 11816"/>
                <a:gd name="T43" fmla="*/ 2147483647 h 15420"/>
                <a:gd name="T44" fmla="*/ 2147483647 w 11816"/>
                <a:gd name="T45" fmla="*/ 2147483647 h 15420"/>
                <a:gd name="T46" fmla="*/ 2147483647 w 11816"/>
                <a:gd name="T47" fmla="*/ 2147483647 h 15420"/>
                <a:gd name="T48" fmla="*/ 2147483647 w 11816"/>
                <a:gd name="T49" fmla="*/ 2147483647 h 15420"/>
                <a:gd name="T50" fmla="*/ 2147483647 w 11816"/>
                <a:gd name="T51" fmla="*/ 2147483647 h 15420"/>
                <a:gd name="T52" fmla="*/ 2147483647 w 11816"/>
                <a:gd name="T53" fmla="*/ 2147483647 h 15420"/>
                <a:gd name="T54" fmla="*/ 2147483647 w 11816"/>
                <a:gd name="T55" fmla="*/ 2147483647 h 15420"/>
                <a:gd name="T56" fmla="*/ 2147483647 w 11816"/>
                <a:gd name="T57" fmla="*/ 2147483647 h 15420"/>
                <a:gd name="T58" fmla="*/ 2147483647 w 11816"/>
                <a:gd name="T59" fmla="*/ 2147483647 h 15420"/>
                <a:gd name="T60" fmla="*/ 2147483647 w 11816"/>
                <a:gd name="T61" fmla="*/ 2147483647 h 15420"/>
                <a:gd name="T62" fmla="*/ 2147483647 w 11816"/>
                <a:gd name="T63" fmla="*/ 2147483647 h 15420"/>
                <a:gd name="T64" fmla="*/ 2147483647 w 11816"/>
                <a:gd name="T65" fmla="*/ 2147483647 h 15420"/>
                <a:gd name="T66" fmla="*/ 2147483647 w 11816"/>
                <a:gd name="T67" fmla="*/ 2147483647 h 15420"/>
                <a:gd name="T68" fmla="*/ 2147483647 w 11816"/>
                <a:gd name="T69" fmla="*/ 2147483647 h 15420"/>
                <a:gd name="T70" fmla="*/ 2147483647 w 11816"/>
                <a:gd name="T71" fmla="*/ 2147483647 h 15420"/>
                <a:gd name="T72" fmla="*/ 2147483647 w 11816"/>
                <a:gd name="T73" fmla="*/ 2147483647 h 15420"/>
                <a:gd name="T74" fmla="*/ 2147483647 w 11816"/>
                <a:gd name="T75" fmla="*/ 2147483647 h 15420"/>
                <a:gd name="T76" fmla="*/ 2147483647 w 11816"/>
                <a:gd name="T77" fmla="*/ 2147483647 h 15420"/>
                <a:gd name="T78" fmla="*/ 2147483647 w 11816"/>
                <a:gd name="T79" fmla="*/ 2147483647 h 15420"/>
                <a:gd name="T80" fmla="*/ 2147483647 w 11816"/>
                <a:gd name="T81" fmla="*/ 2147483647 h 15420"/>
                <a:gd name="T82" fmla="*/ 2147483647 w 11816"/>
                <a:gd name="T83" fmla="*/ 2147483647 h 15420"/>
                <a:gd name="T84" fmla="*/ 2147483647 w 11816"/>
                <a:gd name="T85" fmla="*/ 2147483647 h 15420"/>
                <a:gd name="T86" fmla="*/ 2147483647 w 11816"/>
                <a:gd name="T87" fmla="*/ 2147483647 h 15420"/>
                <a:gd name="T88" fmla="*/ 2147483647 w 11816"/>
                <a:gd name="T89" fmla="*/ 2147483647 h 15420"/>
                <a:gd name="T90" fmla="*/ 2147483647 w 11816"/>
                <a:gd name="T91" fmla="*/ 0 h 1542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1816" h="15420">
                  <a:moveTo>
                    <a:pt x="0" y="15402"/>
                  </a:moveTo>
                  <a:cubicBezTo>
                    <a:pt x="89" y="15402"/>
                    <a:pt x="414" y="15420"/>
                    <a:pt x="550" y="15402"/>
                  </a:cubicBezTo>
                  <a:cubicBezTo>
                    <a:pt x="686" y="15384"/>
                    <a:pt x="691" y="15365"/>
                    <a:pt x="827" y="15238"/>
                  </a:cubicBezTo>
                  <a:cubicBezTo>
                    <a:pt x="963" y="15111"/>
                    <a:pt x="1178" y="14656"/>
                    <a:pt x="1382" y="14638"/>
                  </a:cubicBezTo>
                  <a:cubicBezTo>
                    <a:pt x="1586" y="14620"/>
                    <a:pt x="1916" y="14965"/>
                    <a:pt x="2068" y="15075"/>
                  </a:cubicBezTo>
                  <a:cubicBezTo>
                    <a:pt x="2220" y="15184"/>
                    <a:pt x="2225" y="15256"/>
                    <a:pt x="2304" y="15293"/>
                  </a:cubicBezTo>
                  <a:cubicBezTo>
                    <a:pt x="2382" y="15329"/>
                    <a:pt x="2476" y="15384"/>
                    <a:pt x="2545" y="15293"/>
                  </a:cubicBezTo>
                  <a:cubicBezTo>
                    <a:pt x="2613" y="15202"/>
                    <a:pt x="2681" y="14875"/>
                    <a:pt x="2728" y="14711"/>
                  </a:cubicBezTo>
                  <a:cubicBezTo>
                    <a:pt x="2775" y="14547"/>
                    <a:pt x="2801" y="14475"/>
                    <a:pt x="2827" y="14329"/>
                  </a:cubicBezTo>
                  <a:cubicBezTo>
                    <a:pt x="2853" y="14184"/>
                    <a:pt x="2874" y="14002"/>
                    <a:pt x="2901" y="13820"/>
                  </a:cubicBezTo>
                  <a:cubicBezTo>
                    <a:pt x="2927" y="13638"/>
                    <a:pt x="2948" y="13402"/>
                    <a:pt x="2979" y="13184"/>
                  </a:cubicBezTo>
                  <a:cubicBezTo>
                    <a:pt x="3010" y="12965"/>
                    <a:pt x="3052" y="12784"/>
                    <a:pt x="3094" y="12529"/>
                  </a:cubicBezTo>
                  <a:cubicBezTo>
                    <a:pt x="3136" y="12275"/>
                    <a:pt x="3199" y="11893"/>
                    <a:pt x="3246" y="11638"/>
                  </a:cubicBezTo>
                  <a:cubicBezTo>
                    <a:pt x="3293" y="11384"/>
                    <a:pt x="3330" y="11220"/>
                    <a:pt x="3377" y="11056"/>
                  </a:cubicBezTo>
                  <a:cubicBezTo>
                    <a:pt x="3424" y="10893"/>
                    <a:pt x="3455" y="10838"/>
                    <a:pt x="3518" y="10656"/>
                  </a:cubicBezTo>
                  <a:cubicBezTo>
                    <a:pt x="3581" y="10475"/>
                    <a:pt x="3681" y="10184"/>
                    <a:pt x="3738" y="10002"/>
                  </a:cubicBezTo>
                  <a:cubicBezTo>
                    <a:pt x="3796" y="9820"/>
                    <a:pt x="3801" y="9675"/>
                    <a:pt x="3848" y="9565"/>
                  </a:cubicBezTo>
                  <a:cubicBezTo>
                    <a:pt x="3895" y="9456"/>
                    <a:pt x="3979" y="9402"/>
                    <a:pt x="4037" y="9329"/>
                  </a:cubicBezTo>
                  <a:cubicBezTo>
                    <a:pt x="4099" y="9256"/>
                    <a:pt x="4152" y="9220"/>
                    <a:pt x="4220" y="9184"/>
                  </a:cubicBezTo>
                  <a:cubicBezTo>
                    <a:pt x="4288" y="9147"/>
                    <a:pt x="4377" y="9129"/>
                    <a:pt x="4455" y="9111"/>
                  </a:cubicBezTo>
                  <a:cubicBezTo>
                    <a:pt x="4534" y="9093"/>
                    <a:pt x="4607" y="9056"/>
                    <a:pt x="4702" y="9038"/>
                  </a:cubicBezTo>
                  <a:cubicBezTo>
                    <a:pt x="4791" y="9020"/>
                    <a:pt x="4916" y="9002"/>
                    <a:pt x="5005" y="9002"/>
                  </a:cubicBezTo>
                  <a:cubicBezTo>
                    <a:pt x="5099" y="8984"/>
                    <a:pt x="5173" y="9002"/>
                    <a:pt x="5251" y="9020"/>
                  </a:cubicBezTo>
                  <a:cubicBezTo>
                    <a:pt x="5330" y="9038"/>
                    <a:pt x="5419" y="9093"/>
                    <a:pt x="5482" y="9129"/>
                  </a:cubicBezTo>
                  <a:cubicBezTo>
                    <a:pt x="5539" y="9184"/>
                    <a:pt x="5560" y="9202"/>
                    <a:pt x="5607" y="9275"/>
                  </a:cubicBezTo>
                  <a:cubicBezTo>
                    <a:pt x="5649" y="9347"/>
                    <a:pt x="5707" y="9475"/>
                    <a:pt x="5754" y="9565"/>
                  </a:cubicBezTo>
                  <a:cubicBezTo>
                    <a:pt x="5796" y="9675"/>
                    <a:pt x="5822" y="9784"/>
                    <a:pt x="5864" y="9893"/>
                  </a:cubicBezTo>
                  <a:cubicBezTo>
                    <a:pt x="5906" y="9984"/>
                    <a:pt x="5969" y="10111"/>
                    <a:pt x="6010" y="10202"/>
                  </a:cubicBezTo>
                  <a:cubicBezTo>
                    <a:pt x="6052" y="10293"/>
                    <a:pt x="6079" y="10365"/>
                    <a:pt x="6131" y="10456"/>
                  </a:cubicBezTo>
                  <a:cubicBezTo>
                    <a:pt x="6178" y="10565"/>
                    <a:pt x="6246" y="10693"/>
                    <a:pt x="6304" y="10765"/>
                  </a:cubicBezTo>
                  <a:cubicBezTo>
                    <a:pt x="6361" y="10838"/>
                    <a:pt x="6398" y="10893"/>
                    <a:pt x="6461" y="10929"/>
                  </a:cubicBezTo>
                  <a:cubicBezTo>
                    <a:pt x="6529" y="10947"/>
                    <a:pt x="6607" y="10965"/>
                    <a:pt x="6691" y="10947"/>
                  </a:cubicBezTo>
                  <a:cubicBezTo>
                    <a:pt x="6780" y="10929"/>
                    <a:pt x="6874" y="10893"/>
                    <a:pt x="6984" y="10856"/>
                  </a:cubicBezTo>
                  <a:cubicBezTo>
                    <a:pt x="7099" y="10802"/>
                    <a:pt x="7272" y="10729"/>
                    <a:pt x="7372" y="10675"/>
                  </a:cubicBezTo>
                  <a:cubicBezTo>
                    <a:pt x="7466" y="10620"/>
                    <a:pt x="7503" y="10565"/>
                    <a:pt x="7565" y="10511"/>
                  </a:cubicBezTo>
                  <a:cubicBezTo>
                    <a:pt x="7623" y="10456"/>
                    <a:pt x="7675" y="10420"/>
                    <a:pt x="7733" y="10384"/>
                  </a:cubicBezTo>
                  <a:cubicBezTo>
                    <a:pt x="7791" y="10347"/>
                    <a:pt x="7853" y="10311"/>
                    <a:pt x="7906" y="10293"/>
                  </a:cubicBezTo>
                  <a:cubicBezTo>
                    <a:pt x="7958" y="10275"/>
                    <a:pt x="7995" y="10311"/>
                    <a:pt x="8037" y="10311"/>
                  </a:cubicBezTo>
                  <a:cubicBezTo>
                    <a:pt x="8084" y="10329"/>
                    <a:pt x="8126" y="10365"/>
                    <a:pt x="8178" y="10365"/>
                  </a:cubicBezTo>
                  <a:cubicBezTo>
                    <a:pt x="8230" y="10365"/>
                    <a:pt x="8277" y="10347"/>
                    <a:pt x="8340" y="10293"/>
                  </a:cubicBezTo>
                  <a:cubicBezTo>
                    <a:pt x="8403" y="10238"/>
                    <a:pt x="8429" y="10202"/>
                    <a:pt x="8545" y="10020"/>
                  </a:cubicBezTo>
                  <a:cubicBezTo>
                    <a:pt x="8660" y="9838"/>
                    <a:pt x="8907" y="9427"/>
                    <a:pt x="9047" y="9238"/>
                  </a:cubicBezTo>
                  <a:cubicBezTo>
                    <a:pt x="9187" y="9049"/>
                    <a:pt x="9274" y="9023"/>
                    <a:pt x="9387" y="8887"/>
                  </a:cubicBezTo>
                  <a:cubicBezTo>
                    <a:pt x="9500" y="8751"/>
                    <a:pt x="9650" y="8660"/>
                    <a:pt x="9724" y="8423"/>
                  </a:cubicBezTo>
                  <a:cubicBezTo>
                    <a:pt x="9797" y="8187"/>
                    <a:pt x="9855" y="8445"/>
                    <a:pt x="10204" y="7041"/>
                  </a:cubicBezTo>
                  <a:cubicBezTo>
                    <a:pt x="10553" y="5637"/>
                    <a:pt x="11774" y="400"/>
                    <a:pt x="11816" y="0"/>
                  </a:cubicBezTo>
                </a:path>
              </a:pathLst>
            </a:custGeom>
            <a:noFill/>
            <a:ln w="19050" cap="flat" cmpd="sng">
              <a:solidFill>
                <a:srgbClr val="CC99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de-DE"/>
            </a:p>
          </p:txBody>
        </p:sp>
        <p:sp>
          <p:nvSpPr>
            <p:cNvPr id="803" name="Text Box 1723"/>
            <p:cNvSpPr txBox="1">
              <a:spLocks noChangeArrowheads="1"/>
            </p:cNvSpPr>
            <p:nvPr/>
          </p:nvSpPr>
          <p:spPr bwMode="auto">
            <a:xfrm>
              <a:off x="3863181" y="1243885"/>
              <a:ext cx="207963"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46 </a:t>
              </a:r>
            </a:p>
          </p:txBody>
        </p:sp>
        <p:sp>
          <p:nvSpPr>
            <p:cNvPr id="804" name="Text Box 1722"/>
            <p:cNvSpPr txBox="1">
              <a:spLocks noChangeArrowheads="1"/>
            </p:cNvSpPr>
            <p:nvPr/>
          </p:nvSpPr>
          <p:spPr bwMode="auto">
            <a:xfrm>
              <a:off x="2138716" y="1432254"/>
              <a:ext cx="207963" cy="101600"/>
            </a:xfrm>
            <a:prstGeom prst="rect">
              <a:avLst/>
            </a:prstGeom>
            <a:solidFill>
              <a:srgbClr val="0099FF"/>
            </a:solidFill>
            <a:ln w="9525" algn="ctr">
              <a:solidFill>
                <a:srgbClr val="000000"/>
              </a:solidFill>
              <a:miter lim="800000"/>
              <a:headEnd/>
              <a:tailEnd/>
            </a:ln>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FFFFFF"/>
                  </a:solidFill>
                </a:rPr>
                <a:t> A 46 </a:t>
              </a:r>
            </a:p>
          </p:txBody>
        </p:sp>
        <p:sp>
          <p:nvSpPr>
            <p:cNvPr id="805" name="Freihandform 804"/>
            <p:cNvSpPr/>
            <p:nvPr/>
          </p:nvSpPr>
          <p:spPr>
            <a:xfrm>
              <a:off x="2282273" y="906560"/>
              <a:ext cx="238016" cy="359466"/>
            </a:xfrm>
            <a:custGeom>
              <a:avLst/>
              <a:gdLst>
                <a:gd name="connsiteX0" fmla="*/ 188049 w 238404"/>
                <a:gd name="connsiteY0" fmla="*/ 329308 h 351589"/>
                <a:gd name="connsiteX1" fmla="*/ 233502 w 238404"/>
                <a:gd name="connsiteY1" fmla="*/ 286529 h 351589"/>
                <a:gd name="connsiteX2" fmla="*/ 217460 w 238404"/>
                <a:gd name="connsiteY2" fmla="*/ 238403 h 351589"/>
                <a:gd name="connsiteX3" fmla="*/ 220133 w 238404"/>
                <a:gd name="connsiteY3" fmla="*/ 184929 h 351589"/>
                <a:gd name="connsiteX4" fmla="*/ 230828 w 238404"/>
                <a:gd name="connsiteY4" fmla="*/ 144824 h 351589"/>
                <a:gd name="connsiteX5" fmla="*/ 182702 w 238404"/>
                <a:gd name="connsiteY5" fmla="*/ 94024 h 351589"/>
                <a:gd name="connsiteX6" fmla="*/ 139923 w 238404"/>
                <a:gd name="connsiteY6" fmla="*/ 21834 h 351589"/>
                <a:gd name="connsiteX7" fmla="*/ 113186 w 238404"/>
                <a:gd name="connsiteY7" fmla="*/ 445 h 351589"/>
                <a:gd name="connsiteX8" fmla="*/ 65060 w 238404"/>
                <a:gd name="connsiteY8" fmla="*/ 19161 h 351589"/>
                <a:gd name="connsiteX9" fmla="*/ 83776 w 238404"/>
                <a:gd name="connsiteY9" fmla="*/ 61940 h 351589"/>
                <a:gd name="connsiteX10" fmla="*/ 59712 w 238404"/>
                <a:gd name="connsiteY10" fmla="*/ 86003 h 351589"/>
                <a:gd name="connsiteX11" fmla="*/ 11586 w 238404"/>
                <a:gd name="connsiteY11" fmla="*/ 144824 h 351589"/>
                <a:gd name="connsiteX12" fmla="*/ 3565 w 238404"/>
                <a:gd name="connsiteY12" fmla="*/ 176908 h 351589"/>
                <a:gd name="connsiteX13" fmla="*/ 22281 w 238404"/>
                <a:gd name="connsiteY13" fmla="*/ 198298 h 351589"/>
                <a:gd name="connsiteX14" fmla="*/ 6239 w 238404"/>
                <a:gd name="connsiteY14" fmla="*/ 257119 h 351589"/>
                <a:gd name="connsiteX15" fmla="*/ 8912 w 238404"/>
                <a:gd name="connsiteY15" fmla="*/ 334655 h 351589"/>
                <a:gd name="connsiteX16" fmla="*/ 59712 w 238404"/>
                <a:gd name="connsiteY16" fmla="*/ 350698 h 351589"/>
                <a:gd name="connsiteX17" fmla="*/ 99818 w 238404"/>
                <a:gd name="connsiteY17" fmla="*/ 329308 h 351589"/>
                <a:gd name="connsiteX18" fmla="*/ 129228 w 238404"/>
                <a:gd name="connsiteY18" fmla="*/ 302571 h 351589"/>
                <a:gd name="connsiteX19" fmla="*/ 188049 w 238404"/>
                <a:gd name="connsiteY19" fmla="*/ 329308 h 351589"/>
                <a:gd name="connsiteX0" fmla="*/ 188049 w 238404"/>
                <a:gd name="connsiteY0" fmla="*/ 329308 h 359332"/>
                <a:gd name="connsiteX1" fmla="*/ 233502 w 238404"/>
                <a:gd name="connsiteY1" fmla="*/ 286529 h 359332"/>
                <a:gd name="connsiteX2" fmla="*/ 217460 w 238404"/>
                <a:gd name="connsiteY2" fmla="*/ 238403 h 359332"/>
                <a:gd name="connsiteX3" fmla="*/ 220133 w 238404"/>
                <a:gd name="connsiteY3" fmla="*/ 184929 h 359332"/>
                <a:gd name="connsiteX4" fmla="*/ 230828 w 238404"/>
                <a:gd name="connsiteY4" fmla="*/ 144824 h 359332"/>
                <a:gd name="connsiteX5" fmla="*/ 182702 w 238404"/>
                <a:gd name="connsiteY5" fmla="*/ 94024 h 359332"/>
                <a:gd name="connsiteX6" fmla="*/ 139923 w 238404"/>
                <a:gd name="connsiteY6" fmla="*/ 21834 h 359332"/>
                <a:gd name="connsiteX7" fmla="*/ 113186 w 238404"/>
                <a:gd name="connsiteY7" fmla="*/ 445 h 359332"/>
                <a:gd name="connsiteX8" fmla="*/ 65060 w 238404"/>
                <a:gd name="connsiteY8" fmla="*/ 19161 h 359332"/>
                <a:gd name="connsiteX9" fmla="*/ 83776 w 238404"/>
                <a:gd name="connsiteY9" fmla="*/ 61940 h 359332"/>
                <a:gd name="connsiteX10" fmla="*/ 59712 w 238404"/>
                <a:gd name="connsiteY10" fmla="*/ 86003 h 359332"/>
                <a:gd name="connsiteX11" fmla="*/ 11586 w 238404"/>
                <a:gd name="connsiteY11" fmla="*/ 144824 h 359332"/>
                <a:gd name="connsiteX12" fmla="*/ 3565 w 238404"/>
                <a:gd name="connsiteY12" fmla="*/ 176908 h 359332"/>
                <a:gd name="connsiteX13" fmla="*/ 22281 w 238404"/>
                <a:gd name="connsiteY13" fmla="*/ 198298 h 359332"/>
                <a:gd name="connsiteX14" fmla="*/ 6239 w 238404"/>
                <a:gd name="connsiteY14" fmla="*/ 257119 h 359332"/>
                <a:gd name="connsiteX15" fmla="*/ 8912 w 238404"/>
                <a:gd name="connsiteY15" fmla="*/ 334655 h 359332"/>
                <a:gd name="connsiteX16" fmla="*/ 59712 w 238404"/>
                <a:gd name="connsiteY16" fmla="*/ 350698 h 359332"/>
                <a:gd name="connsiteX17" fmla="*/ 99818 w 238404"/>
                <a:gd name="connsiteY17" fmla="*/ 329308 h 359332"/>
                <a:gd name="connsiteX18" fmla="*/ 129228 w 238404"/>
                <a:gd name="connsiteY18" fmla="*/ 302571 h 359332"/>
                <a:gd name="connsiteX19" fmla="*/ 188049 w 238404"/>
                <a:gd name="connsiteY19" fmla="*/ 329308 h 35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8404" h="359332">
                  <a:moveTo>
                    <a:pt x="188049" y="329308"/>
                  </a:moveTo>
                  <a:cubicBezTo>
                    <a:pt x="205428" y="326634"/>
                    <a:pt x="228600" y="301680"/>
                    <a:pt x="233502" y="286529"/>
                  </a:cubicBezTo>
                  <a:cubicBezTo>
                    <a:pt x="238404" y="271378"/>
                    <a:pt x="219688" y="255336"/>
                    <a:pt x="217460" y="238403"/>
                  </a:cubicBezTo>
                  <a:cubicBezTo>
                    <a:pt x="215232" y="221470"/>
                    <a:pt x="217905" y="200525"/>
                    <a:pt x="220133" y="184929"/>
                  </a:cubicBezTo>
                  <a:cubicBezTo>
                    <a:pt x="222361" y="169333"/>
                    <a:pt x="237067" y="159975"/>
                    <a:pt x="230828" y="144824"/>
                  </a:cubicBezTo>
                  <a:cubicBezTo>
                    <a:pt x="224590" y="129673"/>
                    <a:pt x="197853" y="114522"/>
                    <a:pt x="182702" y="94024"/>
                  </a:cubicBezTo>
                  <a:cubicBezTo>
                    <a:pt x="167551" y="73526"/>
                    <a:pt x="151509" y="37431"/>
                    <a:pt x="139923" y="21834"/>
                  </a:cubicBezTo>
                  <a:cubicBezTo>
                    <a:pt x="128337" y="6238"/>
                    <a:pt x="125663" y="890"/>
                    <a:pt x="113186" y="445"/>
                  </a:cubicBezTo>
                  <a:cubicBezTo>
                    <a:pt x="100709" y="0"/>
                    <a:pt x="69962" y="8912"/>
                    <a:pt x="65060" y="19161"/>
                  </a:cubicBezTo>
                  <a:cubicBezTo>
                    <a:pt x="60158" y="29410"/>
                    <a:pt x="84667" y="50800"/>
                    <a:pt x="83776" y="61940"/>
                  </a:cubicBezTo>
                  <a:cubicBezTo>
                    <a:pt x="82885" y="73080"/>
                    <a:pt x="71744" y="72189"/>
                    <a:pt x="59712" y="86003"/>
                  </a:cubicBezTo>
                  <a:cubicBezTo>
                    <a:pt x="47680" y="99817"/>
                    <a:pt x="20944" y="129673"/>
                    <a:pt x="11586" y="144824"/>
                  </a:cubicBezTo>
                  <a:cubicBezTo>
                    <a:pt x="2228" y="159975"/>
                    <a:pt x="1783" y="167996"/>
                    <a:pt x="3565" y="176908"/>
                  </a:cubicBezTo>
                  <a:cubicBezTo>
                    <a:pt x="5347" y="185820"/>
                    <a:pt x="21835" y="184930"/>
                    <a:pt x="22281" y="198298"/>
                  </a:cubicBezTo>
                  <a:cubicBezTo>
                    <a:pt x="22727" y="211666"/>
                    <a:pt x="8467" y="234393"/>
                    <a:pt x="6239" y="257119"/>
                  </a:cubicBezTo>
                  <a:cubicBezTo>
                    <a:pt x="4011" y="279845"/>
                    <a:pt x="0" y="319059"/>
                    <a:pt x="8912" y="334655"/>
                  </a:cubicBezTo>
                  <a:cubicBezTo>
                    <a:pt x="17824" y="350252"/>
                    <a:pt x="44561" y="351589"/>
                    <a:pt x="59712" y="350698"/>
                  </a:cubicBezTo>
                  <a:cubicBezTo>
                    <a:pt x="84388" y="359332"/>
                    <a:pt x="88232" y="337329"/>
                    <a:pt x="99818" y="329308"/>
                  </a:cubicBezTo>
                  <a:cubicBezTo>
                    <a:pt x="111404" y="321287"/>
                    <a:pt x="115414" y="302571"/>
                    <a:pt x="129228" y="302571"/>
                  </a:cubicBezTo>
                  <a:cubicBezTo>
                    <a:pt x="143042" y="302571"/>
                    <a:pt x="170670" y="331982"/>
                    <a:pt x="188049" y="329308"/>
                  </a:cubicBezTo>
                  <a:close/>
                </a:path>
              </a:pathLst>
            </a:custGeom>
            <a:solidFill>
              <a:srgbClr val="FF8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806" name="Text Box 1726"/>
            <p:cNvSpPr txBox="1">
              <a:spLocks noChangeArrowheads="1"/>
            </p:cNvSpPr>
            <p:nvPr/>
          </p:nvSpPr>
          <p:spPr bwMode="auto">
            <a:xfrm>
              <a:off x="1387475" y="790651"/>
              <a:ext cx="51752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Rheindahlen</a:t>
              </a:r>
            </a:p>
          </p:txBody>
        </p:sp>
        <p:sp>
          <p:nvSpPr>
            <p:cNvPr id="807" name="Text Box 1726"/>
            <p:cNvSpPr txBox="1">
              <a:spLocks noChangeArrowheads="1"/>
            </p:cNvSpPr>
            <p:nvPr/>
          </p:nvSpPr>
          <p:spPr bwMode="auto">
            <a:xfrm>
              <a:off x="1984373" y="1024015"/>
              <a:ext cx="2997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Wickrath</a:t>
              </a:r>
            </a:p>
          </p:txBody>
        </p:sp>
        <p:sp>
          <p:nvSpPr>
            <p:cNvPr id="808" name="Freihandform 807"/>
            <p:cNvSpPr/>
            <p:nvPr/>
          </p:nvSpPr>
          <p:spPr>
            <a:xfrm>
              <a:off x="2326192" y="696743"/>
              <a:ext cx="1034234" cy="504487"/>
            </a:xfrm>
            <a:custGeom>
              <a:avLst/>
              <a:gdLst>
                <a:gd name="connsiteX0" fmla="*/ 402432 w 1033463"/>
                <a:gd name="connsiteY0" fmla="*/ 504825 h 504825"/>
                <a:gd name="connsiteX1" fmla="*/ 333375 w 1033463"/>
                <a:gd name="connsiteY1" fmla="*/ 440531 h 504825"/>
                <a:gd name="connsiteX2" fmla="*/ 261938 w 1033463"/>
                <a:gd name="connsiteY2" fmla="*/ 407193 h 504825"/>
                <a:gd name="connsiteX3" fmla="*/ 307182 w 1033463"/>
                <a:gd name="connsiteY3" fmla="*/ 271462 h 504825"/>
                <a:gd name="connsiteX4" fmla="*/ 276225 w 1033463"/>
                <a:gd name="connsiteY4" fmla="*/ 214312 h 504825"/>
                <a:gd name="connsiteX5" fmla="*/ 292894 w 1033463"/>
                <a:gd name="connsiteY5" fmla="*/ 183356 h 504825"/>
                <a:gd name="connsiteX6" fmla="*/ 164307 w 1033463"/>
                <a:gd name="connsiteY6" fmla="*/ 164306 h 504825"/>
                <a:gd name="connsiteX7" fmla="*/ 78582 w 1033463"/>
                <a:gd name="connsiteY7" fmla="*/ 138112 h 504825"/>
                <a:gd name="connsiteX8" fmla="*/ 0 w 1033463"/>
                <a:gd name="connsiteY8" fmla="*/ 0 h 504825"/>
                <a:gd name="connsiteX9" fmla="*/ 916782 w 1033463"/>
                <a:gd name="connsiteY9" fmla="*/ 4762 h 504825"/>
                <a:gd name="connsiteX10" fmla="*/ 912019 w 1033463"/>
                <a:gd name="connsiteY10" fmla="*/ 80962 h 504825"/>
                <a:gd name="connsiteX11" fmla="*/ 995363 w 1033463"/>
                <a:gd name="connsiteY11" fmla="*/ 42862 h 504825"/>
                <a:gd name="connsiteX12" fmla="*/ 1028700 w 1033463"/>
                <a:gd name="connsiteY12" fmla="*/ 88106 h 504825"/>
                <a:gd name="connsiteX13" fmla="*/ 1033463 w 1033463"/>
                <a:gd name="connsiteY13" fmla="*/ 140493 h 504825"/>
                <a:gd name="connsiteX14" fmla="*/ 992982 w 1033463"/>
                <a:gd name="connsiteY14" fmla="*/ 188118 h 504825"/>
                <a:gd name="connsiteX15" fmla="*/ 888207 w 1033463"/>
                <a:gd name="connsiteY15" fmla="*/ 145256 h 504825"/>
                <a:gd name="connsiteX16" fmla="*/ 776288 w 1033463"/>
                <a:gd name="connsiteY16" fmla="*/ 145256 h 504825"/>
                <a:gd name="connsiteX17" fmla="*/ 714375 w 1033463"/>
                <a:gd name="connsiteY17" fmla="*/ 140493 h 504825"/>
                <a:gd name="connsiteX18" fmla="*/ 673894 w 1033463"/>
                <a:gd name="connsiteY18" fmla="*/ 192881 h 504825"/>
                <a:gd name="connsiteX19" fmla="*/ 597694 w 1033463"/>
                <a:gd name="connsiteY19" fmla="*/ 173831 h 504825"/>
                <a:gd name="connsiteX20" fmla="*/ 516732 w 1033463"/>
                <a:gd name="connsiteY20" fmla="*/ 166687 h 504825"/>
                <a:gd name="connsiteX21" fmla="*/ 452438 w 1033463"/>
                <a:gd name="connsiteY21" fmla="*/ 169068 h 504825"/>
                <a:gd name="connsiteX22" fmla="*/ 550069 w 1033463"/>
                <a:gd name="connsiteY22" fmla="*/ 345281 h 504825"/>
                <a:gd name="connsiteX23" fmla="*/ 590550 w 1033463"/>
                <a:gd name="connsiteY23" fmla="*/ 435768 h 504825"/>
                <a:gd name="connsiteX24" fmla="*/ 523875 w 1033463"/>
                <a:gd name="connsiteY24" fmla="*/ 428625 h 504825"/>
                <a:gd name="connsiteX25" fmla="*/ 500063 w 1033463"/>
                <a:gd name="connsiteY25" fmla="*/ 478631 h 504825"/>
                <a:gd name="connsiteX26" fmla="*/ 481013 w 1033463"/>
                <a:gd name="connsiteY26" fmla="*/ 466725 h 504825"/>
                <a:gd name="connsiteX27" fmla="*/ 402432 w 1033463"/>
                <a:gd name="connsiteY27" fmla="*/ 50482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33463" h="504825">
                  <a:moveTo>
                    <a:pt x="402432" y="504825"/>
                  </a:moveTo>
                  <a:lnTo>
                    <a:pt x="333375" y="440531"/>
                  </a:lnTo>
                  <a:lnTo>
                    <a:pt x="261938" y="407193"/>
                  </a:lnTo>
                  <a:lnTo>
                    <a:pt x="307182" y="271462"/>
                  </a:lnTo>
                  <a:lnTo>
                    <a:pt x="276225" y="214312"/>
                  </a:lnTo>
                  <a:lnTo>
                    <a:pt x="292894" y="183356"/>
                  </a:lnTo>
                  <a:lnTo>
                    <a:pt x="164307" y="164306"/>
                  </a:lnTo>
                  <a:lnTo>
                    <a:pt x="78582" y="138112"/>
                  </a:lnTo>
                  <a:lnTo>
                    <a:pt x="0" y="0"/>
                  </a:lnTo>
                  <a:lnTo>
                    <a:pt x="916782" y="4762"/>
                  </a:lnTo>
                  <a:lnTo>
                    <a:pt x="912019" y="80962"/>
                  </a:lnTo>
                  <a:lnTo>
                    <a:pt x="995363" y="42862"/>
                  </a:lnTo>
                  <a:lnTo>
                    <a:pt x="1028700" y="88106"/>
                  </a:lnTo>
                  <a:lnTo>
                    <a:pt x="1033463" y="140493"/>
                  </a:lnTo>
                  <a:lnTo>
                    <a:pt x="992982" y="188118"/>
                  </a:lnTo>
                  <a:lnTo>
                    <a:pt x="888207" y="145256"/>
                  </a:lnTo>
                  <a:lnTo>
                    <a:pt x="776288" y="145256"/>
                  </a:lnTo>
                  <a:lnTo>
                    <a:pt x="714375" y="140493"/>
                  </a:lnTo>
                  <a:lnTo>
                    <a:pt x="673894" y="192881"/>
                  </a:lnTo>
                  <a:lnTo>
                    <a:pt x="597694" y="173831"/>
                  </a:lnTo>
                  <a:lnTo>
                    <a:pt x="516732" y="166687"/>
                  </a:lnTo>
                  <a:lnTo>
                    <a:pt x="452438" y="169068"/>
                  </a:lnTo>
                  <a:lnTo>
                    <a:pt x="550069" y="345281"/>
                  </a:lnTo>
                  <a:lnTo>
                    <a:pt x="590550" y="435768"/>
                  </a:lnTo>
                  <a:lnTo>
                    <a:pt x="523875" y="428625"/>
                  </a:lnTo>
                  <a:lnTo>
                    <a:pt x="500063" y="478631"/>
                  </a:lnTo>
                  <a:lnTo>
                    <a:pt x="481013" y="466725"/>
                  </a:lnTo>
                  <a:lnTo>
                    <a:pt x="402432" y="504825"/>
                  </a:lnTo>
                  <a:close/>
                </a:path>
              </a:pathLst>
            </a:custGeom>
            <a:solidFill>
              <a:srgbClr val="FF8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809" name="Text Box 1726"/>
            <p:cNvSpPr txBox="1">
              <a:spLocks noChangeArrowheads="1"/>
            </p:cNvSpPr>
            <p:nvPr/>
          </p:nvSpPr>
          <p:spPr bwMode="auto">
            <a:xfrm>
              <a:off x="2539995" y="719216"/>
              <a:ext cx="634789"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buClr>
                  <a:schemeClr val="accent1"/>
                </a:buClr>
                <a:buSzPct val="105000"/>
                <a:buFont typeface="Wingdings" pitchFamily="2" charset="2"/>
                <a:buNone/>
              </a:pPr>
              <a:r>
                <a:rPr lang="de-DE" altLang="de-DE" sz="600">
                  <a:solidFill>
                    <a:srgbClr val="000000"/>
                  </a:solidFill>
                </a:rPr>
                <a:t>Mönchengladbach</a:t>
              </a:r>
            </a:p>
          </p:txBody>
        </p:sp>
        <p:sp>
          <p:nvSpPr>
            <p:cNvPr id="810" name="Freeform 1473"/>
            <p:cNvSpPr>
              <a:spLocks/>
            </p:cNvSpPr>
            <p:nvPr/>
          </p:nvSpPr>
          <p:spPr bwMode="auto">
            <a:xfrm>
              <a:off x="2736850" y="2165428"/>
              <a:ext cx="93663" cy="49213"/>
            </a:xfrm>
            <a:custGeom>
              <a:avLst/>
              <a:gdLst>
                <a:gd name="T0" fmla="*/ 2147483647 w 177"/>
                <a:gd name="T1" fmla="*/ 2147483647 h 93"/>
                <a:gd name="T2" fmla="*/ 2147483647 w 177"/>
                <a:gd name="T3" fmla="*/ 2147483647 h 93"/>
                <a:gd name="T4" fmla="*/ 2147483647 w 177"/>
                <a:gd name="T5" fmla="*/ 2147483647 h 93"/>
                <a:gd name="T6" fmla="*/ 2147483647 w 177"/>
                <a:gd name="T7" fmla="*/ 2147483647 h 93"/>
                <a:gd name="T8" fmla="*/ 2147483647 w 177"/>
                <a:gd name="T9" fmla="*/ 2147483647 h 93"/>
                <a:gd name="T10" fmla="*/ 0 w 177"/>
                <a:gd name="T11" fmla="*/ 2147483647 h 93"/>
                <a:gd name="T12" fmla="*/ 2147483647 w 177"/>
                <a:gd name="T13" fmla="*/ 2147483647 h 93"/>
                <a:gd name="T14" fmla="*/ 2147483647 w 177"/>
                <a:gd name="T15" fmla="*/ 2147483647 h 93"/>
                <a:gd name="T16" fmla="*/ 2147483647 w 177"/>
                <a:gd name="T17" fmla="*/ 2147483647 h 93"/>
                <a:gd name="T18" fmla="*/ 2147483647 w 177"/>
                <a:gd name="T19" fmla="*/ 2147483647 h 93"/>
                <a:gd name="T20" fmla="*/ 2147483647 w 177"/>
                <a:gd name="T21" fmla="*/ 2147483647 h 93"/>
                <a:gd name="T22" fmla="*/ 2147483647 w 177"/>
                <a:gd name="T23" fmla="*/ 2147483647 h 93"/>
                <a:gd name="T24" fmla="*/ 2147483647 w 177"/>
                <a:gd name="T25" fmla="*/ 2147483647 h 93"/>
                <a:gd name="T26" fmla="*/ 2147483647 w 177"/>
                <a:gd name="T27" fmla="*/ 2147483647 h 93"/>
                <a:gd name="T28" fmla="*/ 2147483647 w 177"/>
                <a:gd name="T29" fmla="*/ 0 h 93"/>
                <a:gd name="T30" fmla="*/ 2147483647 w 177"/>
                <a:gd name="T31" fmla="*/ 2147483647 h 93"/>
                <a:gd name="T32" fmla="*/ 2147483647 w 177"/>
                <a:gd name="T33" fmla="*/ 2147483647 h 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7"/>
                <a:gd name="T52" fmla="*/ 0 h 93"/>
                <a:gd name="T53" fmla="*/ 177 w 177"/>
                <a:gd name="T54" fmla="*/ 93 h 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7" h="93">
                  <a:moveTo>
                    <a:pt x="129" y="22"/>
                  </a:moveTo>
                  <a:lnTo>
                    <a:pt x="123" y="12"/>
                  </a:lnTo>
                  <a:lnTo>
                    <a:pt x="110" y="12"/>
                  </a:lnTo>
                  <a:lnTo>
                    <a:pt x="59" y="34"/>
                  </a:lnTo>
                  <a:lnTo>
                    <a:pt x="18" y="21"/>
                  </a:lnTo>
                  <a:lnTo>
                    <a:pt x="0" y="78"/>
                  </a:lnTo>
                  <a:lnTo>
                    <a:pt x="99" y="60"/>
                  </a:lnTo>
                  <a:lnTo>
                    <a:pt x="98" y="82"/>
                  </a:lnTo>
                  <a:lnTo>
                    <a:pt x="125" y="82"/>
                  </a:lnTo>
                  <a:lnTo>
                    <a:pt x="140" y="93"/>
                  </a:lnTo>
                  <a:lnTo>
                    <a:pt x="161" y="73"/>
                  </a:lnTo>
                  <a:lnTo>
                    <a:pt x="149" y="64"/>
                  </a:lnTo>
                  <a:lnTo>
                    <a:pt x="152" y="39"/>
                  </a:lnTo>
                  <a:lnTo>
                    <a:pt x="177" y="39"/>
                  </a:lnTo>
                  <a:lnTo>
                    <a:pt x="176" y="0"/>
                  </a:lnTo>
                  <a:lnTo>
                    <a:pt x="158" y="3"/>
                  </a:lnTo>
                  <a:lnTo>
                    <a:pt x="129" y="22"/>
                  </a:lnTo>
                  <a:close/>
                </a:path>
              </a:pathLst>
            </a:custGeom>
            <a:solidFill>
              <a:srgbClr val="FF8000"/>
            </a:solidFill>
            <a:ln w="6350" cap="flat" cmpd="sng">
              <a:solidFill>
                <a:srgbClr val="000000"/>
              </a:solidFill>
              <a:prstDash val="solid"/>
              <a:round/>
              <a:headEnd type="none" w="med" len="med"/>
              <a:tailEnd type="none" w="med" len="med"/>
            </a:ln>
          </p:spPr>
          <p:txBody>
            <a:bodyPr wrap="none" lIns="0" tIns="0" rIns="0" bIns="0">
              <a:spAutoFit/>
            </a:bodyPr>
            <a:lstStyle/>
            <a:p>
              <a:endParaRPr lang="de-DE"/>
            </a:p>
          </p:txBody>
        </p:sp>
      </p:grpSp>
      <p:sp>
        <p:nvSpPr>
          <p:cNvPr id="934" name="Text Box 1021"/>
          <p:cNvSpPr txBox="1">
            <a:spLocks noChangeArrowheads="1"/>
          </p:cNvSpPr>
          <p:nvPr/>
        </p:nvSpPr>
        <p:spPr bwMode="auto">
          <a:xfrm>
            <a:off x="6846205" y="881567"/>
            <a:ext cx="18373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de-DE" altLang="de-DE" sz="1600" b="1" dirty="0">
                <a:solidFill>
                  <a:srgbClr val="FF6600"/>
                </a:solidFill>
              </a:rPr>
              <a:t>Stand </a:t>
            </a:r>
            <a:r>
              <a:rPr lang="de-DE" altLang="de-DE" sz="1600" b="1" dirty="0" smtClean="0">
                <a:solidFill>
                  <a:srgbClr val="FF6600"/>
                </a:solidFill>
              </a:rPr>
              <a:t>31.12.2018</a:t>
            </a:r>
            <a:endParaRPr lang="de-DE" altLang="de-DE" sz="1600" b="1" dirty="0">
              <a:solidFill>
                <a:srgbClr val="FF6600"/>
              </a:solidFill>
            </a:endParaRPr>
          </a:p>
        </p:txBody>
      </p:sp>
      <p:sp>
        <p:nvSpPr>
          <p:cNvPr id="935" name="Text Box 1020"/>
          <p:cNvSpPr txBox="1">
            <a:spLocks noChangeArrowheads="1"/>
          </p:cNvSpPr>
          <p:nvPr/>
        </p:nvSpPr>
        <p:spPr bwMode="auto">
          <a:xfrm>
            <a:off x="3668030" y="5897918"/>
            <a:ext cx="2016125" cy="489365"/>
          </a:xfrm>
          <a:prstGeom prst="rect">
            <a:avLst/>
          </a:prstGeom>
          <a:solidFill>
            <a:schemeClr val="bg1"/>
          </a:solidFill>
          <a:ln w="9525">
            <a:solidFill>
              <a:schemeClr val="tx1"/>
            </a:solidFill>
            <a:miter lim="800000"/>
            <a:headEnd/>
            <a:tailEnd/>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15000"/>
              </a:spcBef>
            </a:pPr>
            <a:r>
              <a:rPr lang="de-DE" altLang="de-DE" sz="1200" b="1" dirty="0" smtClean="0">
                <a:solidFill>
                  <a:srgbClr val="F72913"/>
                </a:solidFill>
              </a:rPr>
              <a:t>Belegschaft:  10.030</a:t>
            </a:r>
          </a:p>
          <a:p>
            <a:pPr eaLnBrk="1" hangingPunct="1">
              <a:spcBef>
                <a:spcPct val="15000"/>
              </a:spcBef>
            </a:pPr>
            <a:r>
              <a:rPr lang="de-DE" altLang="de-DE" sz="1200" b="1" dirty="0" smtClean="0">
                <a:solidFill>
                  <a:srgbClr val="F72913"/>
                </a:solidFill>
              </a:rPr>
              <a:t>davon </a:t>
            </a:r>
            <a:r>
              <a:rPr lang="de-DE" altLang="de-DE" sz="1200" b="1" dirty="0">
                <a:solidFill>
                  <a:srgbClr val="F72913"/>
                </a:solidFill>
              </a:rPr>
              <a:t>Azubis: </a:t>
            </a:r>
            <a:r>
              <a:rPr lang="de-DE" altLang="de-DE" sz="1200" b="1" dirty="0" smtClean="0">
                <a:solidFill>
                  <a:srgbClr val="F72913"/>
                </a:solidFill>
              </a:rPr>
              <a:t> 453</a:t>
            </a:r>
            <a:endParaRPr lang="de-DE" altLang="de-DE" sz="1200" b="1" dirty="0">
              <a:solidFill>
                <a:srgbClr val="F72913"/>
              </a:solidFill>
            </a:endParaRPr>
          </a:p>
        </p:txBody>
      </p:sp>
      <p:sp>
        <p:nvSpPr>
          <p:cNvPr id="936" name="AutoShape 1015"/>
          <p:cNvSpPr>
            <a:spLocks noChangeArrowheads="1"/>
          </p:cNvSpPr>
          <p:nvPr/>
        </p:nvSpPr>
        <p:spPr bwMode="auto">
          <a:xfrm>
            <a:off x="313643" y="5413880"/>
            <a:ext cx="792162" cy="431800"/>
          </a:xfrm>
          <a:prstGeom prst="wedgeEllipseCallout">
            <a:avLst>
              <a:gd name="adj1" fmla="val 122690"/>
              <a:gd name="adj2" fmla="val -33991"/>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770</a:t>
            </a:r>
            <a:endParaRPr lang="de-DE" altLang="de-DE" sz="1400" b="1" dirty="0"/>
          </a:p>
        </p:txBody>
      </p:sp>
      <p:sp>
        <p:nvSpPr>
          <p:cNvPr id="937" name="AutoShape 1014"/>
          <p:cNvSpPr>
            <a:spLocks noChangeArrowheads="1"/>
          </p:cNvSpPr>
          <p:nvPr/>
        </p:nvSpPr>
        <p:spPr bwMode="auto">
          <a:xfrm>
            <a:off x="783543" y="4189917"/>
            <a:ext cx="720725" cy="431800"/>
          </a:xfrm>
          <a:prstGeom prst="wedgeEllipseCallout">
            <a:avLst>
              <a:gd name="adj1" fmla="val 135782"/>
              <a:gd name="adj2" fmla="val 118384"/>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602</a:t>
            </a:r>
            <a:endParaRPr lang="de-DE" altLang="de-DE" sz="1400" b="1" dirty="0"/>
          </a:p>
        </p:txBody>
      </p:sp>
      <p:sp>
        <p:nvSpPr>
          <p:cNvPr id="938" name="AutoShape 1013"/>
          <p:cNvSpPr>
            <a:spLocks noChangeArrowheads="1"/>
          </p:cNvSpPr>
          <p:nvPr/>
        </p:nvSpPr>
        <p:spPr bwMode="auto">
          <a:xfrm>
            <a:off x="3664855" y="4478842"/>
            <a:ext cx="935038" cy="431800"/>
          </a:xfrm>
          <a:prstGeom prst="wedgeEllipseCallout">
            <a:avLst>
              <a:gd name="adj1" fmla="val -84009"/>
              <a:gd name="adj2" fmla="val -42278"/>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1.349</a:t>
            </a:r>
            <a:endParaRPr lang="de-DE" altLang="de-DE" sz="1400" b="1" dirty="0"/>
          </a:p>
        </p:txBody>
      </p:sp>
      <p:sp>
        <p:nvSpPr>
          <p:cNvPr id="939" name="AutoShape 1005"/>
          <p:cNvSpPr>
            <a:spLocks noChangeArrowheads="1"/>
          </p:cNvSpPr>
          <p:nvPr/>
        </p:nvSpPr>
        <p:spPr bwMode="auto">
          <a:xfrm>
            <a:off x="2172605" y="2734180"/>
            <a:ext cx="936625" cy="431800"/>
          </a:xfrm>
          <a:prstGeom prst="wedgeEllipseCallout">
            <a:avLst>
              <a:gd name="adj1" fmla="val 71245"/>
              <a:gd name="adj2" fmla="val -185884"/>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1.866</a:t>
            </a:r>
            <a:endParaRPr lang="de-DE" altLang="de-DE" sz="1400" b="1" dirty="0"/>
          </a:p>
        </p:txBody>
      </p:sp>
      <p:sp>
        <p:nvSpPr>
          <p:cNvPr id="940" name="AutoShape 1022"/>
          <p:cNvSpPr>
            <a:spLocks noChangeArrowheads="1"/>
          </p:cNvSpPr>
          <p:nvPr/>
        </p:nvSpPr>
        <p:spPr bwMode="auto">
          <a:xfrm>
            <a:off x="4222068" y="1151442"/>
            <a:ext cx="792162" cy="431800"/>
          </a:xfrm>
          <a:prstGeom prst="wedgeEllipseCallout">
            <a:avLst>
              <a:gd name="adj1" fmla="val -47903"/>
              <a:gd name="adj2" fmla="val 223500"/>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328</a:t>
            </a:r>
            <a:endParaRPr lang="de-DE" altLang="de-DE" sz="1400" b="1" dirty="0"/>
          </a:p>
        </p:txBody>
      </p:sp>
      <p:sp>
        <p:nvSpPr>
          <p:cNvPr id="941" name="AutoShape 1016"/>
          <p:cNvSpPr>
            <a:spLocks noChangeArrowheads="1"/>
          </p:cNvSpPr>
          <p:nvPr/>
        </p:nvSpPr>
        <p:spPr bwMode="auto">
          <a:xfrm>
            <a:off x="4815793" y="1886455"/>
            <a:ext cx="792162" cy="431800"/>
          </a:xfrm>
          <a:prstGeom prst="wedgeEllipseCallout">
            <a:avLst>
              <a:gd name="adj1" fmla="val -110255"/>
              <a:gd name="adj2" fmla="val 67787"/>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endParaRPr lang="de-DE" altLang="de-DE" sz="1400" b="1">
              <a:solidFill>
                <a:srgbClr val="F72913"/>
              </a:solidFill>
            </a:endParaRPr>
          </a:p>
        </p:txBody>
      </p:sp>
      <p:sp>
        <p:nvSpPr>
          <p:cNvPr id="942" name="AutoShape 1017"/>
          <p:cNvSpPr>
            <a:spLocks noChangeArrowheads="1"/>
          </p:cNvSpPr>
          <p:nvPr/>
        </p:nvSpPr>
        <p:spPr bwMode="auto">
          <a:xfrm>
            <a:off x="4815793" y="1886455"/>
            <a:ext cx="936625" cy="431800"/>
          </a:xfrm>
          <a:prstGeom prst="wedgeEllipseCallout">
            <a:avLst>
              <a:gd name="adj1" fmla="val -64630"/>
              <a:gd name="adj2" fmla="val 103255"/>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881</a:t>
            </a:r>
            <a:endParaRPr lang="de-DE" altLang="de-DE" sz="1400" b="1" dirty="0"/>
          </a:p>
        </p:txBody>
      </p:sp>
      <p:sp>
        <p:nvSpPr>
          <p:cNvPr id="944" name="AutoShape 1007"/>
          <p:cNvSpPr>
            <a:spLocks noChangeArrowheads="1"/>
          </p:cNvSpPr>
          <p:nvPr/>
        </p:nvSpPr>
        <p:spPr bwMode="auto">
          <a:xfrm>
            <a:off x="5968318" y="2834192"/>
            <a:ext cx="719137" cy="431800"/>
          </a:xfrm>
          <a:prstGeom prst="wedgeEllipseCallout">
            <a:avLst>
              <a:gd name="adj1" fmla="val -151718"/>
              <a:gd name="adj2" fmla="val 59926"/>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198</a:t>
            </a:r>
            <a:endParaRPr lang="de-DE" altLang="de-DE" sz="1400" b="1" dirty="0"/>
          </a:p>
        </p:txBody>
      </p:sp>
      <p:sp>
        <p:nvSpPr>
          <p:cNvPr id="945" name="AutoShape 1008"/>
          <p:cNvSpPr>
            <a:spLocks noChangeArrowheads="1"/>
          </p:cNvSpPr>
          <p:nvPr/>
        </p:nvSpPr>
        <p:spPr bwMode="auto">
          <a:xfrm>
            <a:off x="5136881" y="1447759"/>
            <a:ext cx="720725" cy="431800"/>
          </a:xfrm>
          <a:prstGeom prst="wedgeEllipseCallout">
            <a:avLst>
              <a:gd name="adj1" fmla="val -153654"/>
              <a:gd name="adj2" fmla="val 107967"/>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381</a:t>
            </a:r>
            <a:endParaRPr lang="de-DE" altLang="de-DE" sz="1400" b="1" dirty="0"/>
          </a:p>
        </p:txBody>
      </p:sp>
      <p:sp>
        <p:nvSpPr>
          <p:cNvPr id="946" name="AutoShape 1019"/>
          <p:cNvSpPr>
            <a:spLocks noChangeArrowheads="1"/>
          </p:cNvSpPr>
          <p:nvPr/>
        </p:nvSpPr>
        <p:spPr bwMode="auto">
          <a:xfrm>
            <a:off x="3248930" y="3453317"/>
            <a:ext cx="792163" cy="431800"/>
          </a:xfrm>
          <a:prstGeom prst="wedgeEllipseCallout">
            <a:avLst>
              <a:gd name="adj1" fmla="val 145824"/>
              <a:gd name="adj2" fmla="val -27648"/>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598</a:t>
            </a:r>
            <a:endParaRPr lang="de-DE" altLang="de-DE" sz="1400" b="1" dirty="0"/>
          </a:p>
        </p:txBody>
      </p:sp>
      <p:sp>
        <p:nvSpPr>
          <p:cNvPr id="947" name="AutoShape 1014"/>
          <p:cNvSpPr>
            <a:spLocks noChangeArrowheads="1"/>
          </p:cNvSpPr>
          <p:nvPr/>
        </p:nvSpPr>
        <p:spPr bwMode="auto">
          <a:xfrm>
            <a:off x="3349914" y="2907535"/>
            <a:ext cx="720725" cy="431800"/>
          </a:xfrm>
          <a:prstGeom prst="wedgeEllipseCallout">
            <a:avLst>
              <a:gd name="adj1" fmla="val 155510"/>
              <a:gd name="adj2" fmla="val 94703"/>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105</a:t>
            </a:r>
            <a:endParaRPr lang="de-DE" altLang="de-DE" sz="1400" b="1" dirty="0"/>
          </a:p>
        </p:txBody>
      </p:sp>
      <p:sp>
        <p:nvSpPr>
          <p:cNvPr id="948" name="AutoShape 1012"/>
          <p:cNvSpPr>
            <a:spLocks noChangeArrowheads="1"/>
          </p:cNvSpPr>
          <p:nvPr/>
        </p:nvSpPr>
        <p:spPr bwMode="auto">
          <a:xfrm>
            <a:off x="5527412" y="2084197"/>
            <a:ext cx="792162" cy="431800"/>
          </a:xfrm>
          <a:prstGeom prst="wedgeEllipseCallout">
            <a:avLst>
              <a:gd name="adj1" fmla="val -105963"/>
              <a:gd name="adj2" fmla="val 251591"/>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157</a:t>
            </a:r>
            <a:endParaRPr lang="de-DE" altLang="de-DE" sz="1400" b="1" dirty="0"/>
          </a:p>
        </p:txBody>
      </p:sp>
      <p:sp>
        <p:nvSpPr>
          <p:cNvPr id="949" name="AutoShape 1009"/>
          <p:cNvSpPr>
            <a:spLocks noChangeArrowheads="1"/>
          </p:cNvSpPr>
          <p:nvPr/>
        </p:nvSpPr>
        <p:spPr bwMode="auto">
          <a:xfrm>
            <a:off x="5828618" y="3697792"/>
            <a:ext cx="899574" cy="431800"/>
          </a:xfrm>
          <a:prstGeom prst="wedgeEllipseCallout">
            <a:avLst>
              <a:gd name="adj1" fmla="val 10381"/>
              <a:gd name="adj2" fmla="val 144932"/>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1.079</a:t>
            </a:r>
            <a:endParaRPr lang="de-DE" altLang="de-DE" sz="1400" b="1" dirty="0"/>
          </a:p>
        </p:txBody>
      </p:sp>
      <p:sp>
        <p:nvSpPr>
          <p:cNvPr id="950" name="AutoShape 1011"/>
          <p:cNvSpPr>
            <a:spLocks noChangeArrowheads="1"/>
          </p:cNvSpPr>
          <p:nvPr/>
        </p:nvSpPr>
        <p:spPr bwMode="auto">
          <a:xfrm>
            <a:off x="7106555" y="5313867"/>
            <a:ext cx="792163" cy="398463"/>
          </a:xfrm>
          <a:prstGeom prst="wedgeEllipseCallout">
            <a:avLst>
              <a:gd name="adj1" fmla="val -84968"/>
              <a:gd name="adj2" fmla="val -74764"/>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58</a:t>
            </a:r>
            <a:endParaRPr lang="de-DE" altLang="de-DE" sz="1400" b="1" dirty="0"/>
          </a:p>
        </p:txBody>
      </p:sp>
      <p:sp>
        <p:nvSpPr>
          <p:cNvPr id="951" name="AutoShape 1010"/>
          <p:cNvSpPr>
            <a:spLocks noChangeArrowheads="1"/>
          </p:cNvSpPr>
          <p:nvPr/>
        </p:nvSpPr>
        <p:spPr bwMode="auto">
          <a:xfrm>
            <a:off x="7362143" y="4297867"/>
            <a:ext cx="720725" cy="431800"/>
          </a:xfrm>
          <a:prstGeom prst="wedgeEllipseCallout">
            <a:avLst>
              <a:gd name="adj1" fmla="val -123037"/>
              <a:gd name="adj2" fmla="val 112134"/>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129</a:t>
            </a:r>
            <a:endParaRPr lang="de-DE" altLang="de-DE" sz="1400" b="1" dirty="0"/>
          </a:p>
        </p:txBody>
      </p:sp>
      <p:sp>
        <p:nvSpPr>
          <p:cNvPr id="952" name="AutoShape 1004"/>
          <p:cNvSpPr>
            <a:spLocks noChangeArrowheads="1"/>
          </p:cNvSpPr>
          <p:nvPr/>
        </p:nvSpPr>
        <p:spPr bwMode="auto">
          <a:xfrm>
            <a:off x="7149418" y="2918330"/>
            <a:ext cx="792162" cy="431800"/>
          </a:xfrm>
          <a:prstGeom prst="wedgeEllipseCallout">
            <a:avLst>
              <a:gd name="adj1" fmla="val -37560"/>
              <a:gd name="adj2" fmla="val 219287"/>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750</a:t>
            </a:r>
            <a:endParaRPr lang="de-DE" altLang="de-DE" sz="1400" b="1" dirty="0"/>
          </a:p>
        </p:txBody>
      </p:sp>
      <p:sp>
        <p:nvSpPr>
          <p:cNvPr id="943" name="AutoShape 1006"/>
          <p:cNvSpPr>
            <a:spLocks noChangeArrowheads="1"/>
          </p:cNvSpPr>
          <p:nvPr/>
        </p:nvSpPr>
        <p:spPr bwMode="auto">
          <a:xfrm>
            <a:off x="5330143" y="2481767"/>
            <a:ext cx="935037" cy="360363"/>
          </a:xfrm>
          <a:prstGeom prst="wedgeEllipseCallout">
            <a:avLst>
              <a:gd name="adj1" fmla="val -75657"/>
              <a:gd name="adj2" fmla="val 145838"/>
            </a:avLst>
          </a:prstGeom>
          <a:solidFill>
            <a:srgbClr val="FFFFFF"/>
          </a:solidFill>
          <a:ln w="9525">
            <a:solidFill>
              <a:schemeClr val="tx1"/>
            </a:solidFill>
            <a:miter lim="800000"/>
            <a:headEnd/>
            <a:tailEnd/>
          </a:ln>
        </p:spPr>
        <p:txBody>
          <a:bodyPr anchor="ctr" anchorCtr="1"/>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de-DE" altLang="de-DE" sz="1400" b="1" dirty="0" smtClean="0"/>
              <a:t>779</a:t>
            </a:r>
            <a:endParaRPr lang="de-DE" altLang="de-DE" sz="1400" b="1" dirty="0"/>
          </a:p>
        </p:txBody>
      </p:sp>
    </p:spTree>
    <p:extLst>
      <p:ext uri="{BB962C8B-B14F-4D97-AF65-F5344CB8AC3E}">
        <p14:creationId xmlns:p14="http://schemas.microsoft.com/office/powerpoint/2010/main" val="29091966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8851B59-7A49-A94E-B5F4-11DE4D30A2D5}"/>
              </a:ext>
            </a:extLst>
          </p:cNvPr>
          <p:cNvSpPr>
            <a:spLocks noGrp="1"/>
          </p:cNvSpPr>
          <p:nvPr>
            <p:ph sz="quarter" idx="10"/>
          </p:nvPr>
        </p:nvSpPr>
        <p:spPr>
          <a:xfrm>
            <a:off x="357061" y="779696"/>
            <a:ext cx="8433390" cy="419440"/>
          </a:xfrm>
        </p:spPr>
        <p:txBody>
          <a:bodyPr/>
          <a:lstStyle/>
          <a:p>
            <a:r>
              <a:rPr lang="de-DE" dirty="0" smtClean="0"/>
              <a:t>Ausgangslage für die Betroffenen!</a:t>
            </a:r>
            <a:endParaRPr lang="de-DE" dirty="0"/>
          </a:p>
        </p:txBody>
      </p:sp>
      <p:sp>
        <p:nvSpPr>
          <p:cNvPr id="3" name="Textplatzhalter 2">
            <a:extLst>
              <a:ext uri="{FF2B5EF4-FFF2-40B4-BE49-F238E27FC236}">
                <a16:creationId xmlns:a16="http://schemas.microsoft.com/office/drawing/2014/main" id="{ED9E06EF-A8F3-EF42-AC47-9EE8FB059ED6}"/>
              </a:ext>
            </a:extLst>
          </p:cNvPr>
          <p:cNvSpPr>
            <a:spLocks noGrp="1"/>
          </p:cNvSpPr>
          <p:nvPr>
            <p:ph type="body" sz="quarter" idx="11"/>
          </p:nvPr>
        </p:nvSpPr>
        <p:spPr>
          <a:xfrm>
            <a:off x="362217" y="1416632"/>
            <a:ext cx="3928431" cy="3967644"/>
          </a:xfrm>
        </p:spPr>
        <p:txBody>
          <a:bodyPr>
            <a:noAutofit/>
          </a:bodyPr>
          <a:lstStyle/>
          <a:p>
            <a:pPr marL="263776" indent="-263776" eaLnBrk="0" hangingPunct="0">
              <a:spcAft>
                <a:spcPts val="1108"/>
              </a:spcAft>
              <a:buClr>
                <a:srgbClr val="FF0000"/>
              </a:buClr>
            </a:pPr>
            <a:r>
              <a:rPr lang="de-DE" sz="1900" dirty="0" smtClean="0"/>
              <a:t>Sorge um den Arbeitsplatz</a:t>
            </a:r>
          </a:p>
          <a:p>
            <a:pPr marL="263776" indent="-263776" eaLnBrk="0" hangingPunct="0">
              <a:spcAft>
                <a:spcPts val="1108"/>
              </a:spcAft>
              <a:buClr>
                <a:srgbClr val="FF0000"/>
              </a:buClr>
            </a:pPr>
            <a:r>
              <a:rPr lang="de-DE" sz="1900" dirty="0" smtClean="0"/>
              <a:t>Diffamierungen und Anfeindungen</a:t>
            </a:r>
          </a:p>
          <a:p>
            <a:pPr marL="263776" indent="-263776" eaLnBrk="0" hangingPunct="0">
              <a:spcAft>
                <a:spcPts val="1108"/>
              </a:spcAft>
              <a:buClr>
                <a:srgbClr val="FF0000"/>
              </a:buClr>
            </a:pPr>
            <a:r>
              <a:rPr lang="de-DE" sz="1900" dirty="0" smtClean="0"/>
              <a:t>Gewalt = Angst um die Gesundheit</a:t>
            </a:r>
          </a:p>
          <a:p>
            <a:pPr marL="263776" indent="-263776" eaLnBrk="0" hangingPunct="0">
              <a:spcAft>
                <a:spcPts val="1108"/>
              </a:spcAft>
              <a:buClr>
                <a:srgbClr val="FF0000"/>
              </a:buClr>
            </a:pPr>
            <a:r>
              <a:rPr lang="de-DE" sz="1900" dirty="0" smtClean="0"/>
              <a:t>Sie zahlen die Zeche!</a:t>
            </a:r>
          </a:p>
          <a:p>
            <a:pPr lvl="2" indent="-316531" eaLnBrk="0" hangingPunct="0">
              <a:spcBef>
                <a:spcPts val="0"/>
              </a:spcBef>
              <a:buClr>
                <a:srgbClr val="FF0000"/>
              </a:buClr>
            </a:pPr>
            <a:r>
              <a:rPr lang="de-DE" sz="1715" dirty="0" smtClean="0"/>
              <a:t>Tariflich</a:t>
            </a:r>
          </a:p>
          <a:p>
            <a:pPr lvl="2" indent="-316531" eaLnBrk="0" hangingPunct="0">
              <a:spcBef>
                <a:spcPts val="0"/>
              </a:spcBef>
              <a:buClr>
                <a:srgbClr val="FF0000"/>
              </a:buClr>
            </a:pPr>
            <a:r>
              <a:rPr lang="de-DE" sz="1715" dirty="0" smtClean="0"/>
              <a:t>Betrieblich</a:t>
            </a:r>
          </a:p>
          <a:p>
            <a:pPr lvl="2" indent="-316531" eaLnBrk="0" hangingPunct="0">
              <a:spcBef>
                <a:spcPts val="0"/>
              </a:spcBef>
              <a:buClr>
                <a:srgbClr val="FF0000"/>
              </a:buClr>
            </a:pPr>
            <a:r>
              <a:rPr lang="de-DE" sz="1715" dirty="0" smtClean="0"/>
              <a:t>Arbeitsplatzabbau</a:t>
            </a:r>
          </a:p>
          <a:p>
            <a:pPr lvl="2" indent="-316531" eaLnBrk="0" hangingPunct="0">
              <a:spcBef>
                <a:spcPts val="0"/>
              </a:spcBef>
              <a:buClr>
                <a:srgbClr val="FF0000"/>
              </a:buClr>
            </a:pPr>
            <a:r>
              <a:rPr lang="de-DE" sz="1715" dirty="0" smtClean="0"/>
              <a:t>Vor allem Menschlich</a:t>
            </a:r>
          </a:p>
          <a:p>
            <a:pPr marL="263776" indent="-263776" eaLnBrk="0" hangingPunct="0">
              <a:spcAft>
                <a:spcPts val="1108"/>
              </a:spcAft>
              <a:buClr>
                <a:srgbClr val="FF0000"/>
              </a:buClr>
            </a:pPr>
            <a:endParaRPr lang="de-DE" sz="1900" dirty="0"/>
          </a:p>
          <a:p>
            <a:pPr marL="0" indent="0">
              <a:lnSpc>
                <a:spcPct val="100000"/>
              </a:lnSpc>
              <a:spcAft>
                <a:spcPts val="1108"/>
              </a:spcAft>
              <a:buNone/>
            </a:pPr>
            <a:endParaRPr lang="de-DE" sz="1662" dirty="0"/>
          </a:p>
        </p:txBody>
      </p:sp>
      <p:pic>
        <p:nvPicPr>
          <p:cNvPr id="6" name="Grafik 5">
            <a:extLst>
              <a:ext uri="{FF2B5EF4-FFF2-40B4-BE49-F238E27FC236}">
                <a16:creationId xmlns:a16="http://schemas.microsoft.com/office/drawing/2014/main" id="{2D15D2AD-5B9B-D54E-9280-8130A5C8D69A}"/>
              </a:ext>
            </a:extLst>
          </p:cNvPr>
          <p:cNvPicPr>
            <a:picLocks noChangeAspect="1"/>
          </p:cNvPicPr>
          <p:nvPr/>
        </p:nvPicPr>
        <p:blipFill>
          <a:blip r:embed="rId3"/>
          <a:stretch>
            <a:fillRect/>
          </a:stretch>
        </p:blipFill>
        <p:spPr>
          <a:xfrm>
            <a:off x="4290648" y="1883056"/>
            <a:ext cx="4499803" cy="3241651"/>
          </a:xfrm>
          <a:prstGeom prst="rect">
            <a:avLst/>
          </a:prstGeom>
        </p:spPr>
      </p:pic>
    </p:spTree>
    <p:extLst>
      <p:ext uri="{BB962C8B-B14F-4D97-AF65-F5344CB8AC3E}">
        <p14:creationId xmlns:p14="http://schemas.microsoft.com/office/powerpoint/2010/main" val="27382708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00CA70A1-48BB-F443-B7B0-95427ED3B74E}"/>
              </a:ext>
            </a:extLst>
          </p:cNvPr>
          <p:cNvSpPr>
            <a:spLocks noGrp="1"/>
          </p:cNvSpPr>
          <p:nvPr>
            <p:ph sz="quarter" idx="10"/>
          </p:nvPr>
        </p:nvSpPr>
        <p:spPr>
          <a:xfrm>
            <a:off x="362216" y="631213"/>
            <a:ext cx="8433390" cy="854431"/>
          </a:xfrm>
        </p:spPr>
        <p:txBody>
          <a:bodyPr/>
          <a:lstStyle/>
          <a:p>
            <a:r>
              <a:rPr lang="de-DE" dirty="0"/>
              <a:t>Ergebnis </a:t>
            </a:r>
            <a:r>
              <a:rPr lang="de-DE" dirty="0" smtClean="0"/>
              <a:t>KWSB schafft </a:t>
            </a:r>
            <a:r>
              <a:rPr lang="de-DE" dirty="0"/>
              <a:t>Sicherheit und </a:t>
            </a:r>
            <a:endParaRPr lang="de-DE" dirty="0" smtClean="0"/>
          </a:p>
          <a:p>
            <a:r>
              <a:rPr lang="de-DE" dirty="0" smtClean="0"/>
              <a:t>stellt </a:t>
            </a:r>
            <a:r>
              <a:rPr lang="de-DE" dirty="0"/>
              <a:t>uns vor intensive Arbeit</a:t>
            </a:r>
          </a:p>
        </p:txBody>
      </p:sp>
      <p:sp>
        <p:nvSpPr>
          <p:cNvPr id="5" name="Textplatzhalter 4">
            <a:extLst>
              <a:ext uri="{FF2B5EF4-FFF2-40B4-BE49-F238E27FC236}">
                <a16:creationId xmlns:a16="http://schemas.microsoft.com/office/drawing/2014/main" id="{4FB9F38E-5AAF-8746-85AC-F4BFB5721015}"/>
              </a:ext>
            </a:extLst>
          </p:cNvPr>
          <p:cNvSpPr>
            <a:spLocks noGrp="1"/>
          </p:cNvSpPr>
          <p:nvPr>
            <p:ph type="body" sz="quarter" idx="11"/>
          </p:nvPr>
        </p:nvSpPr>
        <p:spPr>
          <a:xfrm>
            <a:off x="362216" y="1762286"/>
            <a:ext cx="8433390" cy="4062602"/>
          </a:xfrm>
        </p:spPr>
        <p:txBody>
          <a:bodyPr>
            <a:normAutofit/>
          </a:bodyPr>
          <a:lstStyle/>
          <a:p>
            <a:pPr marL="0" indent="0">
              <a:buNone/>
            </a:pPr>
            <a:r>
              <a:rPr lang="de-DE" sz="1662" dirty="0" smtClean="0"/>
              <a:t>Das </a:t>
            </a:r>
            <a:r>
              <a:rPr lang="de-DE" sz="1662" dirty="0"/>
              <a:t>wichtigste </a:t>
            </a:r>
            <a:r>
              <a:rPr lang="de-DE" sz="1662" dirty="0" smtClean="0"/>
              <a:t>Ergebnis aus unserer Sicht: </a:t>
            </a:r>
            <a:endParaRPr lang="de-DE" sz="1662" dirty="0"/>
          </a:p>
          <a:p>
            <a:pPr marL="263776" indent="-263776"/>
            <a:r>
              <a:rPr lang="de-DE" sz="1662" b="1" dirty="0"/>
              <a:t>Niemand fällt ins Bergfreie</a:t>
            </a:r>
            <a:r>
              <a:rPr lang="de-DE" sz="1662" dirty="0"/>
              <a:t>, über den ganzen Zeitraum. </a:t>
            </a:r>
          </a:p>
          <a:p>
            <a:pPr marL="263776" indent="-263776"/>
            <a:r>
              <a:rPr lang="de-DE" sz="1662" dirty="0"/>
              <a:t>Die </a:t>
            </a:r>
            <a:r>
              <a:rPr lang="de-DE" sz="1662" b="1" dirty="0"/>
              <a:t>Beschäftigten</a:t>
            </a:r>
            <a:r>
              <a:rPr lang="de-DE" sz="1662" dirty="0"/>
              <a:t> in der Kohleverstromung </a:t>
            </a:r>
            <a:r>
              <a:rPr lang="de-DE" sz="1662" b="1" dirty="0"/>
              <a:t>werden</a:t>
            </a:r>
            <a:r>
              <a:rPr lang="de-DE" sz="1662" dirty="0"/>
              <a:t> im klimapolitisch bedingten Strukturwandel </a:t>
            </a:r>
            <a:r>
              <a:rPr lang="de-DE" sz="1662" b="1" dirty="0"/>
              <a:t>umfassend abgesichert</a:t>
            </a:r>
            <a:r>
              <a:rPr lang="de-DE" sz="1662" dirty="0"/>
              <a:t>.</a:t>
            </a:r>
          </a:p>
          <a:p>
            <a:pPr marL="0" indent="0">
              <a:buNone/>
            </a:pPr>
            <a:endParaRPr lang="de-DE" sz="1662" dirty="0"/>
          </a:p>
          <a:p>
            <a:pPr marL="0" indent="0">
              <a:buNone/>
            </a:pPr>
            <a:r>
              <a:rPr lang="de-DE" sz="1662" dirty="0"/>
              <a:t>DGB-Vorstand Stefan Körzell</a:t>
            </a:r>
            <a:r>
              <a:rPr lang="de-DE" sz="1662" dirty="0" smtClean="0"/>
              <a:t>, ver.di-Vorstand </a:t>
            </a:r>
            <a:r>
              <a:rPr lang="de-DE" sz="1662" dirty="0"/>
              <a:t>Andreas Scheidt und </a:t>
            </a:r>
            <a:r>
              <a:rPr lang="de-DE" sz="1662" dirty="0" smtClean="0"/>
              <a:t>Michael </a:t>
            </a:r>
            <a:r>
              <a:rPr lang="de-DE" sz="1662" dirty="0"/>
              <a:t>Vassiliadis, Vorsitzender der IG </a:t>
            </a:r>
            <a:r>
              <a:rPr lang="de-DE" sz="1662" dirty="0" smtClean="0"/>
              <a:t>BCE.</a:t>
            </a:r>
          </a:p>
          <a:p>
            <a:pPr marL="0" indent="0">
              <a:buNone/>
            </a:pPr>
            <a:endParaRPr lang="de-DE" sz="1662" dirty="0"/>
          </a:p>
          <a:p>
            <a:pPr marL="0" indent="0">
              <a:buNone/>
            </a:pPr>
            <a:r>
              <a:rPr lang="de-DE" sz="1700" b="1" dirty="0" smtClean="0">
                <a:latin typeface="TheSansB W5 Plain" panose="020B0502050302020203"/>
              </a:rPr>
              <a:t>„</a:t>
            </a:r>
            <a:r>
              <a:rPr lang="de-DE" sz="1700" b="1" dirty="0">
                <a:latin typeface="TheSansB W5 Plain" panose="020B0502050302020203"/>
              </a:rPr>
              <a:t>IG BCE-Chef: Ergebnis insgesamt </a:t>
            </a:r>
            <a:r>
              <a:rPr lang="de-DE" sz="1700" b="1" dirty="0" smtClean="0">
                <a:latin typeface="TheSansB W5 Plain" panose="020B0502050302020203"/>
              </a:rPr>
              <a:t>zufriedenstellend“</a:t>
            </a:r>
            <a:endParaRPr lang="de-DE" sz="1700" b="1" dirty="0">
              <a:latin typeface="TheSansB W5 Plain" panose="020B0502050302020203"/>
            </a:endParaRPr>
          </a:p>
          <a:p>
            <a:pPr marL="0" indent="0">
              <a:buNone/>
            </a:pPr>
            <a:r>
              <a:rPr lang="de-DE" sz="1700" b="1" dirty="0">
                <a:solidFill>
                  <a:srgbClr val="FF0000"/>
                </a:solidFill>
                <a:latin typeface="TheSansB W5 Plain" panose="020B0502050302020203"/>
              </a:rPr>
              <a:t>Die Industriegewerkschaft Bergbau, Chemie, Energie sieht in dem Beschluss der Kohlekommission einen akzeptablen Weg für den Ausstieg aus der Kohle bis 2038. Das Ergebnis sei ausgewogen, daraus könne man was machen, sagte IG BCE-Chef Michael Vassiliadis im Dlf. Der Ausstieg tue dennoch „sehr weh</a:t>
            </a:r>
            <a:r>
              <a:rPr lang="de-DE" sz="1700" b="1" dirty="0" smtClean="0">
                <a:solidFill>
                  <a:srgbClr val="FF0000"/>
                </a:solidFill>
                <a:latin typeface="TheSansB W5 Plain" panose="020B0502050302020203"/>
              </a:rPr>
              <a:t>“.</a:t>
            </a:r>
            <a:endParaRPr lang="de-DE" sz="1700" b="1" dirty="0">
              <a:solidFill>
                <a:srgbClr val="FF0000"/>
              </a:solidFill>
              <a:latin typeface="TheSansB W5 Plain" panose="020B0502050302020203"/>
            </a:endParaRPr>
          </a:p>
          <a:p>
            <a:endParaRPr lang="de-DE" b="1" dirty="0">
              <a:solidFill>
                <a:srgbClr val="FF0000"/>
              </a:solidFill>
            </a:endParaRPr>
          </a:p>
        </p:txBody>
      </p:sp>
    </p:spTree>
    <p:extLst>
      <p:ext uri="{BB962C8B-B14F-4D97-AF65-F5344CB8AC3E}">
        <p14:creationId xmlns:p14="http://schemas.microsoft.com/office/powerpoint/2010/main" val="9535023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00CA70A1-48BB-F443-B7B0-95427ED3B74E}"/>
              </a:ext>
            </a:extLst>
          </p:cNvPr>
          <p:cNvSpPr>
            <a:spLocks noGrp="1"/>
          </p:cNvSpPr>
          <p:nvPr>
            <p:ph sz="quarter" idx="10"/>
          </p:nvPr>
        </p:nvSpPr>
        <p:spPr>
          <a:xfrm>
            <a:off x="362215" y="493190"/>
            <a:ext cx="8433390" cy="854431"/>
          </a:xfrm>
        </p:spPr>
        <p:txBody>
          <a:bodyPr/>
          <a:lstStyle/>
          <a:p>
            <a:r>
              <a:rPr lang="de-DE" dirty="0"/>
              <a:t>Klare Absicherungen verhandelt </a:t>
            </a:r>
            <a:r>
              <a:rPr lang="de-DE" dirty="0" smtClean="0"/>
              <a:t>– </a:t>
            </a:r>
          </a:p>
          <a:p>
            <a:r>
              <a:rPr lang="de-DE" dirty="0" smtClean="0"/>
              <a:t>engmaschiges </a:t>
            </a:r>
            <a:r>
              <a:rPr lang="de-DE" dirty="0"/>
              <a:t>Sicherheitsnetz</a:t>
            </a:r>
          </a:p>
        </p:txBody>
      </p:sp>
      <p:sp>
        <p:nvSpPr>
          <p:cNvPr id="5" name="Textplatzhalter 4">
            <a:extLst>
              <a:ext uri="{FF2B5EF4-FFF2-40B4-BE49-F238E27FC236}">
                <a16:creationId xmlns:a16="http://schemas.microsoft.com/office/drawing/2014/main" id="{4FB9F38E-5AAF-8746-85AC-F4BFB5721015}"/>
              </a:ext>
            </a:extLst>
          </p:cNvPr>
          <p:cNvSpPr>
            <a:spLocks noGrp="1"/>
          </p:cNvSpPr>
          <p:nvPr>
            <p:ph type="body" sz="quarter" idx="11"/>
          </p:nvPr>
        </p:nvSpPr>
        <p:spPr/>
        <p:txBody>
          <a:bodyPr/>
          <a:lstStyle/>
          <a:p>
            <a:pPr marL="263776" indent="-263776">
              <a:spcAft>
                <a:spcPts val="554"/>
              </a:spcAft>
            </a:pPr>
            <a:r>
              <a:rPr lang="de-DE" sz="1846" b="1" dirty="0"/>
              <a:t>Betriebsbedingte Kündigungen </a:t>
            </a:r>
            <a:r>
              <a:rPr lang="de-DE" sz="1846" dirty="0"/>
              <a:t>in Kraftwerken und Tagebauen </a:t>
            </a:r>
            <a:r>
              <a:rPr lang="de-DE" sz="1846" b="1" dirty="0"/>
              <a:t>werden ausgeschlossen</a:t>
            </a:r>
            <a:r>
              <a:rPr lang="de-DE" sz="1846" dirty="0"/>
              <a:t>. Fällt ein Arbeitsplatz weg, werden die Betroffenen in neue gute Arbeit vermittelt – unter Vermeidung etwaiger Gehaltseinbußen.</a:t>
            </a:r>
          </a:p>
          <a:p>
            <a:pPr marL="263776" indent="-263776">
              <a:spcAft>
                <a:spcPts val="554"/>
              </a:spcAft>
            </a:pPr>
            <a:r>
              <a:rPr lang="de-DE" sz="1846" b="1" dirty="0"/>
              <a:t>Ältere Beschäftigte können</a:t>
            </a:r>
            <a:r>
              <a:rPr lang="de-DE" sz="1846" dirty="0"/>
              <a:t>, wenn es zu Personalauswirkungen kommt, in </a:t>
            </a:r>
            <a:r>
              <a:rPr lang="de-DE" sz="1846" b="1" dirty="0"/>
              <a:t>den vorzeitigen Ruhestand </a:t>
            </a:r>
            <a:r>
              <a:rPr lang="de-DE" sz="1846" dirty="0"/>
              <a:t>wechseln – </a:t>
            </a:r>
            <a:r>
              <a:rPr lang="de-DE" sz="1846" b="1" dirty="0"/>
              <a:t>unter Ausgleich von Rentenabschlägen</a:t>
            </a:r>
            <a:r>
              <a:rPr lang="de-DE" sz="1846" dirty="0"/>
              <a:t>. </a:t>
            </a:r>
          </a:p>
          <a:p>
            <a:pPr marL="263776" indent="-263776">
              <a:spcAft>
                <a:spcPts val="554"/>
              </a:spcAft>
            </a:pPr>
            <a:r>
              <a:rPr lang="de-DE" sz="1846" b="1" dirty="0"/>
              <a:t>Bund schafft staatliches Anpassungsgeld</a:t>
            </a:r>
            <a:r>
              <a:rPr lang="de-DE" sz="1846" dirty="0"/>
              <a:t>, mit dem 5 Jahre bis zum vorzeitigen Renteneintritt überbrückt werden können. </a:t>
            </a:r>
          </a:p>
          <a:p>
            <a:pPr marL="263776" indent="-263776">
              <a:spcAft>
                <a:spcPts val="554"/>
              </a:spcAft>
            </a:pPr>
            <a:r>
              <a:rPr lang="de-DE" sz="1846" b="1" dirty="0">
                <a:solidFill>
                  <a:srgbClr val="FF0000"/>
                </a:solidFill>
              </a:rPr>
              <a:t>Gewerkschaften / Unternehmen regeln in Tarifverträgen ergänzende Ausgleichszahlungen.</a:t>
            </a:r>
            <a:r>
              <a:rPr lang="de-DE" sz="1846" dirty="0">
                <a:solidFill>
                  <a:srgbClr val="FF0000"/>
                </a:solidFill>
              </a:rPr>
              <a:t> </a:t>
            </a:r>
          </a:p>
          <a:p>
            <a:pPr marL="263776" indent="-263776">
              <a:spcAft>
                <a:spcPts val="554"/>
              </a:spcAft>
            </a:pPr>
            <a:r>
              <a:rPr lang="de-DE" sz="1846" b="1" dirty="0"/>
              <a:t>Staat sichert </a:t>
            </a:r>
            <a:r>
              <a:rPr lang="de-DE" sz="1846" dirty="0"/>
              <a:t>die sozialen Verpflichtungen der Unternehmen ab. </a:t>
            </a:r>
          </a:p>
          <a:p>
            <a:pPr marL="263776" indent="-263776">
              <a:spcAft>
                <a:spcPts val="554"/>
              </a:spcAft>
            </a:pPr>
            <a:r>
              <a:rPr lang="de-DE" sz="1846" dirty="0">
                <a:solidFill>
                  <a:srgbClr val="FF0000"/>
                </a:solidFill>
              </a:rPr>
              <a:t>Das </a:t>
            </a:r>
            <a:r>
              <a:rPr lang="de-DE" sz="1846" b="1" dirty="0">
                <a:solidFill>
                  <a:srgbClr val="FF0000"/>
                </a:solidFill>
              </a:rPr>
              <a:t>Gesamtpaket gilt </a:t>
            </a:r>
            <a:r>
              <a:rPr lang="de-DE" sz="1846" dirty="0">
                <a:solidFill>
                  <a:srgbClr val="FF0000"/>
                </a:solidFill>
              </a:rPr>
              <a:t>für die gesamte Auslaufphase der Braun- und Steinkohle, einschließlich der Rekultivierung</a:t>
            </a:r>
            <a:r>
              <a:rPr lang="de-DE" sz="1846" b="1" dirty="0">
                <a:solidFill>
                  <a:srgbClr val="FF0000"/>
                </a:solidFill>
              </a:rPr>
              <a:t>, also mehr als 20 Jahre</a:t>
            </a:r>
            <a:r>
              <a:rPr lang="de-DE" sz="1846" dirty="0"/>
              <a:t>. </a:t>
            </a:r>
          </a:p>
          <a:p>
            <a:endParaRPr lang="de-DE" dirty="0"/>
          </a:p>
        </p:txBody>
      </p:sp>
    </p:spTree>
    <p:extLst>
      <p:ext uri="{BB962C8B-B14F-4D97-AF65-F5344CB8AC3E}">
        <p14:creationId xmlns:p14="http://schemas.microsoft.com/office/powerpoint/2010/main" val="36651911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00CA70A1-48BB-F443-B7B0-95427ED3B74E}"/>
              </a:ext>
            </a:extLst>
          </p:cNvPr>
          <p:cNvSpPr>
            <a:spLocks noGrp="1"/>
          </p:cNvSpPr>
          <p:nvPr>
            <p:ph sz="quarter" idx="10"/>
          </p:nvPr>
        </p:nvSpPr>
        <p:spPr>
          <a:xfrm>
            <a:off x="362215" y="710685"/>
            <a:ext cx="8433390" cy="419440"/>
          </a:xfrm>
        </p:spPr>
        <p:txBody>
          <a:bodyPr/>
          <a:lstStyle/>
          <a:p>
            <a:r>
              <a:rPr lang="de-DE" dirty="0"/>
              <a:t>APG</a:t>
            </a:r>
          </a:p>
        </p:txBody>
      </p:sp>
      <p:sp>
        <p:nvSpPr>
          <p:cNvPr id="5" name="Textplatzhalter 4">
            <a:extLst>
              <a:ext uri="{FF2B5EF4-FFF2-40B4-BE49-F238E27FC236}">
                <a16:creationId xmlns:a16="http://schemas.microsoft.com/office/drawing/2014/main" id="{4FB9F38E-5AAF-8746-85AC-F4BFB5721015}"/>
              </a:ext>
            </a:extLst>
          </p:cNvPr>
          <p:cNvSpPr>
            <a:spLocks noGrp="1"/>
          </p:cNvSpPr>
          <p:nvPr>
            <p:ph type="body" sz="quarter" idx="11"/>
          </p:nvPr>
        </p:nvSpPr>
        <p:spPr/>
        <p:txBody>
          <a:bodyPr/>
          <a:lstStyle/>
          <a:p>
            <a:pPr marL="0" indent="0">
              <a:lnSpc>
                <a:spcPct val="100000"/>
              </a:lnSpc>
              <a:buNone/>
            </a:pPr>
            <a:r>
              <a:rPr lang="de-DE" sz="1662" b="1" dirty="0"/>
              <a:t>Um Übergänge im Bedarfsfall zu erleichtern, ist mit der Bundesregierung und den Sozialpartnern ein Anpassungsgeld - Braunkohle - (APG-B) für Arbeitnehmerinnen und Arbeitnehmer der Braunkohleindustrie zu entwickeln</a:t>
            </a:r>
            <a:r>
              <a:rPr lang="de-DE" sz="1662" dirty="0"/>
              <a:t>:</a:t>
            </a:r>
            <a:br>
              <a:rPr lang="de-DE" sz="1662" dirty="0"/>
            </a:br>
            <a:endParaRPr lang="de-DE" sz="1662" dirty="0"/>
          </a:p>
          <a:p>
            <a:pPr marL="263776" indent="-263776">
              <a:lnSpc>
                <a:spcPct val="100000"/>
              </a:lnSpc>
            </a:pPr>
            <a:r>
              <a:rPr lang="de-DE" sz="1662" dirty="0"/>
              <a:t>Analog zur Beendigung des Steinkohlenbergbaus sollte es sich um eine </a:t>
            </a:r>
            <a:r>
              <a:rPr lang="de-DE" sz="1662" b="1" dirty="0"/>
              <a:t>Branchen-Lösung</a:t>
            </a:r>
            <a:r>
              <a:rPr lang="de-DE" sz="1662" dirty="0"/>
              <a:t> nur für die Kohle handeln, die nicht auf andere Branchen übertragen werden kann. </a:t>
            </a:r>
            <a:br>
              <a:rPr lang="de-DE" sz="1662" dirty="0"/>
            </a:br>
            <a:endParaRPr lang="de-DE" sz="1662" dirty="0"/>
          </a:p>
          <a:p>
            <a:pPr marL="263776" indent="-263776">
              <a:lnSpc>
                <a:spcPct val="100000"/>
              </a:lnSpc>
            </a:pPr>
            <a:r>
              <a:rPr lang="de-DE" sz="1662" dirty="0"/>
              <a:t>Eine solche Regelung erstreckt sich auf alle Beschäftigten der Braunkohleunternehmen, </a:t>
            </a:r>
            <a:r>
              <a:rPr lang="de-DE" sz="1662" b="1" dirty="0"/>
              <a:t>anspruchsberechtigt ab 58 Jahre</a:t>
            </a:r>
            <a:r>
              <a:rPr lang="de-DE" sz="1662" dirty="0"/>
              <a:t>. </a:t>
            </a:r>
            <a:br>
              <a:rPr lang="de-DE" sz="1662" dirty="0"/>
            </a:br>
            <a:endParaRPr lang="de-DE" sz="1662" dirty="0"/>
          </a:p>
          <a:p>
            <a:pPr marL="263776" indent="-263776">
              <a:lnSpc>
                <a:spcPct val="100000"/>
              </a:lnSpc>
            </a:pPr>
            <a:r>
              <a:rPr lang="de-DE" sz="1662" dirty="0"/>
              <a:t>Die </a:t>
            </a:r>
            <a:r>
              <a:rPr lang="de-DE" sz="1662" b="1" dirty="0"/>
              <a:t>Geltungsdauer der APG-Richtlinie B ist an den gesamten Auslaufpfad </a:t>
            </a:r>
            <a:r>
              <a:rPr lang="de-DE" sz="1662" dirty="0"/>
              <a:t>der Kohle in Deutschland anzupassen. </a:t>
            </a:r>
          </a:p>
          <a:p>
            <a:pPr>
              <a:lnSpc>
                <a:spcPct val="100000"/>
              </a:lnSpc>
            </a:pPr>
            <a:endParaRPr lang="de-DE" sz="1846" dirty="0"/>
          </a:p>
        </p:txBody>
      </p:sp>
    </p:spTree>
    <p:extLst>
      <p:ext uri="{BB962C8B-B14F-4D97-AF65-F5344CB8AC3E}">
        <p14:creationId xmlns:p14="http://schemas.microsoft.com/office/powerpoint/2010/main" val="40771205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bOzVcYVQMWRbqd3h6A9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9aXVBHCkEK_59D7G1BB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l0XPaLlkUaYBMoTrV8c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l0XPaLlkUaYBMoTrV8cg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9aXVBHCkEK_59D7G1BB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xBXbK6Hl06SGgySkMut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xBXbK6Hl06SGgySkMut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xBXbK6Hl06SGgySkMut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w5fnZkHTHOEw8vRPdxM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625</Words>
  <Application>Microsoft Office PowerPoint</Application>
  <PresentationFormat>Bildschirmpräsentation (4:3)</PresentationFormat>
  <Paragraphs>316</Paragraphs>
  <Slides>21</Slides>
  <Notes>21</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21</vt:i4>
      </vt:variant>
    </vt:vector>
  </HeadingPairs>
  <TitlesOfParts>
    <vt:vector size="32" baseType="lpstr">
      <vt:lpstr>ＭＳ Ｐゴシック</vt:lpstr>
      <vt:lpstr>Arial</vt:lpstr>
      <vt:lpstr>Calibri</vt:lpstr>
      <vt:lpstr>Calibri Light</vt:lpstr>
      <vt:lpstr>Overspray</vt:lpstr>
      <vt:lpstr>RWE</vt:lpstr>
      <vt:lpstr>TheSansB W5 Plain</vt:lpstr>
      <vt:lpstr>Wingdings</vt:lpstr>
      <vt:lpstr>Office Theme</vt:lpstr>
      <vt:lpstr>think-cell Folie</vt:lpstr>
      <vt:lpstr>think-cell Slide</vt:lpstr>
      <vt:lpstr>2. Strukturkonferenz SPD 22.03.2019  Wie geht‘s weiter? Die Erwartung der Betroffenen.</vt:lpstr>
      <vt:lpstr>PowerPoint-Präsentation</vt:lpstr>
      <vt:lpstr>PowerPoint-Präsentation</vt:lpstr>
      <vt:lpstr>Beschaffungsvolumen 01/2018 bis 12/2018 der RWE für Materialien und Dienstleistungen im rheinischen Revier </vt:lpstr>
      <vt:lpstr>Beschäftigte im Rheinischen Revier der RWE Power </vt:lpstr>
      <vt:lpstr>PowerPoint-Präsentation</vt:lpstr>
      <vt:lpstr>PowerPoint-Präsentation</vt:lpstr>
      <vt:lpstr>PowerPoint-Präsentation</vt:lpstr>
      <vt:lpstr>PowerPoint-Präsentation</vt:lpstr>
      <vt:lpstr>Zur Anwendung von APG muss der Arbeitsplatz zwingend entfallen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an Stellmach</dc:creator>
  <cp:lastModifiedBy>Manfred Maresch</cp:lastModifiedBy>
  <cp:revision>25</cp:revision>
  <cp:lastPrinted>2019-03-21T13:35:19Z</cp:lastPrinted>
  <dcterms:created xsi:type="dcterms:W3CDTF">2016-07-06T11:35:41Z</dcterms:created>
  <dcterms:modified xsi:type="dcterms:W3CDTF">2019-03-21T13:35:36Z</dcterms:modified>
</cp:coreProperties>
</file>